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8.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9.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4"/>
    <p:sldMasterId id="2147483890" r:id="rId5"/>
    <p:sldMasterId id="2147483757" r:id="rId6"/>
    <p:sldMasterId id="2147483907" r:id="rId7"/>
    <p:sldMasterId id="2147483922" r:id="rId8"/>
    <p:sldMasterId id="2147483943" r:id="rId9"/>
    <p:sldMasterId id="2147483951" r:id="rId10"/>
    <p:sldMasterId id="2147483977" r:id="rId11"/>
    <p:sldMasterId id="2147483992" r:id="rId12"/>
    <p:sldMasterId id="2147484004" r:id="rId13"/>
  </p:sldMasterIdLst>
  <p:notesMasterIdLst>
    <p:notesMasterId r:id="rId78"/>
  </p:notesMasterIdLst>
  <p:handoutMasterIdLst>
    <p:handoutMasterId r:id="rId79"/>
  </p:handoutMasterIdLst>
  <p:sldIdLst>
    <p:sldId id="1242" r:id="rId14"/>
    <p:sldId id="1387" r:id="rId15"/>
    <p:sldId id="1467" r:id="rId16"/>
    <p:sldId id="2147197521" r:id="rId17"/>
    <p:sldId id="1489" r:id="rId18"/>
    <p:sldId id="1485" r:id="rId19"/>
    <p:sldId id="1388" r:id="rId20"/>
    <p:sldId id="1389" r:id="rId21"/>
    <p:sldId id="1486" r:id="rId22"/>
    <p:sldId id="1390" r:id="rId23"/>
    <p:sldId id="1391" r:id="rId24"/>
    <p:sldId id="1392" r:id="rId25"/>
    <p:sldId id="1393" r:id="rId26"/>
    <p:sldId id="1394" r:id="rId27"/>
    <p:sldId id="1395" r:id="rId28"/>
    <p:sldId id="1472" r:id="rId29"/>
    <p:sldId id="1473" r:id="rId30"/>
    <p:sldId id="1474" r:id="rId31"/>
    <p:sldId id="1477" r:id="rId32"/>
    <p:sldId id="1478" r:id="rId33"/>
    <p:sldId id="1482" r:id="rId34"/>
    <p:sldId id="1448" r:id="rId35"/>
    <p:sldId id="1483" r:id="rId36"/>
    <p:sldId id="1484" r:id="rId37"/>
    <p:sldId id="1280" r:id="rId38"/>
    <p:sldId id="1413" r:id="rId39"/>
    <p:sldId id="1414" r:id="rId40"/>
    <p:sldId id="1415" r:id="rId41"/>
    <p:sldId id="1503" r:id="rId42"/>
    <p:sldId id="1504" r:id="rId43"/>
    <p:sldId id="1461" r:id="rId44"/>
    <p:sldId id="1449" r:id="rId45"/>
    <p:sldId id="1497" r:id="rId46"/>
    <p:sldId id="1494" r:id="rId47"/>
    <p:sldId id="432" r:id="rId48"/>
    <p:sldId id="433" r:id="rId49"/>
    <p:sldId id="1500" r:id="rId50"/>
    <p:sldId id="266" r:id="rId51"/>
    <p:sldId id="641" r:id="rId52"/>
    <p:sldId id="1333" r:id="rId53"/>
    <p:sldId id="1423" r:id="rId54"/>
    <p:sldId id="1365" r:id="rId55"/>
    <p:sldId id="516" r:id="rId56"/>
    <p:sldId id="1343" r:id="rId57"/>
    <p:sldId id="1297" r:id="rId58"/>
    <p:sldId id="1463" r:id="rId59"/>
    <p:sldId id="1495" r:id="rId60"/>
    <p:sldId id="1424" r:id="rId61"/>
    <p:sldId id="2147469059" r:id="rId62"/>
    <p:sldId id="2147469056" r:id="rId63"/>
    <p:sldId id="2147469063" r:id="rId64"/>
    <p:sldId id="2147469087" r:id="rId65"/>
    <p:sldId id="2147469092" r:id="rId66"/>
    <p:sldId id="1455" r:id="rId67"/>
    <p:sldId id="1505" r:id="rId68"/>
    <p:sldId id="1366" r:id="rId69"/>
    <p:sldId id="1361" r:id="rId70"/>
    <p:sldId id="642" r:id="rId71"/>
    <p:sldId id="1466" r:id="rId72"/>
    <p:sldId id="1452" r:id="rId73"/>
    <p:sldId id="1397" r:id="rId74"/>
    <p:sldId id="2147469096" r:id="rId75"/>
    <p:sldId id="1499" r:id="rId76"/>
    <p:sldId id="1498" r:id="rId77"/>
  </p:sldIdLst>
  <p:sldSz cx="9145588" cy="5108575"/>
  <p:notesSz cx="6858000" cy="9144000"/>
  <p:defaultTex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09">
          <p15:clr>
            <a:srgbClr val="A4A3A4"/>
          </p15:clr>
        </p15:guide>
        <p15:guide id="2" pos="2880">
          <p15:clr>
            <a:srgbClr val="A4A3A4"/>
          </p15:clr>
        </p15:guide>
        <p15:guide id="3" orient="horz" pos="4321">
          <p15:clr>
            <a:srgbClr val="A4A3A4"/>
          </p15:clr>
        </p15:guide>
        <p15:guide id="4" pos="7729">
          <p15:clr>
            <a:srgbClr val="A4A3A4"/>
          </p15:clr>
        </p15:guide>
        <p15:guide id="5" orient="horz" pos="599">
          <p15:clr>
            <a:srgbClr val="A4A3A4"/>
          </p15:clr>
        </p15:guide>
        <p15:guide id="6" pos="1073">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F0E1"/>
    <a:srgbClr val="8FD9B5"/>
    <a:srgbClr val="733D4A"/>
    <a:srgbClr val="C7B1B7"/>
    <a:srgbClr val="FCE1E4"/>
    <a:srgbClr val="F9C4C9"/>
    <a:srgbClr val="F06B78"/>
    <a:srgbClr val="FADECF"/>
    <a:srgbClr val="F2AD87"/>
    <a:srgbClr val="F9D6C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F061AC-2BCD-465B-9A73-A4C427B03EBC}" v="126" dt="2022-10-13T08:54:21.5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86860" autoAdjust="0"/>
  </p:normalViewPr>
  <p:slideViewPr>
    <p:cSldViewPr snapToGrid="0">
      <p:cViewPr varScale="1">
        <p:scale>
          <a:sx n="150" d="100"/>
          <a:sy n="150" d="100"/>
        </p:scale>
        <p:origin x="474" y="114"/>
      </p:cViewPr>
      <p:guideLst>
        <p:guide orient="horz" pos="1609"/>
        <p:guide pos="2880"/>
        <p:guide orient="horz" pos="4321"/>
        <p:guide pos="7729"/>
        <p:guide orient="horz" pos="599"/>
        <p:guide pos="1073"/>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slide" Target="slides/slide55.xml"/><Relationship Id="rId76" Type="http://schemas.openxmlformats.org/officeDocument/2006/relationships/slide" Target="slides/slide63.xml"/><Relationship Id="rId84"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slide" Target="slides/slide61.xml"/><Relationship Id="rId79" Type="http://schemas.openxmlformats.org/officeDocument/2006/relationships/handoutMaster" Target="handoutMasters/handoutMaster1.xml"/><Relationship Id="rId5" Type="http://schemas.openxmlformats.org/officeDocument/2006/relationships/slideMaster" Target="slideMasters/slideMaster2.xml"/><Relationship Id="rId61" Type="http://schemas.openxmlformats.org/officeDocument/2006/relationships/slide" Target="slides/slide48.xml"/><Relationship Id="rId82"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3562C6-B3F7-4032-9B7B-6E99911E77B9}" type="doc">
      <dgm:prSet loTypeId="urn:microsoft.com/office/officeart/2005/8/layout/chevron1" loCatId="process" qsTypeId="urn:microsoft.com/office/officeart/2005/8/quickstyle/simple1" qsCatId="simple" csTypeId="urn:microsoft.com/office/officeart/2005/8/colors/accent2_3" csCatId="accent2" phldr="1"/>
      <dgm:spPr/>
    </dgm:pt>
    <dgm:pt modelId="{F34548BD-7757-4C3A-A2A8-F337D562E700}">
      <dgm:prSet phldrT="[Tekst]"/>
      <dgm:spPr/>
      <dgm:t>
        <a:bodyPr/>
        <a:lstStyle/>
        <a:p>
          <a:r>
            <a:rPr lang="nb-NO"/>
            <a:t>Samle/etablere</a:t>
          </a:r>
        </a:p>
      </dgm:t>
    </dgm:pt>
    <dgm:pt modelId="{2859668A-B179-465A-A262-1EC496C64734}" type="parTrans" cxnId="{82245E9D-A56C-460F-8E58-2F8EA2F72D21}">
      <dgm:prSet/>
      <dgm:spPr/>
      <dgm:t>
        <a:bodyPr/>
        <a:lstStyle/>
        <a:p>
          <a:endParaRPr lang="nb-NO"/>
        </a:p>
      </dgm:t>
    </dgm:pt>
    <dgm:pt modelId="{47F0A7BC-18E8-47FE-B3B8-ED1C90BDB591}" type="sibTrans" cxnId="{82245E9D-A56C-460F-8E58-2F8EA2F72D21}">
      <dgm:prSet/>
      <dgm:spPr/>
      <dgm:t>
        <a:bodyPr/>
        <a:lstStyle/>
        <a:p>
          <a:endParaRPr lang="nb-NO"/>
        </a:p>
      </dgm:t>
    </dgm:pt>
    <dgm:pt modelId="{192D4E6B-C552-43DC-9611-205CDEA04DE5}">
      <dgm:prSet phldrT="[Tekst]"/>
      <dgm:spPr/>
      <dgm:t>
        <a:bodyPr/>
        <a:lstStyle/>
        <a:p>
          <a:r>
            <a:rPr lang="nb-NO"/>
            <a:t>Lagre og vedlikeholde</a:t>
          </a:r>
        </a:p>
      </dgm:t>
    </dgm:pt>
    <dgm:pt modelId="{F3A48129-44D8-4963-8AA1-B447036A8967}" type="parTrans" cxnId="{DB3CDD79-1290-43F2-B6A6-E6D324278943}">
      <dgm:prSet/>
      <dgm:spPr/>
      <dgm:t>
        <a:bodyPr/>
        <a:lstStyle/>
        <a:p>
          <a:endParaRPr lang="nb-NO"/>
        </a:p>
      </dgm:t>
    </dgm:pt>
    <dgm:pt modelId="{0A3757BD-E815-4879-BE0E-321BFD9150EC}" type="sibTrans" cxnId="{DB3CDD79-1290-43F2-B6A6-E6D324278943}">
      <dgm:prSet/>
      <dgm:spPr/>
      <dgm:t>
        <a:bodyPr/>
        <a:lstStyle/>
        <a:p>
          <a:endParaRPr lang="nb-NO"/>
        </a:p>
      </dgm:t>
    </dgm:pt>
    <dgm:pt modelId="{E27694E2-DE0C-48B7-9A86-498EE4985258}">
      <dgm:prSet phldrT="[Tekst]"/>
      <dgm:spPr/>
      <dgm:t>
        <a:bodyPr/>
        <a:lstStyle/>
        <a:p>
          <a:r>
            <a:rPr lang="nb-NO"/>
            <a:t>Bruke</a:t>
          </a:r>
        </a:p>
      </dgm:t>
    </dgm:pt>
    <dgm:pt modelId="{1F0CC413-4368-4709-A09D-3CE9805E1D86}" type="parTrans" cxnId="{C98ECED3-76C3-4F81-876C-D1C774137508}">
      <dgm:prSet/>
      <dgm:spPr/>
      <dgm:t>
        <a:bodyPr/>
        <a:lstStyle/>
        <a:p>
          <a:endParaRPr lang="nb-NO"/>
        </a:p>
      </dgm:t>
    </dgm:pt>
    <dgm:pt modelId="{0E21F323-BBA4-420C-A90B-5F8FCCC1F74A}" type="sibTrans" cxnId="{C98ECED3-76C3-4F81-876C-D1C774137508}">
      <dgm:prSet/>
      <dgm:spPr/>
      <dgm:t>
        <a:bodyPr/>
        <a:lstStyle/>
        <a:p>
          <a:endParaRPr lang="nb-NO"/>
        </a:p>
      </dgm:t>
    </dgm:pt>
    <dgm:pt modelId="{E837720C-904F-4158-A31D-9C6698B3C48C}" type="pres">
      <dgm:prSet presAssocID="{C63562C6-B3F7-4032-9B7B-6E99911E77B9}" presName="Name0" presStyleCnt="0">
        <dgm:presLayoutVars>
          <dgm:dir/>
          <dgm:animLvl val="lvl"/>
          <dgm:resizeHandles val="exact"/>
        </dgm:presLayoutVars>
      </dgm:prSet>
      <dgm:spPr/>
    </dgm:pt>
    <dgm:pt modelId="{171B7F7A-D882-4591-A48B-1F70C10A5A74}" type="pres">
      <dgm:prSet presAssocID="{F34548BD-7757-4C3A-A2A8-F337D562E700}" presName="parTxOnly" presStyleLbl="node1" presStyleIdx="0" presStyleCnt="3">
        <dgm:presLayoutVars>
          <dgm:chMax val="0"/>
          <dgm:chPref val="0"/>
          <dgm:bulletEnabled val="1"/>
        </dgm:presLayoutVars>
      </dgm:prSet>
      <dgm:spPr/>
    </dgm:pt>
    <dgm:pt modelId="{BCAAF991-B4E1-4B79-9C85-262403773F87}" type="pres">
      <dgm:prSet presAssocID="{47F0A7BC-18E8-47FE-B3B8-ED1C90BDB591}" presName="parTxOnlySpace" presStyleCnt="0"/>
      <dgm:spPr/>
    </dgm:pt>
    <dgm:pt modelId="{021CE691-805F-40EC-94E5-86F5DD72F8DD}" type="pres">
      <dgm:prSet presAssocID="{192D4E6B-C552-43DC-9611-205CDEA04DE5}" presName="parTxOnly" presStyleLbl="node1" presStyleIdx="1" presStyleCnt="3">
        <dgm:presLayoutVars>
          <dgm:chMax val="0"/>
          <dgm:chPref val="0"/>
          <dgm:bulletEnabled val="1"/>
        </dgm:presLayoutVars>
      </dgm:prSet>
      <dgm:spPr/>
    </dgm:pt>
    <dgm:pt modelId="{6643193E-FC2E-44C1-B8AB-862D0C3A8C8C}" type="pres">
      <dgm:prSet presAssocID="{0A3757BD-E815-4879-BE0E-321BFD9150EC}" presName="parTxOnlySpace" presStyleCnt="0"/>
      <dgm:spPr/>
    </dgm:pt>
    <dgm:pt modelId="{4880680C-D8B9-441B-ADBA-F2CCC7E2A51A}" type="pres">
      <dgm:prSet presAssocID="{E27694E2-DE0C-48B7-9A86-498EE4985258}" presName="parTxOnly" presStyleLbl="node1" presStyleIdx="2" presStyleCnt="3">
        <dgm:presLayoutVars>
          <dgm:chMax val="0"/>
          <dgm:chPref val="0"/>
          <dgm:bulletEnabled val="1"/>
        </dgm:presLayoutVars>
      </dgm:prSet>
      <dgm:spPr/>
    </dgm:pt>
  </dgm:ptLst>
  <dgm:cxnLst>
    <dgm:cxn modelId="{D84F4D09-3194-49B3-959A-BAE0CC145002}" type="presOf" srcId="{E27694E2-DE0C-48B7-9A86-498EE4985258}" destId="{4880680C-D8B9-441B-ADBA-F2CCC7E2A51A}" srcOrd="0" destOrd="0" presId="urn:microsoft.com/office/officeart/2005/8/layout/chevron1"/>
    <dgm:cxn modelId="{508BC722-A599-4B44-B674-03C98A46FAFC}" type="presOf" srcId="{192D4E6B-C552-43DC-9611-205CDEA04DE5}" destId="{021CE691-805F-40EC-94E5-86F5DD72F8DD}" srcOrd="0" destOrd="0" presId="urn:microsoft.com/office/officeart/2005/8/layout/chevron1"/>
    <dgm:cxn modelId="{D9C9683B-309B-4B14-AE13-37FC2C885835}" type="presOf" srcId="{F34548BD-7757-4C3A-A2A8-F337D562E700}" destId="{171B7F7A-D882-4591-A48B-1F70C10A5A74}" srcOrd="0" destOrd="0" presId="urn:microsoft.com/office/officeart/2005/8/layout/chevron1"/>
    <dgm:cxn modelId="{DB3CDD79-1290-43F2-B6A6-E6D324278943}" srcId="{C63562C6-B3F7-4032-9B7B-6E99911E77B9}" destId="{192D4E6B-C552-43DC-9611-205CDEA04DE5}" srcOrd="1" destOrd="0" parTransId="{F3A48129-44D8-4963-8AA1-B447036A8967}" sibTransId="{0A3757BD-E815-4879-BE0E-321BFD9150EC}"/>
    <dgm:cxn modelId="{82245E9D-A56C-460F-8E58-2F8EA2F72D21}" srcId="{C63562C6-B3F7-4032-9B7B-6E99911E77B9}" destId="{F34548BD-7757-4C3A-A2A8-F337D562E700}" srcOrd="0" destOrd="0" parTransId="{2859668A-B179-465A-A262-1EC496C64734}" sibTransId="{47F0A7BC-18E8-47FE-B3B8-ED1C90BDB591}"/>
    <dgm:cxn modelId="{DF40BCA7-58F1-4668-8D4C-F99F41AF9048}" type="presOf" srcId="{C63562C6-B3F7-4032-9B7B-6E99911E77B9}" destId="{E837720C-904F-4158-A31D-9C6698B3C48C}" srcOrd="0" destOrd="0" presId="urn:microsoft.com/office/officeart/2005/8/layout/chevron1"/>
    <dgm:cxn modelId="{C98ECED3-76C3-4F81-876C-D1C774137508}" srcId="{C63562C6-B3F7-4032-9B7B-6E99911E77B9}" destId="{E27694E2-DE0C-48B7-9A86-498EE4985258}" srcOrd="2" destOrd="0" parTransId="{1F0CC413-4368-4709-A09D-3CE9805E1D86}" sibTransId="{0E21F323-BBA4-420C-A90B-5F8FCCC1F74A}"/>
    <dgm:cxn modelId="{8DE15D3B-A6A8-4DC3-BB81-272940281FD7}" type="presParOf" srcId="{E837720C-904F-4158-A31D-9C6698B3C48C}" destId="{171B7F7A-D882-4591-A48B-1F70C10A5A74}" srcOrd="0" destOrd="0" presId="urn:microsoft.com/office/officeart/2005/8/layout/chevron1"/>
    <dgm:cxn modelId="{DFED2C74-4CE2-4AE2-8ABA-2EFE9E070DC1}" type="presParOf" srcId="{E837720C-904F-4158-A31D-9C6698B3C48C}" destId="{BCAAF991-B4E1-4B79-9C85-262403773F87}" srcOrd="1" destOrd="0" presId="urn:microsoft.com/office/officeart/2005/8/layout/chevron1"/>
    <dgm:cxn modelId="{C16E0524-CBDA-4E05-A75C-CE99F7B6DAF5}" type="presParOf" srcId="{E837720C-904F-4158-A31D-9C6698B3C48C}" destId="{021CE691-805F-40EC-94E5-86F5DD72F8DD}" srcOrd="2" destOrd="0" presId="urn:microsoft.com/office/officeart/2005/8/layout/chevron1"/>
    <dgm:cxn modelId="{92A6D422-A5A9-43BB-8E37-C35CCA8ADA51}" type="presParOf" srcId="{E837720C-904F-4158-A31D-9C6698B3C48C}" destId="{6643193E-FC2E-44C1-B8AB-862D0C3A8C8C}" srcOrd="3" destOrd="0" presId="urn:microsoft.com/office/officeart/2005/8/layout/chevron1"/>
    <dgm:cxn modelId="{720512E2-C7DA-4CCE-A038-AF00CB686709}" type="presParOf" srcId="{E837720C-904F-4158-A31D-9C6698B3C48C}" destId="{4880680C-D8B9-441B-ADBA-F2CCC7E2A51A}"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008008A-A7BA-4F5B-B587-9EB8D2D5FFD2}" type="doc">
      <dgm:prSet loTypeId="urn:microsoft.com/office/officeart/2005/8/layout/gear1" loCatId="relationship" qsTypeId="urn:microsoft.com/office/officeart/2005/8/quickstyle/simple1" qsCatId="simple" csTypeId="urn:microsoft.com/office/officeart/2005/8/colors/accent1_2" csCatId="accent1" phldr="1"/>
      <dgm:spPr/>
    </dgm:pt>
    <dgm:pt modelId="{16CAF8F7-F0B9-4370-805F-0EE83C747824}">
      <dgm:prSet phldrT="[Tekst]"/>
      <dgm:spPr>
        <a:solidFill>
          <a:srgbClr val="0070C0"/>
        </a:solidFill>
      </dgm:spPr>
      <dgm:t>
        <a:bodyPr/>
        <a:lstStyle/>
        <a:p>
          <a:r>
            <a:rPr lang="nb-NO" dirty="0"/>
            <a:t>Informasjon</a:t>
          </a:r>
        </a:p>
      </dgm:t>
    </dgm:pt>
    <dgm:pt modelId="{D1A721E5-2A92-4956-BE7B-F499659D0C77}" type="parTrans" cxnId="{EC126431-FFAF-406E-8B20-505CF87493E2}">
      <dgm:prSet/>
      <dgm:spPr/>
      <dgm:t>
        <a:bodyPr/>
        <a:lstStyle/>
        <a:p>
          <a:endParaRPr lang="nb-NO"/>
        </a:p>
      </dgm:t>
    </dgm:pt>
    <dgm:pt modelId="{20FC9A3C-8893-4B58-9341-AC44BE08D4BB}" type="sibTrans" cxnId="{EC126431-FFAF-406E-8B20-505CF87493E2}">
      <dgm:prSet/>
      <dgm:spPr/>
      <dgm:t>
        <a:bodyPr/>
        <a:lstStyle/>
        <a:p>
          <a:endParaRPr lang="nb-NO"/>
        </a:p>
      </dgm:t>
    </dgm:pt>
    <dgm:pt modelId="{25681DCD-272F-43DC-BAF7-188EF3DE475F}">
      <dgm:prSet phldrT="[Tekst]"/>
      <dgm:spPr/>
      <dgm:t>
        <a:bodyPr/>
        <a:lstStyle/>
        <a:p>
          <a:r>
            <a:rPr lang="nb-NO" dirty="0"/>
            <a:t>Prosess</a:t>
          </a:r>
        </a:p>
      </dgm:t>
    </dgm:pt>
    <dgm:pt modelId="{7EE5A570-5BA7-4847-A596-CA5FFE146EE1}" type="parTrans" cxnId="{3D03B0BF-0043-4BDD-9225-ED66B86C264A}">
      <dgm:prSet/>
      <dgm:spPr/>
      <dgm:t>
        <a:bodyPr/>
        <a:lstStyle/>
        <a:p>
          <a:endParaRPr lang="nb-NO"/>
        </a:p>
      </dgm:t>
    </dgm:pt>
    <dgm:pt modelId="{9C9E6262-86B4-4E3C-96DE-FC1DB2D6771F}" type="sibTrans" cxnId="{3D03B0BF-0043-4BDD-9225-ED66B86C264A}">
      <dgm:prSet/>
      <dgm:spPr/>
      <dgm:t>
        <a:bodyPr/>
        <a:lstStyle/>
        <a:p>
          <a:endParaRPr lang="nb-NO"/>
        </a:p>
      </dgm:t>
    </dgm:pt>
    <dgm:pt modelId="{EC56846E-9931-43B3-B354-83952D115AA0}">
      <dgm:prSet phldrT="[Tekst]"/>
      <dgm:spPr/>
      <dgm:t>
        <a:bodyPr/>
        <a:lstStyle/>
        <a:p>
          <a:r>
            <a:rPr lang="nb-NO" dirty="0"/>
            <a:t>Lov</a:t>
          </a:r>
        </a:p>
      </dgm:t>
    </dgm:pt>
    <dgm:pt modelId="{BEAF5188-3522-488A-883F-3AC96C97B5EA}" type="parTrans" cxnId="{5A4AEF33-F93A-4A99-A3FB-DD239342F8F2}">
      <dgm:prSet/>
      <dgm:spPr/>
      <dgm:t>
        <a:bodyPr/>
        <a:lstStyle/>
        <a:p>
          <a:endParaRPr lang="nb-NO"/>
        </a:p>
      </dgm:t>
    </dgm:pt>
    <dgm:pt modelId="{5E26FDBF-C26D-42CE-866A-42E77AE1646A}" type="sibTrans" cxnId="{5A4AEF33-F93A-4A99-A3FB-DD239342F8F2}">
      <dgm:prSet/>
      <dgm:spPr/>
      <dgm:t>
        <a:bodyPr/>
        <a:lstStyle/>
        <a:p>
          <a:endParaRPr lang="nb-NO"/>
        </a:p>
      </dgm:t>
    </dgm:pt>
    <dgm:pt modelId="{DB0F028F-8E00-4216-8DEE-E59283B1DC0E}" type="pres">
      <dgm:prSet presAssocID="{E008008A-A7BA-4F5B-B587-9EB8D2D5FFD2}" presName="composite" presStyleCnt="0">
        <dgm:presLayoutVars>
          <dgm:chMax val="3"/>
          <dgm:animLvl val="lvl"/>
          <dgm:resizeHandles val="exact"/>
        </dgm:presLayoutVars>
      </dgm:prSet>
      <dgm:spPr/>
    </dgm:pt>
    <dgm:pt modelId="{2E218001-2BB4-4D85-8594-0997EA2CF651}" type="pres">
      <dgm:prSet presAssocID="{16CAF8F7-F0B9-4370-805F-0EE83C747824}" presName="gear1" presStyleLbl="node1" presStyleIdx="0" presStyleCnt="3">
        <dgm:presLayoutVars>
          <dgm:chMax val="1"/>
          <dgm:bulletEnabled val="1"/>
        </dgm:presLayoutVars>
      </dgm:prSet>
      <dgm:spPr/>
    </dgm:pt>
    <dgm:pt modelId="{91C5EFED-FA23-4608-94ED-723201760582}" type="pres">
      <dgm:prSet presAssocID="{16CAF8F7-F0B9-4370-805F-0EE83C747824}" presName="gear1srcNode" presStyleLbl="node1" presStyleIdx="0" presStyleCnt="3"/>
      <dgm:spPr/>
    </dgm:pt>
    <dgm:pt modelId="{E42F3350-2721-4725-B9AA-D2B29AB57B98}" type="pres">
      <dgm:prSet presAssocID="{16CAF8F7-F0B9-4370-805F-0EE83C747824}" presName="gear1dstNode" presStyleLbl="node1" presStyleIdx="0" presStyleCnt="3"/>
      <dgm:spPr/>
    </dgm:pt>
    <dgm:pt modelId="{02E67DE1-1B34-435C-9A0A-587F39FFA593}" type="pres">
      <dgm:prSet presAssocID="{25681DCD-272F-43DC-BAF7-188EF3DE475F}" presName="gear2" presStyleLbl="node1" presStyleIdx="1" presStyleCnt="3">
        <dgm:presLayoutVars>
          <dgm:chMax val="1"/>
          <dgm:bulletEnabled val="1"/>
        </dgm:presLayoutVars>
      </dgm:prSet>
      <dgm:spPr/>
    </dgm:pt>
    <dgm:pt modelId="{F95B9855-53D0-4202-9BCB-DEE571D172A9}" type="pres">
      <dgm:prSet presAssocID="{25681DCD-272F-43DC-BAF7-188EF3DE475F}" presName="gear2srcNode" presStyleLbl="node1" presStyleIdx="1" presStyleCnt="3"/>
      <dgm:spPr/>
    </dgm:pt>
    <dgm:pt modelId="{263B0C83-2100-4EE1-9D29-BF3E500FBE65}" type="pres">
      <dgm:prSet presAssocID="{25681DCD-272F-43DC-BAF7-188EF3DE475F}" presName="gear2dstNode" presStyleLbl="node1" presStyleIdx="1" presStyleCnt="3"/>
      <dgm:spPr/>
    </dgm:pt>
    <dgm:pt modelId="{ABF099CF-0ED3-4743-8F48-E2A68A97B492}" type="pres">
      <dgm:prSet presAssocID="{EC56846E-9931-43B3-B354-83952D115AA0}" presName="gear3" presStyleLbl="node1" presStyleIdx="2" presStyleCnt="3"/>
      <dgm:spPr/>
    </dgm:pt>
    <dgm:pt modelId="{CB45C94F-2C43-4990-AF1C-AEC308019B84}" type="pres">
      <dgm:prSet presAssocID="{EC56846E-9931-43B3-B354-83952D115AA0}" presName="gear3tx" presStyleLbl="node1" presStyleIdx="2" presStyleCnt="3">
        <dgm:presLayoutVars>
          <dgm:chMax val="1"/>
          <dgm:bulletEnabled val="1"/>
        </dgm:presLayoutVars>
      </dgm:prSet>
      <dgm:spPr/>
    </dgm:pt>
    <dgm:pt modelId="{9F44AAC9-6965-473F-A5C6-84BD1222BE42}" type="pres">
      <dgm:prSet presAssocID="{EC56846E-9931-43B3-B354-83952D115AA0}" presName="gear3srcNode" presStyleLbl="node1" presStyleIdx="2" presStyleCnt="3"/>
      <dgm:spPr/>
    </dgm:pt>
    <dgm:pt modelId="{FADB8015-8292-47DF-A87B-7AF805D73EFA}" type="pres">
      <dgm:prSet presAssocID="{EC56846E-9931-43B3-B354-83952D115AA0}" presName="gear3dstNode" presStyleLbl="node1" presStyleIdx="2" presStyleCnt="3"/>
      <dgm:spPr/>
    </dgm:pt>
    <dgm:pt modelId="{562F4957-4224-4B9D-B207-3C1BF3ED5C21}" type="pres">
      <dgm:prSet presAssocID="{20FC9A3C-8893-4B58-9341-AC44BE08D4BB}" presName="connector1" presStyleLbl="sibTrans2D1" presStyleIdx="0" presStyleCnt="3"/>
      <dgm:spPr/>
    </dgm:pt>
    <dgm:pt modelId="{7A37BC43-25A2-422F-AA0D-CEBE00825E2A}" type="pres">
      <dgm:prSet presAssocID="{9C9E6262-86B4-4E3C-96DE-FC1DB2D6771F}" presName="connector2" presStyleLbl="sibTrans2D1" presStyleIdx="1" presStyleCnt="3"/>
      <dgm:spPr/>
    </dgm:pt>
    <dgm:pt modelId="{9FCD0542-134F-45F1-9691-478D869E567D}" type="pres">
      <dgm:prSet presAssocID="{5E26FDBF-C26D-42CE-866A-42E77AE1646A}" presName="connector3" presStyleLbl="sibTrans2D1" presStyleIdx="2" presStyleCnt="3"/>
      <dgm:spPr/>
    </dgm:pt>
  </dgm:ptLst>
  <dgm:cxnLst>
    <dgm:cxn modelId="{0BF5BD0C-E96B-4A31-B201-7D3A4168B8B3}" type="presOf" srcId="{EC56846E-9931-43B3-B354-83952D115AA0}" destId="{9F44AAC9-6965-473F-A5C6-84BD1222BE42}" srcOrd="2" destOrd="0" presId="urn:microsoft.com/office/officeart/2005/8/layout/gear1"/>
    <dgm:cxn modelId="{A6D1DC0F-6DBF-4FF2-A1D2-6D34B0F26D66}" type="presOf" srcId="{9C9E6262-86B4-4E3C-96DE-FC1DB2D6771F}" destId="{7A37BC43-25A2-422F-AA0D-CEBE00825E2A}" srcOrd="0" destOrd="0" presId="urn:microsoft.com/office/officeart/2005/8/layout/gear1"/>
    <dgm:cxn modelId="{A6BE302A-78BA-47D8-83D1-BA50A1E0AAD9}" type="presOf" srcId="{20FC9A3C-8893-4B58-9341-AC44BE08D4BB}" destId="{562F4957-4224-4B9D-B207-3C1BF3ED5C21}" srcOrd="0" destOrd="0" presId="urn:microsoft.com/office/officeart/2005/8/layout/gear1"/>
    <dgm:cxn modelId="{EC126431-FFAF-406E-8B20-505CF87493E2}" srcId="{E008008A-A7BA-4F5B-B587-9EB8D2D5FFD2}" destId="{16CAF8F7-F0B9-4370-805F-0EE83C747824}" srcOrd="0" destOrd="0" parTransId="{D1A721E5-2A92-4956-BE7B-F499659D0C77}" sibTransId="{20FC9A3C-8893-4B58-9341-AC44BE08D4BB}"/>
    <dgm:cxn modelId="{5A4AEF33-F93A-4A99-A3FB-DD239342F8F2}" srcId="{E008008A-A7BA-4F5B-B587-9EB8D2D5FFD2}" destId="{EC56846E-9931-43B3-B354-83952D115AA0}" srcOrd="2" destOrd="0" parTransId="{BEAF5188-3522-488A-883F-3AC96C97B5EA}" sibTransId="{5E26FDBF-C26D-42CE-866A-42E77AE1646A}"/>
    <dgm:cxn modelId="{6582BD35-F040-403C-B653-77F2241181BB}" type="presOf" srcId="{25681DCD-272F-43DC-BAF7-188EF3DE475F}" destId="{263B0C83-2100-4EE1-9D29-BF3E500FBE65}" srcOrd="2" destOrd="0" presId="urn:microsoft.com/office/officeart/2005/8/layout/gear1"/>
    <dgm:cxn modelId="{745A7A36-16AF-417E-9D48-407918AE311A}" type="presOf" srcId="{EC56846E-9931-43B3-B354-83952D115AA0}" destId="{ABF099CF-0ED3-4743-8F48-E2A68A97B492}" srcOrd="0" destOrd="0" presId="urn:microsoft.com/office/officeart/2005/8/layout/gear1"/>
    <dgm:cxn modelId="{32F14643-C769-44F5-BB80-1C536C657443}" type="presOf" srcId="{16CAF8F7-F0B9-4370-805F-0EE83C747824}" destId="{91C5EFED-FA23-4608-94ED-723201760582}" srcOrd="1" destOrd="0" presId="urn:microsoft.com/office/officeart/2005/8/layout/gear1"/>
    <dgm:cxn modelId="{C1FBBF65-0CC3-4AFA-AB6D-1A2EB64BA258}" type="presOf" srcId="{EC56846E-9931-43B3-B354-83952D115AA0}" destId="{CB45C94F-2C43-4990-AF1C-AEC308019B84}" srcOrd="1" destOrd="0" presId="urn:microsoft.com/office/officeart/2005/8/layout/gear1"/>
    <dgm:cxn modelId="{164DEC6C-AA13-48F6-8336-10027E19B20E}" type="presOf" srcId="{E008008A-A7BA-4F5B-B587-9EB8D2D5FFD2}" destId="{DB0F028F-8E00-4216-8DEE-E59283B1DC0E}" srcOrd="0" destOrd="0" presId="urn:microsoft.com/office/officeart/2005/8/layout/gear1"/>
    <dgm:cxn modelId="{121D8F87-72DD-4318-8B44-0998B20528FC}" type="presOf" srcId="{16CAF8F7-F0B9-4370-805F-0EE83C747824}" destId="{E42F3350-2721-4725-B9AA-D2B29AB57B98}" srcOrd="2" destOrd="0" presId="urn:microsoft.com/office/officeart/2005/8/layout/gear1"/>
    <dgm:cxn modelId="{C24967A9-5C77-42E6-9E79-487F077B545C}" type="presOf" srcId="{25681DCD-272F-43DC-BAF7-188EF3DE475F}" destId="{02E67DE1-1B34-435C-9A0A-587F39FFA593}" srcOrd="0" destOrd="0" presId="urn:microsoft.com/office/officeart/2005/8/layout/gear1"/>
    <dgm:cxn modelId="{3D03B0BF-0043-4BDD-9225-ED66B86C264A}" srcId="{E008008A-A7BA-4F5B-B587-9EB8D2D5FFD2}" destId="{25681DCD-272F-43DC-BAF7-188EF3DE475F}" srcOrd="1" destOrd="0" parTransId="{7EE5A570-5BA7-4847-A596-CA5FFE146EE1}" sibTransId="{9C9E6262-86B4-4E3C-96DE-FC1DB2D6771F}"/>
    <dgm:cxn modelId="{6690B9DA-D724-4973-9597-89983A13C3F7}" type="presOf" srcId="{5E26FDBF-C26D-42CE-866A-42E77AE1646A}" destId="{9FCD0542-134F-45F1-9691-478D869E567D}" srcOrd="0" destOrd="0" presId="urn:microsoft.com/office/officeart/2005/8/layout/gear1"/>
    <dgm:cxn modelId="{694AB0E0-0716-457B-8C4F-1DCD4489FE8A}" type="presOf" srcId="{EC56846E-9931-43B3-B354-83952D115AA0}" destId="{FADB8015-8292-47DF-A87B-7AF805D73EFA}" srcOrd="3" destOrd="0" presId="urn:microsoft.com/office/officeart/2005/8/layout/gear1"/>
    <dgm:cxn modelId="{562F6BE4-F812-4EC5-BA5A-E7C94CD583BE}" type="presOf" srcId="{16CAF8F7-F0B9-4370-805F-0EE83C747824}" destId="{2E218001-2BB4-4D85-8594-0997EA2CF651}" srcOrd="0" destOrd="0" presId="urn:microsoft.com/office/officeart/2005/8/layout/gear1"/>
    <dgm:cxn modelId="{EEFBB5EF-2F5F-438E-B342-59F4E55D8924}" type="presOf" srcId="{25681DCD-272F-43DC-BAF7-188EF3DE475F}" destId="{F95B9855-53D0-4202-9BCB-DEE571D172A9}" srcOrd="1" destOrd="0" presId="urn:microsoft.com/office/officeart/2005/8/layout/gear1"/>
    <dgm:cxn modelId="{3874482F-ADCA-4F13-9628-E7162814BA16}" type="presParOf" srcId="{DB0F028F-8E00-4216-8DEE-E59283B1DC0E}" destId="{2E218001-2BB4-4D85-8594-0997EA2CF651}" srcOrd="0" destOrd="0" presId="urn:microsoft.com/office/officeart/2005/8/layout/gear1"/>
    <dgm:cxn modelId="{03BBD815-48F4-4A9A-A359-1F9FA6EB0C9A}" type="presParOf" srcId="{DB0F028F-8E00-4216-8DEE-E59283B1DC0E}" destId="{91C5EFED-FA23-4608-94ED-723201760582}" srcOrd="1" destOrd="0" presId="urn:microsoft.com/office/officeart/2005/8/layout/gear1"/>
    <dgm:cxn modelId="{5269DC60-254D-4CA7-B4BB-3E850E4F2D20}" type="presParOf" srcId="{DB0F028F-8E00-4216-8DEE-E59283B1DC0E}" destId="{E42F3350-2721-4725-B9AA-D2B29AB57B98}" srcOrd="2" destOrd="0" presId="urn:microsoft.com/office/officeart/2005/8/layout/gear1"/>
    <dgm:cxn modelId="{113BA803-3549-49FA-B556-7B04EB31BD15}" type="presParOf" srcId="{DB0F028F-8E00-4216-8DEE-E59283B1DC0E}" destId="{02E67DE1-1B34-435C-9A0A-587F39FFA593}" srcOrd="3" destOrd="0" presId="urn:microsoft.com/office/officeart/2005/8/layout/gear1"/>
    <dgm:cxn modelId="{770EB393-5C7E-4E55-9D8F-4741BAB2958A}" type="presParOf" srcId="{DB0F028F-8E00-4216-8DEE-E59283B1DC0E}" destId="{F95B9855-53D0-4202-9BCB-DEE571D172A9}" srcOrd="4" destOrd="0" presId="urn:microsoft.com/office/officeart/2005/8/layout/gear1"/>
    <dgm:cxn modelId="{237FA848-F60D-4185-9D9E-9E7A2244815D}" type="presParOf" srcId="{DB0F028F-8E00-4216-8DEE-E59283B1DC0E}" destId="{263B0C83-2100-4EE1-9D29-BF3E500FBE65}" srcOrd="5" destOrd="0" presId="urn:microsoft.com/office/officeart/2005/8/layout/gear1"/>
    <dgm:cxn modelId="{1EE52893-1EC7-481E-8349-458411DEA0B9}" type="presParOf" srcId="{DB0F028F-8E00-4216-8DEE-E59283B1DC0E}" destId="{ABF099CF-0ED3-4743-8F48-E2A68A97B492}" srcOrd="6" destOrd="0" presId="urn:microsoft.com/office/officeart/2005/8/layout/gear1"/>
    <dgm:cxn modelId="{6745C714-3300-464C-8F51-9126267111C2}" type="presParOf" srcId="{DB0F028F-8E00-4216-8DEE-E59283B1DC0E}" destId="{CB45C94F-2C43-4990-AF1C-AEC308019B84}" srcOrd="7" destOrd="0" presId="urn:microsoft.com/office/officeart/2005/8/layout/gear1"/>
    <dgm:cxn modelId="{784AADEE-53E5-4B92-8226-BE15B8E1683F}" type="presParOf" srcId="{DB0F028F-8E00-4216-8DEE-E59283B1DC0E}" destId="{9F44AAC9-6965-473F-A5C6-84BD1222BE42}" srcOrd="8" destOrd="0" presId="urn:microsoft.com/office/officeart/2005/8/layout/gear1"/>
    <dgm:cxn modelId="{D9D9880C-DBDA-415B-8655-B5A0CB95C39C}" type="presParOf" srcId="{DB0F028F-8E00-4216-8DEE-E59283B1DC0E}" destId="{FADB8015-8292-47DF-A87B-7AF805D73EFA}" srcOrd="9" destOrd="0" presId="urn:microsoft.com/office/officeart/2005/8/layout/gear1"/>
    <dgm:cxn modelId="{CB9BBC12-8B7F-4AE6-959D-305DB1B79C4C}" type="presParOf" srcId="{DB0F028F-8E00-4216-8DEE-E59283B1DC0E}" destId="{562F4957-4224-4B9D-B207-3C1BF3ED5C21}" srcOrd="10" destOrd="0" presId="urn:microsoft.com/office/officeart/2005/8/layout/gear1"/>
    <dgm:cxn modelId="{7E065621-F3B6-4E0C-9EA5-13487DB65FE7}" type="presParOf" srcId="{DB0F028F-8E00-4216-8DEE-E59283B1DC0E}" destId="{7A37BC43-25A2-422F-AA0D-CEBE00825E2A}" srcOrd="11" destOrd="0" presId="urn:microsoft.com/office/officeart/2005/8/layout/gear1"/>
    <dgm:cxn modelId="{282AE530-5211-49C8-8E01-F544B3BBE277}" type="presParOf" srcId="{DB0F028F-8E00-4216-8DEE-E59283B1DC0E}" destId="{9FCD0542-134F-45F1-9691-478D869E567D}" srcOrd="12" destOrd="0" presId="urn:microsoft.com/office/officeart/2005/8/layout/gear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5E990B4-0AC3-49A9-979B-B7AF1A3D3D65}"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nb-NO"/>
        </a:p>
      </dgm:t>
    </dgm:pt>
    <dgm:pt modelId="{B419299A-2E1C-41D4-A5D6-BE6C21304F94}">
      <dgm:prSet phldrT="[Tekst]" custT="1"/>
      <dgm:spPr>
        <a:solidFill>
          <a:schemeClr val="accent1"/>
        </a:solidFill>
      </dgm:spPr>
      <dgm:t>
        <a:bodyPr/>
        <a:lstStyle/>
        <a:p>
          <a:r>
            <a:rPr lang="nb-NO" sz="900" b="1" dirty="0"/>
            <a:t>Data-produkt (eierskap)</a:t>
          </a:r>
        </a:p>
      </dgm:t>
    </dgm:pt>
    <dgm:pt modelId="{6C73843A-D4F7-4146-84AA-5C340C119448}" type="parTrans" cxnId="{D3106131-13DC-4AE6-B6CF-47CD47778B35}">
      <dgm:prSet/>
      <dgm:spPr/>
      <dgm:t>
        <a:bodyPr/>
        <a:lstStyle/>
        <a:p>
          <a:endParaRPr lang="nb-NO"/>
        </a:p>
      </dgm:t>
    </dgm:pt>
    <dgm:pt modelId="{99856F0E-5A65-4DEA-A865-FBD2538EF871}" type="sibTrans" cxnId="{D3106131-13DC-4AE6-B6CF-47CD47778B35}">
      <dgm:prSet/>
      <dgm:spPr/>
      <dgm:t>
        <a:bodyPr/>
        <a:lstStyle/>
        <a:p>
          <a:endParaRPr lang="nb-NO"/>
        </a:p>
      </dgm:t>
    </dgm:pt>
    <dgm:pt modelId="{7DE9CF5A-EC0D-42EE-A3C9-A2C3064356BC}">
      <dgm:prSet phldrT="[Tekst]" custT="1"/>
      <dgm:spPr>
        <a:solidFill>
          <a:schemeClr val="accent3">
            <a:lumMod val="60000"/>
            <a:lumOff val="40000"/>
          </a:schemeClr>
        </a:solidFill>
      </dgm:spPr>
      <dgm:t>
        <a:bodyPr/>
        <a:lstStyle/>
        <a:p>
          <a:r>
            <a:rPr lang="nb-NO" sz="1000" dirty="0">
              <a:solidFill>
                <a:schemeClr val="tx1"/>
              </a:solidFill>
            </a:rPr>
            <a:t>Data grensesnitt</a:t>
          </a:r>
        </a:p>
      </dgm:t>
    </dgm:pt>
    <dgm:pt modelId="{D10B6218-E491-422A-B400-1B5873216A63}" type="parTrans" cxnId="{E1C7349F-F62D-4624-8DFC-FE69C7C5D39D}">
      <dgm:prSet/>
      <dgm:spPr/>
      <dgm:t>
        <a:bodyPr/>
        <a:lstStyle/>
        <a:p>
          <a:endParaRPr lang="nb-NO"/>
        </a:p>
      </dgm:t>
    </dgm:pt>
    <dgm:pt modelId="{20A78369-4AC2-4D8D-83F6-6C44A03D0779}" type="sibTrans" cxnId="{E1C7349F-F62D-4624-8DFC-FE69C7C5D39D}">
      <dgm:prSet/>
      <dgm:spPr/>
      <dgm:t>
        <a:bodyPr/>
        <a:lstStyle/>
        <a:p>
          <a:endParaRPr lang="nb-NO"/>
        </a:p>
      </dgm:t>
    </dgm:pt>
    <dgm:pt modelId="{241CBD5C-1866-45F4-B600-6832C2F50B98}">
      <dgm:prSet phldrT="[Tekst]" custT="1"/>
      <dgm:spPr>
        <a:solidFill>
          <a:schemeClr val="accent3">
            <a:lumMod val="60000"/>
            <a:lumOff val="40000"/>
          </a:schemeClr>
        </a:solidFill>
      </dgm:spPr>
      <dgm:t>
        <a:bodyPr/>
        <a:lstStyle/>
        <a:p>
          <a:r>
            <a:rPr lang="nb-NO" sz="1000">
              <a:solidFill>
                <a:schemeClr val="tx1"/>
              </a:solidFill>
            </a:rPr>
            <a:t>Lagring, sletting, arkivering</a:t>
          </a:r>
        </a:p>
      </dgm:t>
    </dgm:pt>
    <dgm:pt modelId="{8B6D8A2C-F67B-4827-8FFB-68E65C1EF822}" type="parTrans" cxnId="{4F0CB540-75F1-4D75-9887-E23D58E8B53A}">
      <dgm:prSet/>
      <dgm:spPr/>
      <dgm:t>
        <a:bodyPr/>
        <a:lstStyle/>
        <a:p>
          <a:endParaRPr lang="nb-NO"/>
        </a:p>
      </dgm:t>
    </dgm:pt>
    <dgm:pt modelId="{771B8E27-7D11-46CE-802F-CC1D552C08AB}" type="sibTrans" cxnId="{4F0CB540-75F1-4D75-9887-E23D58E8B53A}">
      <dgm:prSet/>
      <dgm:spPr/>
      <dgm:t>
        <a:bodyPr/>
        <a:lstStyle/>
        <a:p>
          <a:endParaRPr lang="nb-NO"/>
        </a:p>
      </dgm:t>
    </dgm:pt>
    <dgm:pt modelId="{2EE0EC91-F392-4716-A442-6B6461274852}">
      <dgm:prSet phldrT="[Tekst]" custT="1"/>
      <dgm:spPr>
        <a:solidFill>
          <a:schemeClr val="accent3">
            <a:lumMod val="60000"/>
            <a:lumOff val="40000"/>
          </a:schemeClr>
        </a:solidFill>
      </dgm:spPr>
      <dgm:t>
        <a:bodyPr/>
        <a:lstStyle/>
        <a:p>
          <a:r>
            <a:rPr lang="nb-NO" sz="1000">
              <a:solidFill>
                <a:schemeClr val="tx1"/>
              </a:solidFill>
            </a:rPr>
            <a:t>Begreper</a:t>
          </a:r>
        </a:p>
      </dgm:t>
    </dgm:pt>
    <dgm:pt modelId="{4831AC1C-1A3F-4FA1-8E9A-12E71489BEC8}" type="parTrans" cxnId="{5E23473A-0559-4458-8743-2EC03496342E}">
      <dgm:prSet/>
      <dgm:spPr/>
      <dgm:t>
        <a:bodyPr/>
        <a:lstStyle/>
        <a:p>
          <a:endParaRPr lang="nb-NO"/>
        </a:p>
      </dgm:t>
    </dgm:pt>
    <dgm:pt modelId="{6E5D24B3-D448-46A9-8A9A-14589B78B276}" type="sibTrans" cxnId="{5E23473A-0559-4458-8743-2EC03496342E}">
      <dgm:prSet/>
      <dgm:spPr/>
      <dgm:t>
        <a:bodyPr/>
        <a:lstStyle/>
        <a:p>
          <a:endParaRPr lang="nb-NO"/>
        </a:p>
      </dgm:t>
    </dgm:pt>
    <dgm:pt modelId="{7996E666-1BE0-43AC-9186-C41A0EA37F6D}">
      <dgm:prSet phldrT="[Tekst]" custT="1"/>
      <dgm:spPr>
        <a:solidFill>
          <a:schemeClr val="accent3">
            <a:lumMod val="60000"/>
            <a:lumOff val="40000"/>
          </a:schemeClr>
        </a:solidFill>
      </dgm:spPr>
      <dgm:t>
        <a:bodyPr/>
        <a:lstStyle/>
        <a:p>
          <a:r>
            <a:rPr lang="nb-NO" sz="1000" dirty="0">
              <a:solidFill>
                <a:schemeClr val="tx1"/>
              </a:solidFill>
            </a:rPr>
            <a:t>Informasjons-modell</a:t>
          </a:r>
        </a:p>
      </dgm:t>
    </dgm:pt>
    <dgm:pt modelId="{D46C9ED2-FED7-414D-B470-3B606023E075}" type="parTrans" cxnId="{F46B9849-840D-4BC2-9B13-00784FA373AC}">
      <dgm:prSet/>
      <dgm:spPr/>
      <dgm:t>
        <a:bodyPr/>
        <a:lstStyle/>
        <a:p>
          <a:endParaRPr lang="nb-NO"/>
        </a:p>
      </dgm:t>
    </dgm:pt>
    <dgm:pt modelId="{25CE7B56-3AA3-40AD-86FF-6ABC81829077}" type="sibTrans" cxnId="{F46B9849-840D-4BC2-9B13-00784FA373AC}">
      <dgm:prSet/>
      <dgm:spPr/>
      <dgm:t>
        <a:bodyPr/>
        <a:lstStyle/>
        <a:p>
          <a:endParaRPr lang="nb-NO"/>
        </a:p>
      </dgm:t>
    </dgm:pt>
    <dgm:pt modelId="{131676A4-A2BC-45E9-9F4C-F1D462CBBE22}">
      <dgm:prSet phldrT="[Tekst]" custT="1"/>
      <dgm:spPr>
        <a:solidFill>
          <a:schemeClr val="accent3">
            <a:lumMod val="60000"/>
            <a:lumOff val="40000"/>
          </a:schemeClr>
        </a:solidFill>
      </dgm:spPr>
      <dgm:t>
        <a:bodyPr/>
        <a:lstStyle/>
        <a:p>
          <a:r>
            <a:rPr lang="nb-NO" sz="1000" dirty="0">
              <a:solidFill>
                <a:schemeClr val="tx1"/>
              </a:solidFill>
            </a:rPr>
            <a:t>Informasjons-sikkerhet</a:t>
          </a:r>
        </a:p>
      </dgm:t>
    </dgm:pt>
    <dgm:pt modelId="{E0879A4E-860E-419A-9E18-D3DEBE3B7EAA}" type="parTrans" cxnId="{D1A84E73-80E0-4D67-BB60-56048458F8A9}">
      <dgm:prSet/>
      <dgm:spPr/>
      <dgm:t>
        <a:bodyPr/>
        <a:lstStyle/>
        <a:p>
          <a:endParaRPr lang="nb-NO"/>
        </a:p>
      </dgm:t>
    </dgm:pt>
    <dgm:pt modelId="{EEDE7085-2C3D-42C7-8AC9-88A93F70B941}" type="sibTrans" cxnId="{D1A84E73-80E0-4D67-BB60-56048458F8A9}">
      <dgm:prSet/>
      <dgm:spPr/>
      <dgm:t>
        <a:bodyPr/>
        <a:lstStyle/>
        <a:p>
          <a:endParaRPr lang="nb-NO"/>
        </a:p>
      </dgm:t>
    </dgm:pt>
    <dgm:pt modelId="{ED62AA21-135E-4DC7-B9D9-A8A06EF136FD}">
      <dgm:prSet phldrT="[Tekst]" custT="1"/>
      <dgm:spPr>
        <a:solidFill>
          <a:schemeClr val="accent3">
            <a:lumMod val="60000"/>
            <a:lumOff val="40000"/>
          </a:schemeClr>
        </a:solidFill>
      </dgm:spPr>
      <dgm:t>
        <a:bodyPr/>
        <a:lstStyle/>
        <a:p>
          <a:r>
            <a:rPr lang="nb-NO" sz="1000" dirty="0">
              <a:solidFill>
                <a:schemeClr val="tx1"/>
              </a:solidFill>
            </a:rPr>
            <a:t>Personvern og behandlinger</a:t>
          </a:r>
        </a:p>
      </dgm:t>
    </dgm:pt>
    <dgm:pt modelId="{41B317A1-1E63-43D9-ABE2-88B9B5F745B5}" type="parTrans" cxnId="{EEA9FC5B-6DF9-4F23-BB93-221C06BB6816}">
      <dgm:prSet/>
      <dgm:spPr/>
      <dgm:t>
        <a:bodyPr/>
        <a:lstStyle/>
        <a:p>
          <a:endParaRPr lang="nb-NO"/>
        </a:p>
      </dgm:t>
    </dgm:pt>
    <dgm:pt modelId="{D9103439-40C7-42B4-A321-56F8E9C6C048}" type="sibTrans" cxnId="{EEA9FC5B-6DF9-4F23-BB93-221C06BB6816}">
      <dgm:prSet/>
      <dgm:spPr/>
      <dgm:t>
        <a:bodyPr/>
        <a:lstStyle/>
        <a:p>
          <a:endParaRPr lang="nb-NO"/>
        </a:p>
      </dgm:t>
    </dgm:pt>
    <dgm:pt modelId="{F393D350-543A-4DEB-AEC9-D9BAF5EB9062}">
      <dgm:prSet phldrT="[Tekst]" custT="1"/>
      <dgm:spPr>
        <a:solidFill>
          <a:schemeClr val="accent3">
            <a:lumMod val="60000"/>
            <a:lumOff val="40000"/>
          </a:schemeClr>
        </a:solidFill>
      </dgm:spPr>
      <dgm:t>
        <a:bodyPr/>
        <a:lstStyle/>
        <a:p>
          <a:r>
            <a:rPr lang="nb-NO" sz="1000">
              <a:solidFill>
                <a:schemeClr val="tx1"/>
              </a:solidFill>
            </a:rPr>
            <a:t>Prosess og regler</a:t>
          </a:r>
        </a:p>
      </dgm:t>
    </dgm:pt>
    <dgm:pt modelId="{16A7C3FD-C569-4A74-B884-F0C2B6286391}" type="parTrans" cxnId="{AA0C2776-A1A3-40CE-BF58-CC0010C24F9B}">
      <dgm:prSet/>
      <dgm:spPr/>
      <dgm:t>
        <a:bodyPr/>
        <a:lstStyle/>
        <a:p>
          <a:endParaRPr lang="nb-NO"/>
        </a:p>
      </dgm:t>
    </dgm:pt>
    <dgm:pt modelId="{6719CF56-8A19-437A-8B39-4E09BED8C293}" type="sibTrans" cxnId="{AA0C2776-A1A3-40CE-BF58-CC0010C24F9B}">
      <dgm:prSet/>
      <dgm:spPr/>
      <dgm:t>
        <a:bodyPr/>
        <a:lstStyle/>
        <a:p>
          <a:endParaRPr lang="nb-NO"/>
        </a:p>
      </dgm:t>
    </dgm:pt>
    <dgm:pt modelId="{117F257A-FF4A-4A64-9C20-03F8D5BE2243}">
      <dgm:prSet phldrT="[Tekst]" custT="1"/>
      <dgm:spPr>
        <a:solidFill>
          <a:schemeClr val="accent3">
            <a:lumMod val="60000"/>
            <a:lumOff val="40000"/>
          </a:schemeClr>
        </a:solidFill>
      </dgm:spPr>
      <dgm:t>
        <a:bodyPr/>
        <a:lstStyle/>
        <a:p>
          <a:r>
            <a:rPr lang="nb-NO" sz="1000" dirty="0">
              <a:solidFill>
                <a:schemeClr val="tx1"/>
              </a:solidFill>
            </a:rPr>
            <a:t>Juridisk inkludert formål og hjemler</a:t>
          </a:r>
        </a:p>
      </dgm:t>
    </dgm:pt>
    <dgm:pt modelId="{3754009D-ABBF-4DDE-8371-AF589F300B88}" type="parTrans" cxnId="{8A98FDE5-8B9B-44B7-8DB6-A4843258DC4A}">
      <dgm:prSet/>
      <dgm:spPr/>
      <dgm:t>
        <a:bodyPr/>
        <a:lstStyle/>
        <a:p>
          <a:endParaRPr lang="nb-NO"/>
        </a:p>
      </dgm:t>
    </dgm:pt>
    <dgm:pt modelId="{3D30CA23-ED16-4DD8-9215-238E51B46139}" type="sibTrans" cxnId="{8A98FDE5-8B9B-44B7-8DB6-A4843258DC4A}">
      <dgm:prSet/>
      <dgm:spPr/>
      <dgm:t>
        <a:bodyPr/>
        <a:lstStyle/>
        <a:p>
          <a:endParaRPr lang="nb-NO"/>
        </a:p>
      </dgm:t>
    </dgm:pt>
    <dgm:pt modelId="{806D321C-D0E4-4872-99B9-9E61CFE6FE7A}">
      <dgm:prSet phldrT="[Tekst]" custT="1"/>
      <dgm:spPr>
        <a:solidFill>
          <a:schemeClr val="accent3">
            <a:lumMod val="60000"/>
            <a:lumOff val="40000"/>
          </a:schemeClr>
        </a:solidFill>
      </dgm:spPr>
      <dgm:t>
        <a:bodyPr/>
        <a:lstStyle/>
        <a:p>
          <a:r>
            <a:rPr lang="nb-NO" sz="1000" dirty="0">
              <a:solidFill>
                <a:schemeClr val="tx1"/>
              </a:solidFill>
            </a:rPr>
            <a:t>Datakvalitet</a:t>
          </a:r>
        </a:p>
      </dgm:t>
    </dgm:pt>
    <dgm:pt modelId="{32343354-2613-48A7-B340-25AABE8838DE}" type="parTrans" cxnId="{13F31C7B-3CB7-4A8B-898C-37CC00A5253F}">
      <dgm:prSet/>
      <dgm:spPr/>
      <dgm:t>
        <a:bodyPr/>
        <a:lstStyle/>
        <a:p>
          <a:endParaRPr lang="nb-NO"/>
        </a:p>
      </dgm:t>
    </dgm:pt>
    <dgm:pt modelId="{5066F627-8E1A-4CDE-8EC8-E6EAD3369795}" type="sibTrans" cxnId="{13F31C7B-3CB7-4A8B-898C-37CC00A5253F}">
      <dgm:prSet/>
      <dgm:spPr/>
      <dgm:t>
        <a:bodyPr/>
        <a:lstStyle/>
        <a:p>
          <a:endParaRPr lang="nb-NO"/>
        </a:p>
      </dgm:t>
    </dgm:pt>
    <dgm:pt modelId="{2D6D4BC0-E040-4E57-9E92-86D9CDF3F653}" type="pres">
      <dgm:prSet presAssocID="{E5E990B4-0AC3-49A9-979B-B7AF1A3D3D65}" presName="cycle" presStyleCnt="0">
        <dgm:presLayoutVars>
          <dgm:chMax val="1"/>
          <dgm:dir/>
          <dgm:animLvl val="ctr"/>
          <dgm:resizeHandles val="exact"/>
        </dgm:presLayoutVars>
      </dgm:prSet>
      <dgm:spPr/>
    </dgm:pt>
    <dgm:pt modelId="{E90C7A07-E970-4702-92C3-EF90366A1D22}" type="pres">
      <dgm:prSet presAssocID="{B419299A-2E1C-41D4-A5D6-BE6C21304F94}" presName="centerShape" presStyleLbl="node0" presStyleIdx="0" presStyleCnt="1" custLinFactNeighborX="2091" custLinFactNeighborY="261"/>
      <dgm:spPr/>
    </dgm:pt>
    <dgm:pt modelId="{3FF3EBED-5BCF-4C93-9D3E-DCBE1BD428A1}" type="pres">
      <dgm:prSet presAssocID="{D10B6218-E491-422A-B400-1B5873216A63}" presName="Name9" presStyleLbl="parChTrans1D2" presStyleIdx="0" presStyleCnt="9"/>
      <dgm:spPr/>
    </dgm:pt>
    <dgm:pt modelId="{5DB4BD91-1044-4E12-9A1D-08BA1D9822D9}" type="pres">
      <dgm:prSet presAssocID="{D10B6218-E491-422A-B400-1B5873216A63}" presName="connTx" presStyleLbl="parChTrans1D2" presStyleIdx="0" presStyleCnt="9"/>
      <dgm:spPr/>
    </dgm:pt>
    <dgm:pt modelId="{6D1E4E36-16AE-440F-BDE6-BD7C91847B65}" type="pres">
      <dgm:prSet presAssocID="{7DE9CF5A-EC0D-42EE-A3C9-A2C3064356BC}" presName="node" presStyleLbl="node1" presStyleIdx="0" presStyleCnt="9" custScaleX="135899" custScaleY="119923" custRadScaleRad="104854" custRadScaleInc="15262">
        <dgm:presLayoutVars>
          <dgm:bulletEnabled val="1"/>
        </dgm:presLayoutVars>
      </dgm:prSet>
      <dgm:spPr/>
    </dgm:pt>
    <dgm:pt modelId="{04B5402A-2186-4CB8-B5EA-E809259C420A}" type="pres">
      <dgm:prSet presAssocID="{32343354-2613-48A7-B340-25AABE8838DE}" presName="Name9" presStyleLbl="parChTrans1D2" presStyleIdx="1" presStyleCnt="9"/>
      <dgm:spPr/>
    </dgm:pt>
    <dgm:pt modelId="{E18433AC-28C3-42EE-8A61-617EDD7D6D40}" type="pres">
      <dgm:prSet presAssocID="{32343354-2613-48A7-B340-25AABE8838DE}" presName="connTx" presStyleLbl="parChTrans1D2" presStyleIdx="1" presStyleCnt="9"/>
      <dgm:spPr/>
    </dgm:pt>
    <dgm:pt modelId="{49ADC733-15A1-4890-A087-3C49A7333DED}" type="pres">
      <dgm:prSet presAssocID="{806D321C-D0E4-4872-99B9-9E61CFE6FE7A}" presName="node" presStyleLbl="node1" presStyleIdx="1" presStyleCnt="9" custScaleX="157892" custScaleY="119923" custRadScaleRad="118713" custRadScaleInc="29294">
        <dgm:presLayoutVars>
          <dgm:bulletEnabled val="1"/>
        </dgm:presLayoutVars>
      </dgm:prSet>
      <dgm:spPr/>
    </dgm:pt>
    <dgm:pt modelId="{B6BA3FD5-6E1C-42FF-AE65-C633F535E5AB}" type="pres">
      <dgm:prSet presAssocID="{41B317A1-1E63-43D9-ABE2-88B9B5F745B5}" presName="Name9" presStyleLbl="parChTrans1D2" presStyleIdx="2" presStyleCnt="9"/>
      <dgm:spPr/>
    </dgm:pt>
    <dgm:pt modelId="{454E6743-5C2A-4618-B6B8-0F00C9C948C1}" type="pres">
      <dgm:prSet presAssocID="{41B317A1-1E63-43D9-ABE2-88B9B5F745B5}" presName="connTx" presStyleLbl="parChTrans1D2" presStyleIdx="2" presStyleCnt="9"/>
      <dgm:spPr/>
    </dgm:pt>
    <dgm:pt modelId="{CEBFAA13-136E-4B51-954F-234D7B607EEA}" type="pres">
      <dgm:prSet presAssocID="{ED62AA21-135E-4DC7-B9D9-A8A06EF136FD}" presName="node" presStyleLbl="node1" presStyleIdx="2" presStyleCnt="9" custScaleX="167008" custScaleY="119923">
        <dgm:presLayoutVars>
          <dgm:bulletEnabled val="1"/>
        </dgm:presLayoutVars>
      </dgm:prSet>
      <dgm:spPr/>
    </dgm:pt>
    <dgm:pt modelId="{C9B69196-58C7-4005-99A1-7CE91C45C83F}" type="pres">
      <dgm:prSet presAssocID="{16A7C3FD-C569-4A74-B884-F0C2B6286391}" presName="Name9" presStyleLbl="parChTrans1D2" presStyleIdx="3" presStyleCnt="9"/>
      <dgm:spPr/>
    </dgm:pt>
    <dgm:pt modelId="{5859A881-E972-46B1-AE49-4DE98CB99EF2}" type="pres">
      <dgm:prSet presAssocID="{16A7C3FD-C569-4A74-B884-F0C2B6286391}" presName="connTx" presStyleLbl="parChTrans1D2" presStyleIdx="3" presStyleCnt="9"/>
      <dgm:spPr/>
    </dgm:pt>
    <dgm:pt modelId="{F91F713E-5365-40E6-91A9-A4A27ED2FC2D}" type="pres">
      <dgm:prSet presAssocID="{F393D350-543A-4DEB-AEC9-D9BAF5EB9062}" presName="node" presStyleLbl="node1" presStyleIdx="3" presStyleCnt="9" custScaleX="119923" custScaleY="119923">
        <dgm:presLayoutVars>
          <dgm:bulletEnabled val="1"/>
        </dgm:presLayoutVars>
      </dgm:prSet>
      <dgm:spPr/>
    </dgm:pt>
    <dgm:pt modelId="{13CFDE3D-942A-463A-9A37-75EAA192281F}" type="pres">
      <dgm:prSet presAssocID="{3754009D-ABBF-4DDE-8371-AF589F300B88}" presName="Name9" presStyleLbl="parChTrans1D2" presStyleIdx="4" presStyleCnt="9"/>
      <dgm:spPr/>
    </dgm:pt>
    <dgm:pt modelId="{02177410-E514-4C08-84C9-52974AC7B1B4}" type="pres">
      <dgm:prSet presAssocID="{3754009D-ABBF-4DDE-8371-AF589F300B88}" presName="connTx" presStyleLbl="parChTrans1D2" presStyleIdx="4" presStyleCnt="9"/>
      <dgm:spPr/>
    </dgm:pt>
    <dgm:pt modelId="{6C78742E-FA38-4711-B646-E64219F79A4C}" type="pres">
      <dgm:prSet presAssocID="{117F257A-FF4A-4A64-9C20-03F8D5BE2243}" presName="node" presStyleLbl="node1" presStyleIdx="4" presStyleCnt="9" custScaleX="119923" custScaleY="119923" custRadScaleRad="104579" custRadScaleInc="-18527">
        <dgm:presLayoutVars>
          <dgm:bulletEnabled val="1"/>
        </dgm:presLayoutVars>
      </dgm:prSet>
      <dgm:spPr/>
    </dgm:pt>
    <dgm:pt modelId="{71A98362-E01A-4AB5-BBB0-90BE85841C38}" type="pres">
      <dgm:prSet presAssocID="{E0879A4E-860E-419A-9E18-D3DEBE3B7EAA}" presName="Name9" presStyleLbl="parChTrans1D2" presStyleIdx="5" presStyleCnt="9"/>
      <dgm:spPr/>
    </dgm:pt>
    <dgm:pt modelId="{EDDD9BF9-1E6C-494E-A079-A8EC9A75986B}" type="pres">
      <dgm:prSet presAssocID="{E0879A4E-860E-419A-9E18-D3DEBE3B7EAA}" presName="connTx" presStyleLbl="parChTrans1D2" presStyleIdx="5" presStyleCnt="9"/>
      <dgm:spPr/>
    </dgm:pt>
    <dgm:pt modelId="{5E75A430-EA17-406E-AA9D-3AA2AC939715}" type="pres">
      <dgm:prSet presAssocID="{131676A4-A2BC-45E9-9F4C-F1D462CBBE22}" presName="node" presStyleLbl="node1" presStyleIdx="5" presStyleCnt="9" custScaleX="165700" custScaleY="119923" custRadScaleRad="109126" custRadScaleInc="1772">
        <dgm:presLayoutVars>
          <dgm:bulletEnabled val="1"/>
        </dgm:presLayoutVars>
      </dgm:prSet>
      <dgm:spPr/>
    </dgm:pt>
    <dgm:pt modelId="{47CDCD78-2A3B-4B9B-AC00-78329CDDE4D3}" type="pres">
      <dgm:prSet presAssocID="{8B6D8A2C-F67B-4827-8FFB-68E65C1EF822}" presName="Name9" presStyleLbl="parChTrans1D2" presStyleIdx="6" presStyleCnt="9"/>
      <dgm:spPr/>
    </dgm:pt>
    <dgm:pt modelId="{CF991601-650B-48FA-882F-D7F637B73C62}" type="pres">
      <dgm:prSet presAssocID="{8B6D8A2C-F67B-4827-8FFB-68E65C1EF822}" presName="connTx" presStyleLbl="parChTrans1D2" presStyleIdx="6" presStyleCnt="9"/>
      <dgm:spPr/>
    </dgm:pt>
    <dgm:pt modelId="{091A4F28-DCDC-4543-840B-B004BF0A2D4D}" type="pres">
      <dgm:prSet presAssocID="{241CBD5C-1866-45F4-B600-6832C2F50B98}" presName="node" presStyleLbl="node1" presStyleIdx="6" presStyleCnt="9" custScaleX="119923" custScaleY="119923">
        <dgm:presLayoutVars>
          <dgm:bulletEnabled val="1"/>
        </dgm:presLayoutVars>
      </dgm:prSet>
      <dgm:spPr/>
    </dgm:pt>
    <dgm:pt modelId="{67810783-089B-4685-B688-28BC8A67FD6F}" type="pres">
      <dgm:prSet presAssocID="{4831AC1C-1A3F-4FA1-8E9A-12E71489BEC8}" presName="Name9" presStyleLbl="parChTrans1D2" presStyleIdx="7" presStyleCnt="9"/>
      <dgm:spPr/>
    </dgm:pt>
    <dgm:pt modelId="{B083CD9A-6B19-4240-82C0-5E1BBA049B04}" type="pres">
      <dgm:prSet presAssocID="{4831AC1C-1A3F-4FA1-8E9A-12E71489BEC8}" presName="connTx" presStyleLbl="parChTrans1D2" presStyleIdx="7" presStyleCnt="9"/>
      <dgm:spPr/>
    </dgm:pt>
    <dgm:pt modelId="{BA0C8DCA-DEF2-4A5D-BB77-DE161C039935}" type="pres">
      <dgm:prSet presAssocID="{2EE0EC91-F392-4716-A442-6B6461274852}" presName="node" presStyleLbl="node1" presStyleIdx="7" presStyleCnt="9" custScaleX="119923" custScaleY="119923">
        <dgm:presLayoutVars>
          <dgm:bulletEnabled val="1"/>
        </dgm:presLayoutVars>
      </dgm:prSet>
      <dgm:spPr/>
    </dgm:pt>
    <dgm:pt modelId="{C92D0441-872B-4A1C-93BA-128B36261CEF}" type="pres">
      <dgm:prSet presAssocID="{D46C9ED2-FED7-414D-B470-3B606023E075}" presName="Name9" presStyleLbl="parChTrans1D2" presStyleIdx="8" presStyleCnt="9"/>
      <dgm:spPr/>
    </dgm:pt>
    <dgm:pt modelId="{1BFE8588-42A0-493C-8390-02262FB80722}" type="pres">
      <dgm:prSet presAssocID="{D46C9ED2-FED7-414D-B470-3B606023E075}" presName="connTx" presStyleLbl="parChTrans1D2" presStyleIdx="8" presStyleCnt="9"/>
      <dgm:spPr/>
    </dgm:pt>
    <dgm:pt modelId="{48BA1B34-88EB-4DD9-948C-54600E3116E8}" type="pres">
      <dgm:prSet presAssocID="{7996E666-1BE0-43AC-9186-C41A0EA37F6D}" presName="node" presStyleLbl="node1" presStyleIdx="8" presStyleCnt="9" custScaleX="170618" custScaleY="119923">
        <dgm:presLayoutVars>
          <dgm:bulletEnabled val="1"/>
        </dgm:presLayoutVars>
      </dgm:prSet>
      <dgm:spPr/>
    </dgm:pt>
  </dgm:ptLst>
  <dgm:cxnLst>
    <dgm:cxn modelId="{0300C501-D095-43CC-B184-1BFF63E01D53}" type="presOf" srcId="{D46C9ED2-FED7-414D-B470-3B606023E075}" destId="{1BFE8588-42A0-493C-8390-02262FB80722}" srcOrd="1" destOrd="0" presId="urn:microsoft.com/office/officeart/2005/8/layout/radial1"/>
    <dgm:cxn modelId="{39A14404-6595-4FF1-868A-4994A09F8B17}" type="presOf" srcId="{7996E666-1BE0-43AC-9186-C41A0EA37F6D}" destId="{48BA1B34-88EB-4DD9-948C-54600E3116E8}" srcOrd="0" destOrd="0" presId="urn:microsoft.com/office/officeart/2005/8/layout/radial1"/>
    <dgm:cxn modelId="{ECB32F08-2BAA-44A5-BA84-2E74D84778F6}" type="presOf" srcId="{2EE0EC91-F392-4716-A442-6B6461274852}" destId="{BA0C8DCA-DEF2-4A5D-BB77-DE161C039935}" srcOrd="0" destOrd="0" presId="urn:microsoft.com/office/officeart/2005/8/layout/radial1"/>
    <dgm:cxn modelId="{6DEF000B-A283-4E03-953D-B06CE3455984}" type="presOf" srcId="{4831AC1C-1A3F-4FA1-8E9A-12E71489BEC8}" destId="{B083CD9A-6B19-4240-82C0-5E1BBA049B04}" srcOrd="1" destOrd="0" presId="urn:microsoft.com/office/officeart/2005/8/layout/radial1"/>
    <dgm:cxn modelId="{549DFE0E-AF58-4464-AF18-D9359CF116EA}" type="presOf" srcId="{241CBD5C-1866-45F4-B600-6832C2F50B98}" destId="{091A4F28-DCDC-4543-840B-B004BF0A2D4D}" srcOrd="0" destOrd="0" presId="urn:microsoft.com/office/officeart/2005/8/layout/radial1"/>
    <dgm:cxn modelId="{F3565B22-E3A2-436A-9D77-3225528BAFB3}" type="presOf" srcId="{B419299A-2E1C-41D4-A5D6-BE6C21304F94}" destId="{E90C7A07-E970-4702-92C3-EF90366A1D22}" srcOrd="0" destOrd="0" presId="urn:microsoft.com/office/officeart/2005/8/layout/radial1"/>
    <dgm:cxn modelId="{10354229-962F-4045-9663-E5AAFD6CBECF}" type="presOf" srcId="{E0879A4E-860E-419A-9E18-D3DEBE3B7EAA}" destId="{71A98362-E01A-4AB5-BBB0-90BE85841C38}" srcOrd="0" destOrd="0" presId="urn:microsoft.com/office/officeart/2005/8/layout/radial1"/>
    <dgm:cxn modelId="{D3106131-13DC-4AE6-B6CF-47CD47778B35}" srcId="{E5E990B4-0AC3-49A9-979B-B7AF1A3D3D65}" destId="{B419299A-2E1C-41D4-A5D6-BE6C21304F94}" srcOrd="0" destOrd="0" parTransId="{6C73843A-D4F7-4146-84AA-5C340C119448}" sibTransId="{99856F0E-5A65-4DEA-A865-FBD2538EF871}"/>
    <dgm:cxn modelId="{5D0E9634-9DD4-4C16-AFBC-799B75ADDFB7}" type="presOf" srcId="{8B6D8A2C-F67B-4827-8FFB-68E65C1EF822}" destId="{CF991601-650B-48FA-882F-D7F637B73C62}" srcOrd="1" destOrd="0" presId="urn:microsoft.com/office/officeart/2005/8/layout/radial1"/>
    <dgm:cxn modelId="{01B7D835-9B6C-458D-B2E0-DD83AB17AC21}" type="presOf" srcId="{D10B6218-E491-422A-B400-1B5873216A63}" destId="{5DB4BD91-1044-4E12-9A1D-08BA1D9822D9}" srcOrd="1" destOrd="0" presId="urn:microsoft.com/office/officeart/2005/8/layout/radial1"/>
    <dgm:cxn modelId="{5B0C5D37-84FC-43EA-982F-A368F589C8DB}" type="presOf" srcId="{3754009D-ABBF-4DDE-8371-AF589F300B88}" destId="{02177410-E514-4C08-84C9-52974AC7B1B4}" srcOrd="1" destOrd="0" presId="urn:microsoft.com/office/officeart/2005/8/layout/radial1"/>
    <dgm:cxn modelId="{5E23473A-0559-4458-8743-2EC03496342E}" srcId="{B419299A-2E1C-41D4-A5D6-BE6C21304F94}" destId="{2EE0EC91-F392-4716-A442-6B6461274852}" srcOrd="7" destOrd="0" parTransId="{4831AC1C-1A3F-4FA1-8E9A-12E71489BEC8}" sibTransId="{6E5D24B3-D448-46A9-8A9A-14589B78B276}"/>
    <dgm:cxn modelId="{E0407C3B-1AE6-4FED-B741-13214E1AAD5C}" type="presOf" srcId="{D46C9ED2-FED7-414D-B470-3B606023E075}" destId="{C92D0441-872B-4A1C-93BA-128B36261CEF}" srcOrd="0" destOrd="0" presId="urn:microsoft.com/office/officeart/2005/8/layout/radial1"/>
    <dgm:cxn modelId="{0BF6B93D-1164-4EE1-99F8-4E03A98D1CDC}" type="presOf" srcId="{41B317A1-1E63-43D9-ABE2-88B9B5F745B5}" destId="{454E6743-5C2A-4618-B6B8-0F00C9C948C1}" srcOrd="1" destOrd="0" presId="urn:microsoft.com/office/officeart/2005/8/layout/radial1"/>
    <dgm:cxn modelId="{4F0CB540-75F1-4D75-9887-E23D58E8B53A}" srcId="{B419299A-2E1C-41D4-A5D6-BE6C21304F94}" destId="{241CBD5C-1866-45F4-B600-6832C2F50B98}" srcOrd="6" destOrd="0" parTransId="{8B6D8A2C-F67B-4827-8FFB-68E65C1EF822}" sibTransId="{771B8E27-7D11-46CE-802F-CC1D552C08AB}"/>
    <dgm:cxn modelId="{EEA9FC5B-6DF9-4F23-BB93-221C06BB6816}" srcId="{B419299A-2E1C-41D4-A5D6-BE6C21304F94}" destId="{ED62AA21-135E-4DC7-B9D9-A8A06EF136FD}" srcOrd="2" destOrd="0" parTransId="{41B317A1-1E63-43D9-ABE2-88B9B5F745B5}" sibTransId="{D9103439-40C7-42B4-A321-56F8E9C6C048}"/>
    <dgm:cxn modelId="{C89A945D-8448-43A2-842A-FE366B1753FC}" type="presOf" srcId="{E0879A4E-860E-419A-9E18-D3DEBE3B7EAA}" destId="{EDDD9BF9-1E6C-494E-A079-A8EC9A75986B}" srcOrd="1" destOrd="0" presId="urn:microsoft.com/office/officeart/2005/8/layout/radial1"/>
    <dgm:cxn modelId="{3CCB6761-A720-4504-AEFB-0E0A50B38B67}" type="presOf" srcId="{F393D350-543A-4DEB-AEC9-D9BAF5EB9062}" destId="{F91F713E-5365-40E6-91A9-A4A27ED2FC2D}" srcOrd="0" destOrd="0" presId="urn:microsoft.com/office/officeart/2005/8/layout/radial1"/>
    <dgm:cxn modelId="{31A2CA67-9B80-41B4-9AED-65B5C61098D3}" type="presOf" srcId="{32343354-2613-48A7-B340-25AABE8838DE}" destId="{E18433AC-28C3-42EE-8A61-617EDD7D6D40}" srcOrd="1" destOrd="0" presId="urn:microsoft.com/office/officeart/2005/8/layout/radial1"/>
    <dgm:cxn modelId="{F46B9849-840D-4BC2-9B13-00784FA373AC}" srcId="{B419299A-2E1C-41D4-A5D6-BE6C21304F94}" destId="{7996E666-1BE0-43AC-9186-C41A0EA37F6D}" srcOrd="8" destOrd="0" parTransId="{D46C9ED2-FED7-414D-B470-3B606023E075}" sibTransId="{25CE7B56-3AA3-40AD-86FF-6ABC81829077}"/>
    <dgm:cxn modelId="{3C16844E-3CB6-48A9-A2BB-37103CD46DE2}" type="presOf" srcId="{16A7C3FD-C569-4A74-B884-F0C2B6286391}" destId="{5859A881-E972-46B1-AE49-4DE98CB99EF2}" srcOrd="1" destOrd="0" presId="urn:microsoft.com/office/officeart/2005/8/layout/radial1"/>
    <dgm:cxn modelId="{D1A84E73-80E0-4D67-BB60-56048458F8A9}" srcId="{B419299A-2E1C-41D4-A5D6-BE6C21304F94}" destId="{131676A4-A2BC-45E9-9F4C-F1D462CBBE22}" srcOrd="5" destOrd="0" parTransId="{E0879A4E-860E-419A-9E18-D3DEBE3B7EAA}" sibTransId="{EEDE7085-2C3D-42C7-8AC9-88A93F70B941}"/>
    <dgm:cxn modelId="{8F212C55-A22E-4C68-87EC-2B9AC7F3646E}" type="presOf" srcId="{3754009D-ABBF-4DDE-8371-AF589F300B88}" destId="{13CFDE3D-942A-463A-9A37-75EAA192281F}" srcOrd="0" destOrd="0" presId="urn:microsoft.com/office/officeart/2005/8/layout/radial1"/>
    <dgm:cxn modelId="{AA0C2776-A1A3-40CE-BF58-CC0010C24F9B}" srcId="{B419299A-2E1C-41D4-A5D6-BE6C21304F94}" destId="{F393D350-543A-4DEB-AEC9-D9BAF5EB9062}" srcOrd="3" destOrd="0" parTransId="{16A7C3FD-C569-4A74-B884-F0C2B6286391}" sibTransId="{6719CF56-8A19-437A-8B39-4E09BED8C293}"/>
    <dgm:cxn modelId="{A39F9B59-2D85-45AA-ACB2-65100AF215BE}" type="presOf" srcId="{7DE9CF5A-EC0D-42EE-A3C9-A2C3064356BC}" destId="{6D1E4E36-16AE-440F-BDE6-BD7C91847B65}" srcOrd="0" destOrd="0" presId="urn:microsoft.com/office/officeart/2005/8/layout/radial1"/>
    <dgm:cxn modelId="{13F31C7B-3CB7-4A8B-898C-37CC00A5253F}" srcId="{B419299A-2E1C-41D4-A5D6-BE6C21304F94}" destId="{806D321C-D0E4-4872-99B9-9E61CFE6FE7A}" srcOrd="1" destOrd="0" parTransId="{32343354-2613-48A7-B340-25AABE8838DE}" sibTransId="{5066F627-8E1A-4CDE-8EC8-E6EAD3369795}"/>
    <dgm:cxn modelId="{6185007D-E425-418C-B0A2-E43FB0E45A3C}" type="presOf" srcId="{806D321C-D0E4-4872-99B9-9E61CFE6FE7A}" destId="{49ADC733-15A1-4890-A087-3C49A7333DED}" srcOrd="0" destOrd="0" presId="urn:microsoft.com/office/officeart/2005/8/layout/radial1"/>
    <dgm:cxn modelId="{394EB986-066F-4065-B695-04BBE870A8E6}" type="presOf" srcId="{E5E990B4-0AC3-49A9-979B-B7AF1A3D3D65}" destId="{2D6D4BC0-E040-4E57-9E92-86D9CDF3F653}" srcOrd="0" destOrd="0" presId="urn:microsoft.com/office/officeart/2005/8/layout/radial1"/>
    <dgm:cxn modelId="{21B74792-C5DE-4241-AB3C-4E79C963D546}" type="presOf" srcId="{4831AC1C-1A3F-4FA1-8E9A-12E71489BEC8}" destId="{67810783-089B-4685-B688-28BC8A67FD6F}" srcOrd="0" destOrd="0" presId="urn:microsoft.com/office/officeart/2005/8/layout/radial1"/>
    <dgm:cxn modelId="{D8047192-E8F9-4378-8057-A333E5F0632C}" type="presOf" srcId="{8B6D8A2C-F67B-4827-8FFB-68E65C1EF822}" destId="{47CDCD78-2A3B-4B9B-AC00-78329CDDE4D3}" srcOrd="0" destOrd="0" presId="urn:microsoft.com/office/officeart/2005/8/layout/radial1"/>
    <dgm:cxn modelId="{E1C7349F-F62D-4624-8DFC-FE69C7C5D39D}" srcId="{B419299A-2E1C-41D4-A5D6-BE6C21304F94}" destId="{7DE9CF5A-EC0D-42EE-A3C9-A2C3064356BC}" srcOrd="0" destOrd="0" parTransId="{D10B6218-E491-422A-B400-1B5873216A63}" sibTransId="{20A78369-4AC2-4D8D-83F6-6C44A03D0779}"/>
    <dgm:cxn modelId="{F89784AB-5B71-49DC-B9BD-399D8431A6EC}" type="presOf" srcId="{41B317A1-1E63-43D9-ABE2-88B9B5F745B5}" destId="{B6BA3FD5-6E1C-42FF-AE65-C633F535E5AB}" srcOrd="0" destOrd="0" presId="urn:microsoft.com/office/officeart/2005/8/layout/radial1"/>
    <dgm:cxn modelId="{AF3D28AE-6B70-4DED-876E-1037FF2A67C1}" type="presOf" srcId="{131676A4-A2BC-45E9-9F4C-F1D462CBBE22}" destId="{5E75A430-EA17-406E-AA9D-3AA2AC939715}" srcOrd="0" destOrd="0" presId="urn:microsoft.com/office/officeart/2005/8/layout/radial1"/>
    <dgm:cxn modelId="{1DA1CCBB-22E4-4428-941E-EFD509E866B0}" type="presOf" srcId="{ED62AA21-135E-4DC7-B9D9-A8A06EF136FD}" destId="{CEBFAA13-136E-4B51-954F-234D7B607EEA}" srcOrd="0" destOrd="0" presId="urn:microsoft.com/office/officeart/2005/8/layout/radial1"/>
    <dgm:cxn modelId="{B8B4CCBC-2480-4066-86FD-BFC170341907}" type="presOf" srcId="{117F257A-FF4A-4A64-9C20-03F8D5BE2243}" destId="{6C78742E-FA38-4711-B646-E64219F79A4C}" srcOrd="0" destOrd="0" presId="urn:microsoft.com/office/officeart/2005/8/layout/radial1"/>
    <dgm:cxn modelId="{AF71A6D0-844A-4420-9868-2B45E3F6E404}" type="presOf" srcId="{16A7C3FD-C569-4A74-B884-F0C2B6286391}" destId="{C9B69196-58C7-4005-99A1-7CE91C45C83F}" srcOrd="0" destOrd="0" presId="urn:microsoft.com/office/officeart/2005/8/layout/radial1"/>
    <dgm:cxn modelId="{4804E9DE-05E6-4C85-8A02-E6322967DB9D}" type="presOf" srcId="{32343354-2613-48A7-B340-25AABE8838DE}" destId="{04B5402A-2186-4CB8-B5EA-E809259C420A}" srcOrd="0" destOrd="0" presId="urn:microsoft.com/office/officeart/2005/8/layout/radial1"/>
    <dgm:cxn modelId="{8A98FDE5-8B9B-44B7-8DB6-A4843258DC4A}" srcId="{B419299A-2E1C-41D4-A5D6-BE6C21304F94}" destId="{117F257A-FF4A-4A64-9C20-03F8D5BE2243}" srcOrd="4" destOrd="0" parTransId="{3754009D-ABBF-4DDE-8371-AF589F300B88}" sibTransId="{3D30CA23-ED16-4DD8-9215-238E51B46139}"/>
    <dgm:cxn modelId="{ED76E8E7-7757-4BED-AF16-B63D55D94E26}" type="presOf" srcId="{D10B6218-E491-422A-B400-1B5873216A63}" destId="{3FF3EBED-5BCF-4C93-9D3E-DCBE1BD428A1}" srcOrd="0" destOrd="0" presId="urn:microsoft.com/office/officeart/2005/8/layout/radial1"/>
    <dgm:cxn modelId="{5D86D36E-032E-4DE5-84C2-F9147D3AE44B}" type="presParOf" srcId="{2D6D4BC0-E040-4E57-9E92-86D9CDF3F653}" destId="{E90C7A07-E970-4702-92C3-EF90366A1D22}" srcOrd="0" destOrd="0" presId="urn:microsoft.com/office/officeart/2005/8/layout/radial1"/>
    <dgm:cxn modelId="{92103E59-C8B2-4132-BBFC-AEC66C15DC9E}" type="presParOf" srcId="{2D6D4BC0-E040-4E57-9E92-86D9CDF3F653}" destId="{3FF3EBED-5BCF-4C93-9D3E-DCBE1BD428A1}" srcOrd="1" destOrd="0" presId="urn:microsoft.com/office/officeart/2005/8/layout/radial1"/>
    <dgm:cxn modelId="{BFEE9CE4-3504-4706-9058-79DE65E13CB5}" type="presParOf" srcId="{3FF3EBED-5BCF-4C93-9D3E-DCBE1BD428A1}" destId="{5DB4BD91-1044-4E12-9A1D-08BA1D9822D9}" srcOrd="0" destOrd="0" presId="urn:microsoft.com/office/officeart/2005/8/layout/radial1"/>
    <dgm:cxn modelId="{98179146-E875-4559-A700-4FF11ED044B4}" type="presParOf" srcId="{2D6D4BC0-E040-4E57-9E92-86D9CDF3F653}" destId="{6D1E4E36-16AE-440F-BDE6-BD7C91847B65}" srcOrd="2" destOrd="0" presId="urn:microsoft.com/office/officeart/2005/8/layout/radial1"/>
    <dgm:cxn modelId="{279C197E-469E-4E2D-A35F-D3A87E42CE07}" type="presParOf" srcId="{2D6D4BC0-E040-4E57-9E92-86D9CDF3F653}" destId="{04B5402A-2186-4CB8-B5EA-E809259C420A}" srcOrd="3" destOrd="0" presId="urn:microsoft.com/office/officeart/2005/8/layout/radial1"/>
    <dgm:cxn modelId="{CBED7BAC-57E5-4333-AC22-EBE8E3DE8AB3}" type="presParOf" srcId="{04B5402A-2186-4CB8-B5EA-E809259C420A}" destId="{E18433AC-28C3-42EE-8A61-617EDD7D6D40}" srcOrd="0" destOrd="0" presId="urn:microsoft.com/office/officeart/2005/8/layout/radial1"/>
    <dgm:cxn modelId="{225ADC41-013E-4BC6-91C1-677B014A8163}" type="presParOf" srcId="{2D6D4BC0-E040-4E57-9E92-86D9CDF3F653}" destId="{49ADC733-15A1-4890-A087-3C49A7333DED}" srcOrd="4" destOrd="0" presId="urn:microsoft.com/office/officeart/2005/8/layout/radial1"/>
    <dgm:cxn modelId="{E062903C-3181-4095-9778-4323057248CE}" type="presParOf" srcId="{2D6D4BC0-E040-4E57-9E92-86D9CDF3F653}" destId="{B6BA3FD5-6E1C-42FF-AE65-C633F535E5AB}" srcOrd="5" destOrd="0" presId="urn:microsoft.com/office/officeart/2005/8/layout/radial1"/>
    <dgm:cxn modelId="{C54E3D08-4634-4B9C-980B-684240393BA2}" type="presParOf" srcId="{B6BA3FD5-6E1C-42FF-AE65-C633F535E5AB}" destId="{454E6743-5C2A-4618-B6B8-0F00C9C948C1}" srcOrd="0" destOrd="0" presId="urn:microsoft.com/office/officeart/2005/8/layout/radial1"/>
    <dgm:cxn modelId="{4CA37474-0B29-473E-AF9F-FD3B59280C31}" type="presParOf" srcId="{2D6D4BC0-E040-4E57-9E92-86D9CDF3F653}" destId="{CEBFAA13-136E-4B51-954F-234D7B607EEA}" srcOrd="6" destOrd="0" presId="urn:microsoft.com/office/officeart/2005/8/layout/radial1"/>
    <dgm:cxn modelId="{58914466-E0FD-4D9A-8678-B455EF52E963}" type="presParOf" srcId="{2D6D4BC0-E040-4E57-9E92-86D9CDF3F653}" destId="{C9B69196-58C7-4005-99A1-7CE91C45C83F}" srcOrd="7" destOrd="0" presId="urn:microsoft.com/office/officeart/2005/8/layout/radial1"/>
    <dgm:cxn modelId="{A540943C-6F59-4BF7-85D9-F02AEC905DF8}" type="presParOf" srcId="{C9B69196-58C7-4005-99A1-7CE91C45C83F}" destId="{5859A881-E972-46B1-AE49-4DE98CB99EF2}" srcOrd="0" destOrd="0" presId="urn:microsoft.com/office/officeart/2005/8/layout/radial1"/>
    <dgm:cxn modelId="{6AC89507-CC35-4E2E-A3D5-D2E8A287F9E5}" type="presParOf" srcId="{2D6D4BC0-E040-4E57-9E92-86D9CDF3F653}" destId="{F91F713E-5365-40E6-91A9-A4A27ED2FC2D}" srcOrd="8" destOrd="0" presId="urn:microsoft.com/office/officeart/2005/8/layout/radial1"/>
    <dgm:cxn modelId="{54CF1A70-492F-4869-A15F-686CE3CBD2F9}" type="presParOf" srcId="{2D6D4BC0-E040-4E57-9E92-86D9CDF3F653}" destId="{13CFDE3D-942A-463A-9A37-75EAA192281F}" srcOrd="9" destOrd="0" presId="urn:microsoft.com/office/officeart/2005/8/layout/radial1"/>
    <dgm:cxn modelId="{C03AAAF0-6AEC-42EE-8A9D-A435262D4AA3}" type="presParOf" srcId="{13CFDE3D-942A-463A-9A37-75EAA192281F}" destId="{02177410-E514-4C08-84C9-52974AC7B1B4}" srcOrd="0" destOrd="0" presId="urn:microsoft.com/office/officeart/2005/8/layout/radial1"/>
    <dgm:cxn modelId="{26870A6C-F006-4A88-BD64-C46F4A5DAB42}" type="presParOf" srcId="{2D6D4BC0-E040-4E57-9E92-86D9CDF3F653}" destId="{6C78742E-FA38-4711-B646-E64219F79A4C}" srcOrd="10" destOrd="0" presId="urn:microsoft.com/office/officeart/2005/8/layout/radial1"/>
    <dgm:cxn modelId="{24B3FDFC-692F-46C7-9B13-8BB231DC7B9C}" type="presParOf" srcId="{2D6D4BC0-E040-4E57-9E92-86D9CDF3F653}" destId="{71A98362-E01A-4AB5-BBB0-90BE85841C38}" srcOrd="11" destOrd="0" presId="urn:microsoft.com/office/officeart/2005/8/layout/radial1"/>
    <dgm:cxn modelId="{CD056A57-1E08-471C-886F-542E28CD2F03}" type="presParOf" srcId="{71A98362-E01A-4AB5-BBB0-90BE85841C38}" destId="{EDDD9BF9-1E6C-494E-A079-A8EC9A75986B}" srcOrd="0" destOrd="0" presId="urn:microsoft.com/office/officeart/2005/8/layout/radial1"/>
    <dgm:cxn modelId="{1EDEF98D-C716-43B9-A83C-1DBD166C972B}" type="presParOf" srcId="{2D6D4BC0-E040-4E57-9E92-86D9CDF3F653}" destId="{5E75A430-EA17-406E-AA9D-3AA2AC939715}" srcOrd="12" destOrd="0" presId="urn:microsoft.com/office/officeart/2005/8/layout/radial1"/>
    <dgm:cxn modelId="{5B02B5DF-AF5B-40D2-939C-985D832BDCDD}" type="presParOf" srcId="{2D6D4BC0-E040-4E57-9E92-86D9CDF3F653}" destId="{47CDCD78-2A3B-4B9B-AC00-78329CDDE4D3}" srcOrd="13" destOrd="0" presId="urn:microsoft.com/office/officeart/2005/8/layout/radial1"/>
    <dgm:cxn modelId="{763910AB-FD30-419E-BC86-EBB506353405}" type="presParOf" srcId="{47CDCD78-2A3B-4B9B-AC00-78329CDDE4D3}" destId="{CF991601-650B-48FA-882F-D7F637B73C62}" srcOrd="0" destOrd="0" presId="urn:microsoft.com/office/officeart/2005/8/layout/radial1"/>
    <dgm:cxn modelId="{1522BA00-8908-4EF2-AD4F-EF3641BF00D6}" type="presParOf" srcId="{2D6D4BC0-E040-4E57-9E92-86D9CDF3F653}" destId="{091A4F28-DCDC-4543-840B-B004BF0A2D4D}" srcOrd="14" destOrd="0" presId="urn:microsoft.com/office/officeart/2005/8/layout/radial1"/>
    <dgm:cxn modelId="{9456C487-F5DC-4B86-9864-BBBD5F52F702}" type="presParOf" srcId="{2D6D4BC0-E040-4E57-9E92-86D9CDF3F653}" destId="{67810783-089B-4685-B688-28BC8A67FD6F}" srcOrd="15" destOrd="0" presId="urn:microsoft.com/office/officeart/2005/8/layout/radial1"/>
    <dgm:cxn modelId="{5567655F-323A-440C-8A1C-F4A0011B1CFB}" type="presParOf" srcId="{67810783-089B-4685-B688-28BC8A67FD6F}" destId="{B083CD9A-6B19-4240-82C0-5E1BBA049B04}" srcOrd="0" destOrd="0" presId="urn:microsoft.com/office/officeart/2005/8/layout/radial1"/>
    <dgm:cxn modelId="{340BAC92-950E-44AF-94F4-75D8F04B4E83}" type="presParOf" srcId="{2D6D4BC0-E040-4E57-9E92-86D9CDF3F653}" destId="{BA0C8DCA-DEF2-4A5D-BB77-DE161C039935}" srcOrd="16" destOrd="0" presId="urn:microsoft.com/office/officeart/2005/8/layout/radial1"/>
    <dgm:cxn modelId="{67CB7403-B24C-4780-8895-EC64F1E183CB}" type="presParOf" srcId="{2D6D4BC0-E040-4E57-9E92-86D9CDF3F653}" destId="{C92D0441-872B-4A1C-93BA-128B36261CEF}" srcOrd="17" destOrd="0" presId="urn:microsoft.com/office/officeart/2005/8/layout/radial1"/>
    <dgm:cxn modelId="{6FE5F16D-718C-4513-BD6E-CF3CF4345506}" type="presParOf" srcId="{C92D0441-872B-4A1C-93BA-128B36261CEF}" destId="{1BFE8588-42A0-493C-8390-02262FB80722}" srcOrd="0" destOrd="0" presId="urn:microsoft.com/office/officeart/2005/8/layout/radial1"/>
    <dgm:cxn modelId="{81F80DBE-5F78-4E39-B82C-AF17D3A6467C}" type="presParOf" srcId="{2D6D4BC0-E040-4E57-9E92-86D9CDF3F653}" destId="{48BA1B34-88EB-4DD9-948C-54600E3116E8}" srcOrd="18" destOrd="0" presId="urn:microsoft.com/office/officeart/2005/8/layout/radia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1B7F7A-D882-4591-A48B-1F70C10A5A74}">
      <dsp:nvSpPr>
        <dsp:cNvPr id="0" name=""/>
        <dsp:cNvSpPr/>
      </dsp:nvSpPr>
      <dsp:spPr>
        <a:xfrm>
          <a:off x="1918" y="337603"/>
          <a:ext cx="2337005" cy="934802"/>
        </a:xfrm>
        <a:prstGeom prst="chevron">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nb-NO" sz="1500" kern="1200"/>
            <a:t>Samle/etablere</a:t>
          </a:r>
        </a:p>
      </dsp:txBody>
      <dsp:txXfrm>
        <a:off x="469319" y="337603"/>
        <a:ext cx="1402203" cy="934802"/>
      </dsp:txXfrm>
    </dsp:sp>
    <dsp:sp modelId="{021CE691-805F-40EC-94E5-86F5DD72F8DD}">
      <dsp:nvSpPr>
        <dsp:cNvPr id="0" name=""/>
        <dsp:cNvSpPr/>
      </dsp:nvSpPr>
      <dsp:spPr>
        <a:xfrm>
          <a:off x="2105223" y="337603"/>
          <a:ext cx="2337005" cy="934802"/>
        </a:xfrm>
        <a:prstGeom prst="chevron">
          <a:avLst/>
        </a:prstGeom>
        <a:solidFill>
          <a:schemeClr val="accent2">
            <a:shade val="80000"/>
            <a:hueOff val="0"/>
            <a:satOff val="1186"/>
            <a:lumOff val="1057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nb-NO" sz="1500" kern="1200"/>
            <a:t>Lagre og vedlikeholde</a:t>
          </a:r>
        </a:p>
      </dsp:txBody>
      <dsp:txXfrm>
        <a:off x="2572624" y="337603"/>
        <a:ext cx="1402203" cy="934802"/>
      </dsp:txXfrm>
    </dsp:sp>
    <dsp:sp modelId="{4880680C-D8B9-441B-ADBA-F2CCC7E2A51A}">
      <dsp:nvSpPr>
        <dsp:cNvPr id="0" name=""/>
        <dsp:cNvSpPr/>
      </dsp:nvSpPr>
      <dsp:spPr>
        <a:xfrm>
          <a:off x="4208528" y="337603"/>
          <a:ext cx="2337005" cy="934802"/>
        </a:xfrm>
        <a:prstGeom prst="chevron">
          <a:avLst/>
        </a:prstGeom>
        <a:solidFill>
          <a:schemeClr val="accent2">
            <a:shade val="80000"/>
            <a:hueOff val="0"/>
            <a:satOff val="2373"/>
            <a:lumOff val="211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nb-NO" sz="1500" kern="1200"/>
            <a:t>Bruke</a:t>
          </a:r>
        </a:p>
      </dsp:txBody>
      <dsp:txXfrm>
        <a:off x="4675929" y="337603"/>
        <a:ext cx="1402203" cy="9348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218001-2BB4-4D85-8594-0997EA2CF651}">
      <dsp:nvSpPr>
        <dsp:cNvPr id="0" name=""/>
        <dsp:cNvSpPr/>
      </dsp:nvSpPr>
      <dsp:spPr>
        <a:xfrm>
          <a:off x="1135989" y="611733"/>
          <a:ext cx="747674" cy="747674"/>
        </a:xfrm>
        <a:prstGeom prst="gear9">
          <a:avLst/>
        </a:prstGeom>
        <a:solidFill>
          <a:srgbClr val="0070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nb-NO" sz="500" kern="1200" dirty="0"/>
            <a:t>Informasjon</a:t>
          </a:r>
        </a:p>
      </dsp:txBody>
      <dsp:txXfrm>
        <a:off x="1286305" y="786872"/>
        <a:ext cx="447042" cy="384320"/>
      </dsp:txXfrm>
    </dsp:sp>
    <dsp:sp modelId="{02E67DE1-1B34-435C-9A0A-587F39FFA593}">
      <dsp:nvSpPr>
        <dsp:cNvPr id="0" name=""/>
        <dsp:cNvSpPr/>
      </dsp:nvSpPr>
      <dsp:spPr>
        <a:xfrm>
          <a:off x="700979" y="435010"/>
          <a:ext cx="543763" cy="543763"/>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nb-NO" sz="500" kern="1200" dirty="0"/>
            <a:t>Prosess</a:t>
          </a:r>
        </a:p>
      </dsp:txBody>
      <dsp:txXfrm>
        <a:off x="837873" y="572731"/>
        <a:ext cx="269975" cy="268321"/>
      </dsp:txXfrm>
    </dsp:sp>
    <dsp:sp modelId="{ABF099CF-0ED3-4743-8F48-E2A68A97B492}">
      <dsp:nvSpPr>
        <dsp:cNvPr id="0" name=""/>
        <dsp:cNvSpPr/>
      </dsp:nvSpPr>
      <dsp:spPr>
        <a:xfrm rot="20700000">
          <a:off x="1005541" y="59869"/>
          <a:ext cx="532776" cy="532776"/>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nb-NO" sz="500" kern="1200" dirty="0"/>
            <a:t>Lov</a:t>
          </a:r>
        </a:p>
      </dsp:txBody>
      <dsp:txXfrm rot="-20700000">
        <a:off x="1122395" y="176723"/>
        <a:ext cx="299069" cy="299069"/>
      </dsp:txXfrm>
    </dsp:sp>
    <dsp:sp modelId="{562F4957-4224-4B9D-B207-3C1BF3ED5C21}">
      <dsp:nvSpPr>
        <dsp:cNvPr id="0" name=""/>
        <dsp:cNvSpPr/>
      </dsp:nvSpPr>
      <dsp:spPr>
        <a:xfrm>
          <a:off x="1051879" y="513077"/>
          <a:ext cx="957023" cy="957023"/>
        </a:xfrm>
        <a:prstGeom prst="circularArrow">
          <a:avLst>
            <a:gd name="adj1" fmla="val 4687"/>
            <a:gd name="adj2" fmla="val 299029"/>
            <a:gd name="adj3" fmla="val 2354402"/>
            <a:gd name="adj4" fmla="val 16269079"/>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37BC43-25A2-422F-AA0D-CEBE00825E2A}">
      <dsp:nvSpPr>
        <dsp:cNvPr id="0" name=""/>
        <dsp:cNvSpPr/>
      </dsp:nvSpPr>
      <dsp:spPr>
        <a:xfrm>
          <a:off x="604679" y="326862"/>
          <a:ext cx="695337" cy="695337"/>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FCD0542-134F-45F1-9691-478D869E567D}">
      <dsp:nvSpPr>
        <dsp:cNvPr id="0" name=""/>
        <dsp:cNvSpPr/>
      </dsp:nvSpPr>
      <dsp:spPr>
        <a:xfrm>
          <a:off x="882305" y="-44662"/>
          <a:ext cx="749713" cy="749713"/>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0C7A07-E970-4702-92C3-EF90366A1D22}">
      <dsp:nvSpPr>
        <dsp:cNvPr id="0" name=""/>
        <dsp:cNvSpPr/>
      </dsp:nvSpPr>
      <dsp:spPr>
        <a:xfrm>
          <a:off x="1551720" y="1295492"/>
          <a:ext cx="670907" cy="670907"/>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400050">
            <a:lnSpc>
              <a:spcPct val="90000"/>
            </a:lnSpc>
            <a:spcBef>
              <a:spcPct val="0"/>
            </a:spcBef>
            <a:spcAft>
              <a:spcPct val="35000"/>
            </a:spcAft>
            <a:buNone/>
          </a:pPr>
          <a:r>
            <a:rPr lang="nb-NO" sz="900" b="1" kern="1200" dirty="0"/>
            <a:t>Data-produkt (eierskap)</a:t>
          </a:r>
        </a:p>
      </dsp:txBody>
      <dsp:txXfrm>
        <a:off x="1649972" y="1393744"/>
        <a:ext cx="474403" cy="474403"/>
      </dsp:txXfrm>
    </dsp:sp>
    <dsp:sp modelId="{3FF3EBED-5BCF-4C93-9D3E-DCBE1BD428A1}">
      <dsp:nvSpPr>
        <dsp:cNvPr id="0" name=""/>
        <dsp:cNvSpPr/>
      </dsp:nvSpPr>
      <dsp:spPr>
        <a:xfrm rot="16247923">
          <a:off x="1622819" y="1006933"/>
          <a:ext cx="545667" cy="31567"/>
        </a:xfrm>
        <a:custGeom>
          <a:avLst/>
          <a:gdLst/>
          <a:ahLst/>
          <a:cxnLst/>
          <a:rect l="0" t="0" r="0" b="0"/>
          <a:pathLst>
            <a:path>
              <a:moveTo>
                <a:pt x="0" y="15783"/>
              </a:moveTo>
              <a:lnTo>
                <a:pt x="545667" y="157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nb-NO" sz="500" kern="1200"/>
        </a:p>
      </dsp:txBody>
      <dsp:txXfrm>
        <a:off x="1882011" y="1009075"/>
        <a:ext cx="27283" cy="27283"/>
      </dsp:txXfrm>
    </dsp:sp>
    <dsp:sp modelId="{6D1E4E36-16AE-440F-BDE6-BD7C91847B65}">
      <dsp:nvSpPr>
        <dsp:cNvPr id="0" name=""/>
        <dsp:cNvSpPr/>
      </dsp:nvSpPr>
      <dsp:spPr>
        <a:xfrm>
          <a:off x="1449186" y="-54631"/>
          <a:ext cx="911756" cy="804572"/>
        </a:xfrm>
        <a:prstGeom prst="ellipse">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nb-NO" sz="1000" kern="1200" dirty="0">
              <a:solidFill>
                <a:schemeClr val="tx1"/>
              </a:solidFill>
            </a:rPr>
            <a:t>Data grensesnitt</a:t>
          </a:r>
        </a:p>
      </dsp:txBody>
      <dsp:txXfrm>
        <a:off x="1582710" y="63196"/>
        <a:ext cx="644708" cy="568918"/>
      </dsp:txXfrm>
    </dsp:sp>
    <dsp:sp modelId="{04B5402A-2186-4CB8-B5EA-E809259C420A}">
      <dsp:nvSpPr>
        <dsp:cNvPr id="0" name=""/>
        <dsp:cNvSpPr/>
      </dsp:nvSpPr>
      <dsp:spPr>
        <a:xfrm rot="18854203">
          <a:off x="2016036" y="1125654"/>
          <a:ext cx="695546" cy="31567"/>
        </a:xfrm>
        <a:custGeom>
          <a:avLst/>
          <a:gdLst/>
          <a:ahLst/>
          <a:cxnLst/>
          <a:rect l="0" t="0" r="0" b="0"/>
          <a:pathLst>
            <a:path>
              <a:moveTo>
                <a:pt x="0" y="15783"/>
              </a:moveTo>
              <a:lnTo>
                <a:pt x="695546" y="157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nb-NO" sz="500" kern="1200"/>
        </a:p>
      </dsp:txBody>
      <dsp:txXfrm>
        <a:off x="2346421" y="1124049"/>
        <a:ext cx="34777" cy="34777"/>
      </dsp:txXfrm>
    </dsp:sp>
    <dsp:sp modelId="{49ADC733-15A1-4890-A087-3C49A7333DED}">
      <dsp:nvSpPr>
        <dsp:cNvPr id="0" name=""/>
        <dsp:cNvSpPr/>
      </dsp:nvSpPr>
      <dsp:spPr>
        <a:xfrm>
          <a:off x="2391708" y="166541"/>
          <a:ext cx="1059309" cy="804572"/>
        </a:xfrm>
        <a:prstGeom prst="ellipse">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nb-NO" sz="1000" kern="1200" dirty="0">
              <a:solidFill>
                <a:schemeClr val="tx1"/>
              </a:solidFill>
            </a:rPr>
            <a:t>Datakvalitet</a:t>
          </a:r>
        </a:p>
      </dsp:txBody>
      <dsp:txXfrm>
        <a:off x="2546840" y="284368"/>
        <a:ext cx="749045" cy="568918"/>
      </dsp:txXfrm>
    </dsp:sp>
    <dsp:sp modelId="{B6BA3FD5-6E1C-42FF-AE65-C633F535E5AB}">
      <dsp:nvSpPr>
        <dsp:cNvPr id="0" name=""/>
        <dsp:cNvSpPr/>
      </dsp:nvSpPr>
      <dsp:spPr>
        <a:xfrm rot="20955576">
          <a:off x="2213785" y="1521101"/>
          <a:ext cx="338542" cy="31567"/>
        </a:xfrm>
        <a:custGeom>
          <a:avLst/>
          <a:gdLst/>
          <a:ahLst/>
          <a:cxnLst/>
          <a:rect l="0" t="0" r="0" b="0"/>
          <a:pathLst>
            <a:path>
              <a:moveTo>
                <a:pt x="0" y="15783"/>
              </a:moveTo>
              <a:lnTo>
                <a:pt x="338542" y="157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nb-NO" sz="500" kern="1200"/>
        </a:p>
      </dsp:txBody>
      <dsp:txXfrm>
        <a:off x="2374593" y="1528422"/>
        <a:ext cx="16927" cy="16927"/>
      </dsp:txXfrm>
    </dsp:sp>
    <dsp:sp modelId="{CEBFAA13-136E-4B51-954F-234D7B607EEA}">
      <dsp:nvSpPr>
        <dsp:cNvPr id="0" name=""/>
        <dsp:cNvSpPr/>
      </dsp:nvSpPr>
      <dsp:spPr>
        <a:xfrm>
          <a:off x="2530783" y="1000311"/>
          <a:ext cx="1120469" cy="804572"/>
        </a:xfrm>
        <a:prstGeom prst="ellipse">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nb-NO" sz="1000" kern="1200" dirty="0">
              <a:solidFill>
                <a:schemeClr val="tx1"/>
              </a:solidFill>
            </a:rPr>
            <a:t>Personvern og behandlinger</a:t>
          </a:r>
        </a:p>
      </dsp:txBody>
      <dsp:txXfrm>
        <a:off x="2694872" y="1118138"/>
        <a:ext cx="792291" cy="568918"/>
      </dsp:txXfrm>
    </dsp:sp>
    <dsp:sp modelId="{C9B69196-58C7-4005-99A1-7CE91C45C83F}">
      <dsp:nvSpPr>
        <dsp:cNvPr id="0" name=""/>
        <dsp:cNvSpPr/>
      </dsp:nvSpPr>
      <dsp:spPr>
        <a:xfrm rot="1858613">
          <a:off x="2139876" y="1913787"/>
          <a:ext cx="489497" cy="31567"/>
        </a:xfrm>
        <a:custGeom>
          <a:avLst/>
          <a:gdLst/>
          <a:ahLst/>
          <a:cxnLst/>
          <a:rect l="0" t="0" r="0" b="0"/>
          <a:pathLst>
            <a:path>
              <a:moveTo>
                <a:pt x="0" y="15783"/>
              </a:moveTo>
              <a:lnTo>
                <a:pt x="489497" y="157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nb-NO" sz="500" kern="1200"/>
        </a:p>
      </dsp:txBody>
      <dsp:txXfrm>
        <a:off x="2372387" y="1917334"/>
        <a:ext cx="24474" cy="24474"/>
      </dsp:txXfrm>
    </dsp:sp>
    <dsp:sp modelId="{F91F713E-5365-40E6-91A9-A4A27ED2FC2D}">
      <dsp:nvSpPr>
        <dsp:cNvPr id="0" name=""/>
        <dsp:cNvSpPr/>
      </dsp:nvSpPr>
      <dsp:spPr>
        <a:xfrm>
          <a:off x="2537090" y="1860309"/>
          <a:ext cx="804572" cy="804572"/>
        </a:xfrm>
        <a:prstGeom prst="ellipse">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nb-NO" sz="1000" kern="1200">
              <a:solidFill>
                <a:schemeClr val="tx1"/>
              </a:solidFill>
            </a:rPr>
            <a:t>Prosess og regler</a:t>
          </a:r>
        </a:p>
      </dsp:txBody>
      <dsp:txXfrm>
        <a:off x="2654917" y="1978136"/>
        <a:ext cx="568918" cy="568918"/>
      </dsp:txXfrm>
    </dsp:sp>
    <dsp:sp modelId="{13CFDE3D-942A-463A-9A37-75EAA192281F}">
      <dsp:nvSpPr>
        <dsp:cNvPr id="0" name=""/>
        <dsp:cNvSpPr/>
      </dsp:nvSpPr>
      <dsp:spPr>
        <a:xfrm rot="4076612">
          <a:off x="1841587" y="2180678"/>
          <a:ext cx="549436" cy="31567"/>
        </a:xfrm>
        <a:custGeom>
          <a:avLst/>
          <a:gdLst/>
          <a:ahLst/>
          <a:cxnLst/>
          <a:rect l="0" t="0" r="0" b="0"/>
          <a:pathLst>
            <a:path>
              <a:moveTo>
                <a:pt x="0" y="15783"/>
              </a:moveTo>
              <a:lnTo>
                <a:pt x="549436" y="157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nb-NO" sz="500" kern="1200"/>
        </a:p>
      </dsp:txBody>
      <dsp:txXfrm>
        <a:off x="2102569" y="2182726"/>
        <a:ext cx="27471" cy="27471"/>
      </dsp:txXfrm>
    </dsp:sp>
    <dsp:sp modelId="{6C78742E-FA38-4711-B646-E64219F79A4C}">
      <dsp:nvSpPr>
        <dsp:cNvPr id="0" name=""/>
        <dsp:cNvSpPr/>
      </dsp:nvSpPr>
      <dsp:spPr>
        <a:xfrm>
          <a:off x="1968248" y="2421633"/>
          <a:ext cx="804572" cy="804572"/>
        </a:xfrm>
        <a:prstGeom prst="ellipse">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nb-NO" sz="1000" kern="1200" dirty="0">
              <a:solidFill>
                <a:schemeClr val="tx1"/>
              </a:solidFill>
            </a:rPr>
            <a:t>Juridisk inkludert formål og hjemler</a:t>
          </a:r>
        </a:p>
      </dsp:txBody>
      <dsp:txXfrm>
        <a:off x="2086075" y="2539460"/>
        <a:ext cx="568918" cy="568918"/>
      </dsp:txXfrm>
    </dsp:sp>
    <dsp:sp modelId="{71A98362-E01A-4AB5-BBB0-90BE85841C38}">
      <dsp:nvSpPr>
        <dsp:cNvPr id="0" name=""/>
        <dsp:cNvSpPr/>
      </dsp:nvSpPr>
      <dsp:spPr>
        <a:xfrm rot="6856343">
          <a:off x="1358632" y="2173331"/>
          <a:ext cx="553683" cy="31567"/>
        </a:xfrm>
        <a:custGeom>
          <a:avLst/>
          <a:gdLst/>
          <a:ahLst/>
          <a:cxnLst/>
          <a:rect l="0" t="0" r="0" b="0"/>
          <a:pathLst>
            <a:path>
              <a:moveTo>
                <a:pt x="0" y="15783"/>
              </a:moveTo>
              <a:lnTo>
                <a:pt x="553683" y="157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nb-NO" sz="500" kern="1200"/>
        </a:p>
      </dsp:txBody>
      <dsp:txXfrm rot="10800000">
        <a:off x="1621632" y="2175273"/>
        <a:ext cx="27684" cy="27684"/>
      </dsp:txXfrm>
    </dsp:sp>
    <dsp:sp modelId="{5E75A430-EA17-406E-AA9D-3AA2AC939715}">
      <dsp:nvSpPr>
        <dsp:cNvPr id="0" name=""/>
        <dsp:cNvSpPr/>
      </dsp:nvSpPr>
      <dsp:spPr>
        <a:xfrm>
          <a:off x="793370" y="2421633"/>
          <a:ext cx="1111693" cy="804572"/>
        </a:xfrm>
        <a:prstGeom prst="ellipse">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nb-NO" sz="1000" kern="1200" dirty="0">
              <a:solidFill>
                <a:schemeClr val="tx1"/>
              </a:solidFill>
            </a:rPr>
            <a:t>Informasjons-sikkerhet</a:t>
          </a:r>
        </a:p>
      </dsp:txBody>
      <dsp:txXfrm>
        <a:off x="956174" y="2539460"/>
        <a:ext cx="786085" cy="568918"/>
      </dsp:txXfrm>
    </dsp:sp>
    <dsp:sp modelId="{47CDCD78-2A3B-4B9B-AC00-78329CDDE4D3}">
      <dsp:nvSpPr>
        <dsp:cNvPr id="0" name=""/>
        <dsp:cNvSpPr/>
      </dsp:nvSpPr>
      <dsp:spPr>
        <a:xfrm rot="9084565">
          <a:off x="1045929" y="1914995"/>
          <a:ext cx="582190" cy="31567"/>
        </a:xfrm>
        <a:custGeom>
          <a:avLst/>
          <a:gdLst/>
          <a:ahLst/>
          <a:cxnLst/>
          <a:rect l="0" t="0" r="0" b="0"/>
          <a:pathLst>
            <a:path>
              <a:moveTo>
                <a:pt x="0" y="15783"/>
              </a:moveTo>
              <a:lnTo>
                <a:pt x="582190" y="157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nb-NO" sz="500" kern="1200"/>
        </a:p>
      </dsp:txBody>
      <dsp:txXfrm rot="10800000">
        <a:off x="1322470" y="1916224"/>
        <a:ext cx="29109" cy="29109"/>
      </dsp:txXfrm>
    </dsp:sp>
    <dsp:sp modelId="{091A4F28-DCDC-4543-840B-B004BF0A2D4D}">
      <dsp:nvSpPr>
        <dsp:cNvPr id="0" name=""/>
        <dsp:cNvSpPr/>
      </dsp:nvSpPr>
      <dsp:spPr>
        <a:xfrm>
          <a:off x="325907" y="1860309"/>
          <a:ext cx="804572" cy="804572"/>
        </a:xfrm>
        <a:prstGeom prst="ellipse">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nb-NO" sz="1000" kern="1200">
              <a:solidFill>
                <a:schemeClr val="tx1"/>
              </a:solidFill>
            </a:rPr>
            <a:t>Lagring, sletting, arkivering</a:t>
          </a:r>
        </a:p>
      </dsp:txBody>
      <dsp:txXfrm>
        <a:off x="443734" y="1978136"/>
        <a:ext cx="568918" cy="568918"/>
      </dsp:txXfrm>
    </dsp:sp>
    <dsp:sp modelId="{67810783-089B-4685-B688-28BC8A67FD6F}">
      <dsp:nvSpPr>
        <dsp:cNvPr id="0" name=""/>
        <dsp:cNvSpPr/>
      </dsp:nvSpPr>
      <dsp:spPr>
        <a:xfrm rot="11393002">
          <a:off x="968471" y="1506723"/>
          <a:ext cx="592624" cy="31567"/>
        </a:xfrm>
        <a:custGeom>
          <a:avLst/>
          <a:gdLst/>
          <a:ahLst/>
          <a:cxnLst/>
          <a:rect l="0" t="0" r="0" b="0"/>
          <a:pathLst>
            <a:path>
              <a:moveTo>
                <a:pt x="0" y="15783"/>
              </a:moveTo>
              <a:lnTo>
                <a:pt x="592624" y="157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nb-NO" sz="500" kern="1200"/>
        </a:p>
      </dsp:txBody>
      <dsp:txXfrm rot="10800000">
        <a:off x="1249967" y="1507692"/>
        <a:ext cx="29631" cy="29631"/>
      </dsp:txXfrm>
    </dsp:sp>
    <dsp:sp modelId="{BA0C8DCA-DEF2-4A5D-BB77-DE161C039935}">
      <dsp:nvSpPr>
        <dsp:cNvPr id="0" name=""/>
        <dsp:cNvSpPr/>
      </dsp:nvSpPr>
      <dsp:spPr>
        <a:xfrm>
          <a:off x="174266" y="1000311"/>
          <a:ext cx="804572" cy="804572"/>
        </a:xfrm>
        <a:prstGeom prst="ellipse">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nb-NO" sz="1000" kern="1200">
              <a:solidFill>
                <a:schemeClr val="tx1"/>
              </a:solidFill>
            </a:rPr>
            <a:t>Begreper</a:t>
          </a:r>
        </a:p>
      </dsp:txBody>
      <dsp:txXfrm>
        <a:off x="292093" y="1118138"/>
        <a:ext cx="568918" cy="568918"/>
      </dsp:txXfrm>
    </dsp:sp>
    <dsp:sp modelId="{C92D0441-872B-4A1C-93BA-128B36261CEF}">
      <dsp:nvSpPr>
        <dsp:cNvPr id="0" name=""/>
        <dsp:cNvSpPr/>
      </dsp:nvSpPr>
      <dsp:spPr>
        <a:xfrm rot="13704381">
          <a:off x="1227946" y="1168068"/>
          <a:ext cx="524734" cy="31567"/>
        </a:xfrm>
        <a:custGeom>
          <a:avLst/>
          <a:gdLst/>
          <a:ahLst/>
          <a:cxnLst/>
          <a:rect l="0" t="0" r="0" b="0"/>
          <a:pathLst>
            <a:path>
              <a:moveTo>
                <a:pt x="0" y="15783"/>
              </a:moveTo>
              <a:lnTo>
                <a:pt x="524734" y="1578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nb-NO" sz="500" kern="1200"/>
        </a:p>
      </dsp:txBody>
      <dsp:txXfrm rot="10800000">
        <a:off x="1477195" y="1170733"/>
        <a:ext cx="26236" cy="26236"/>
      </dsp:txXfrm>
    </dsp:sp>
    <dsp:sp modelId="{48BA1B34-88EB-4DD9-948C-54600E3116E8}">
      <dsp:nvSpPr>
        <dsp:cNvPr id="0" name=""/>
        <dsp:cNvSpPr/>
      </dsp:nvSpPr>
      <dsp:spPr>
        <a:xfrm>
          <a:off x="440840" y="244042"/>
          <a:ext cx="1144689" cy="804572"/>
        </a:xfrm>
        <a:prstGeom prst="ellipse">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nb-NO" sz="1000" kern="1200" dirty="0">
              <a:solidFill>
                <a:schemeClr val="tx1"/>
              </a:solidFill>
            </a:rPr>
            <a:t>Informasjons-modell</a:t>
          </a:r>
        </a:p>
      </dsp:txBody>
      <dsp:txXfrm>
        <a:off x="608476" y="361869"/>
        <a:ext cx="809417" cy="56891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Plassholder for dato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CA5EDE3-ABDA-4E85-BE0F-6861461DE2DD}" type="datetimeFigureOut">
              <a:rPr lang="en-US" smtClean="0"/>
              <a:t>10/19/2022</a:t>
            </a:fld>
            <a:endParaRPr lang="en-US"/>
          </a:p>
        </p:txBody>
      </p:sp>
      <p:sp>
        <p:nvSpPr>
          <p:cNvPr id="4" name="Plassholder for bunn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Plassholder for lysbilde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AF3A3A4-92B8-456C-8F1D-F4B8E5B54AC6}" type="slidenum">
              <a:rPr lang="en-US" smtClean="0"/>
              <a:t>‹#›</a:t>
            </a:fld>
            <a:endParaRPr lang="en-US"/>
          </a:p>
        </p:txBody>
      </p:sp>
    </p:spTree>
    <p:extLst>
      <p:ext uri="{BB962C8B-B14F-4D97-AF65-F5344CB8AC3E}">
        <p14:creationId xmlns:p14="http://schemas.microsoft.com/office/powerpoint/2010/main" val="28897358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C15158A-F1B8-4E91-813C-52DE59526D9A}" type="datetimeFigureOut">
              <a:rPr lang="nb-NO" smtClean="0"/>
              <a:t>19.10.2022</a:t>
            </a:fld>
            <a:endParaRPr lang="nb-NO"/>
          </a:p>
        </p:txBody>
      </p:sp>
      <p:sp>
        <p:nvSpPr>
          <p:cNvPr id="4" name="Plassholder for lysbilde 3"/>
          <p:cNvSpPr>
            <a:spLocks noGrp="1" noRot="1" noChangeAspect="1"/>
          </p:cNvSpPr>
          <p:nvPr>
            <p:ph type="sldImg" idx="2"/>
          </p:nvPr>
        </p:nvSpPr>
        <p:spPr>
          <a:xfrm>
            <a:off x="666750" y="1143000"/>
            <a:ext cx="55245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32A0872-C380-4561-BB86-44E3F0E0336C}" type="slidenum">
              <a:rPr lang="nb-NO" smtClean="0"/>
              <a:t>‹#›</a:t>
            </a:fld>
            <a:endParaRPr lang="nb-NO"/>
          </a:p>
        </p:txBody>
      </p:sp>
    </p:spTree>
    <p:extLst>
      <p:ext uri="{BB962C8B-B14F-4D97-AF65-F5344CB8AC3E}">
        <p14:creationId xmlns:p14="http://schemas.microsoft.com/office/powerpoint/2010/main" val="2133615649"/>
      </p:ext>
    </p:extLst>
  </p:cSld>
  <p:clrMap bg1="lt1" tx1="dk1" bg2="lt2" tx2="dk2" accent1="accent1" accent2="accent2" accent3="accent3" accent4="accent4" accent5="accent5" accent6="accent6" hlink="hlink" folHlink="folHlink"/>
  <p:notesStyle>
    <a:lvl1pPr marL="0" algn="l" defTabSz="683951" rtl="0" eaLnBrk="1" latinLnBrk="0" hangingPunct="1">
      <a:defRPr sz="900" kern="1200">
        <a:solidFill>
          <a:schemeClr val="tx1"/>
        </a:solidFill>
        <a:latin typeface="+mn-lt"/>
        <a:ea typeface="+mn-ea"/>
        <a:cs typeface="+mn-cs"/>
      </a:defRPr>
    </a:lvl1pPr>
    <a:lvl2pPr marL="341975" algn="l" defTabSz="683951" rtl="0" eaLnBrk="1" latinLnBrk="0" hangingPunct="1">
      <a:defRPr sz="900" kern="1200">
        <a:solidFill>
          <a:schemeClr val="tx1"/>
        </a:solidFill>
        <a:latin typeface="+mn-lt"/>
        <a:ea typeface="+mn-ea"/>
        <a:cs typeface="+mn-cs"/>
      </a:defRPr>
    </a:lvl2pPr>
    <a:lvl3pPr marL="683951" algn="l" defTabSz="683951" rtl="0" eaLnBrk="1" latinLnBrk="0" hangingPunct="1">
      <a:defRPr sz="900" kern="1200">
        <a:solidFill>
          <a:schemeClr val="tx1"/>
        </a:solidFill>
        <a:latin typeface="+mn-lt"/>
        <a:ea typeface="+mn-ea"/>
        <a:cs typeface="+mn-cs"/>
      </a:defRPr>
    </a:lvl3pPr>
    <a:lvl4pPr marL="1025927" algn="l" defTabSz="683951" rtl="0" eaLnBrk="1" latinLnBrk="0" hangingPunct="1">
      <a:defRPr sz="900" kern="1200">
        <a:solidFill>
          <a:schemeClr val="tx1"/>
        </a:solidFill>
        <a:latin typeface="+mn-lt"/>
        <a:ea typeface="+mn-ea"/>
        <a:cs typeface="+mn-cs"/>
      </a:defRPr>
    </a:lvl4pPr>
    <a:lvl5pPr marL="1367903" algn="l" defTabSz="683951" rtl="0" eaLnBrk="1" latinLnBrk="0" hangingPunct="1">
      <a:defRPr sz="900" kern="1200">
        <a:solidFill>
          <a:schemeClr val="tx1"/>
        </a:solidFill>
        <a:latin typeface="+mn-lt"/>
        <a:ea typeface="+mn-ea"/>
        <a:cs typeface="+mn-cs"/>
      </a:defRPr>
    </a:lvl5pPr>
    <a:lvl6pPr marL="1709878" algn="l" defTabSz="683951" rtl="0" eaLnBrk="1" latinLnBrk="0" hangingPunct="1">
      <a:defRPr sz="900" kern="1200">
        <a:solidFill>
          <a:schemeClr val="tx1"/>
        </a:solidFill>
        <a:latin typeface="+mn-lt"/>
        <a:ea typeface="+mn-ea"/>
        <a:cs typeface="+mn-cs"/>
      </a:defRPr>
    </a:lvl6pPr>
    <a:lvl7pPr marL="2051855" algn="l" defTabSz="683951" rtl="0" eaLnBrk="1" latinLnBrk="0" hangingPunct="1">
      <a:defRPr sz="900" kern="1200">
        <a:solidFill>
          <a:schemeClr val="tx1"/>
        </a:solidFill>
        <a:latin typeface="+mn-lt"/>
        <a:ea typeface="+mn-ea"/>
        <a:cs typeface="+mn-cs"/>
      </a:defRPr>
    </a:lvl7pPr>
    <a:lvl8pPr marL="2393831" algn="l" defTabSz="683951" rtl="0" eaLnBrk="1" latinLnBrk="0" hangingPunct="1">
      <a:defRPr sz="900" kern="1200">
        <a:solidFill>
          <a:schemeClr val="tx1"/>
        </a:solidFill>
        <a:latin typeface="+mn-lt"/>
        <a:ea typeface="+mn-ea"/>
        <a:cs typeface="+mn-cs"/>
      </a:defRPr>
    </a:lvl8pPr>
    <a:lvl9pPr marL="2735806" algn="l" defTabSz="683951"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lang="nb-NO" dirty="0"/>
              <a:t>Hvorfor er Skatteetaten til?</a:t>
            </a:r>
          </a:p>
          <a:p>
            <a:pPr marL="0" marR="0" lvl="0" indent="0" algn="l" defTabSz="683951" rtl="0" eaLnBrk="1" fontAlgn="auto" latinLnBrk="0" hangingPunct="1">
              <a:lnSpc>
                <a:spcPct val="100000"/>
              </a:lnSpc>
              <a:spcBef>
                <a:spcPts val="0"/>
              </a:spcBef>
              <a:spcAft>
                <a:spcPts val="0"/>
              </a:spcAft>
              <a:buClrTx/>
              <a:buSzTx/>
              <a:buFontTx/>
              <a:buNone/>
              <a:tabLst/>
              <a:defRPr/>
            </a:pPr>
            <a:endParaRPr lang="nb-NO" sz="900" kern="1200" dirty="0">
              <a:solidFill>
                <a:schemeClr val="tx1"/>
              </a:solidFill>
              <a:effectLst/>
              <a:latin typeface="+mn-lt"/>
              <a:ea typeface="+mn-ea"/>
              <a:cs typeface="+mn-cs"/>
            </a:endParaRPr>
          </a:p>
          <a:p>
            <a:pPr marL="0" marR="0" lvl="0" indent="0" algn="l" defTabSz="683951" rtl="0" eaLnBrk="1" fontAlgn="auto" latinLnBrk="0" hangingPunct="1">
              <a:lnSpc>
                <a:spcPct val="100000"/>
              </a:lnSpc>
              <a:spcBef>
                <a:spcPts val="0"/>
              </a:spcBef>
              <a:spcAft>
                <a:spcPts val="0"/>
              </a:spcAft>
              <a:buClrTx/>
              <a:buSzTx/>
              <a:buFontTx/>
              <a:buNone/>
              <a:tabLst/>
              <a:defRPr/>
            </a:pPr>
            <a:r>
              <a:rPr lang="nb-NO" sz="900" kern="1200" dirty="0">
                <a:solidFill>
                  <a:schemeClr val="tx1"/>
                </a:solidFill>
                <a:effectLst/>
                <a:latin typeface="+mn-lt"/>
                <a:ea typeface="+mn-ea"/>
                <a:cs typeface="+mn-cs"/>
              </a:rPr>
              <a:t>Vi er fundamentet for samfunnet vårt. Selv små endringer her gir store effekter for samfunnet.</a:t>
            </a:r>
          </a:p>
          <a:p>
            <a:r>
              <a:rPr lang="nb-NO" dirty="0"/>
              <a:t>Vi har løst dette veldig bra, men utviklingen rundt oss akselererer</a:t>
            </a:r>
            <a:r>
              <a:rPr lang="nb-NO" baseline="0" dirty="0"/>
              <a:t> i ulike retninger og det går fortere enn før!</a:t>
            </a:r>
            <a:endParaRPr lang="nb-NO" dirty="0"/>
          </a:p>
          <a:p>
            <a:endParaRPr lang="nb-NO" dirty="0"/>
          </a:p>
          <a:p>
            <a:r>
              <a:rPr lang="nb-NO" dirty="0"/>
              <a:t>Vi står foran krevende utfordringer og store endringer, men det har Skatteetaten gjort før. Da har vi,</a:t>
            </a:r>
            <a:r>
              <a:rPr lang="nb-NO" baseline="0" dirty="0"/>
              <a:t> som nå, funnet gode løsninger. Jeg er trygg på at den strategien og de planene vi skal diskutere de neste dagene og ukene gir oss den retningen vi trenger for å sikre finansieringen av velferdsstaten også i fremtiden!</a:t>
            </a:r>
            <a:endParaRPr lang="nb-NO"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3073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9</a:t>
            </a:fld>
            <a:endParaRPr lang="nb-NO"/>
          </a:p>
        </p:txBody>
      </p:sp>
    </p:spTree>
    <p:extLst>
      <p:ext uri="{BB962C8B-B14F-4D97-AF65-F5344CB8AC3E}">
        <p14:creationId xmlns:p14="http://schemas.microsoft.com/office/powerpoint/2010/main" val="596681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dirty="0"/>
              <a:t>Challenges</a:t>
            </a:r>
          </a:p>
          <a:p>
            <a:r>
              <a:rPr lang="en-GB" dirty="0"/>
              <a:t>- Tax avoidance Double Irish</a:t>
            </a:r>
            <a:r>
              <a:rPr lang="en-GB" baseline="0" dirty="0"/>
              <a:t> with a Dutch Sandwich</a:t>
            </a:r>
          </a:p>
          <a:p>
            <a:r>
              <a:rPr lang="en-GB" baseline="0" dirty="0"/>
              <a:t>- Fraud with consumption and origin taxes</a:t>
            </a:r>
          </a:p>
          <a:p>
            <a:r>
              <a:rPr lang="en-GB" baseline="0" dirty="0"/>
              <a:t>- Sharing company protecting data</a:t>
            </a:r>
          </a:p>
          <a:p>
            <a:r>
              <a:rPr lang="en-GB" baseline="0" dirty="0"/>
              <a:t>Possibilities</a:t>
            </a:r>
          </a:p>
          <a:p>
            <a:r>
              <a:rPr lang="en-GB" dirty="0"/>
              <a:t>- </a:t>
            </a:r>
            <a:r>
              <a:rPr lang="en-GB" dirty="0" err="1"/>
              <a:t>Exhange</a:t>
            </a:r>
            <a:r>
              <a:rPr lang="en-GB" dirty="0"/>
              <a:t> data with third parties</a:t>
            </a:r>
          </a:p>
          <a:p>
            <a:r>
              <a:rPr lang="en-GB" dirty="0"/>
              <a:t>- Near</a:t>
            </a:r>
            <a:r>
              <a:rPr lang="en-GB" baseline="0" dirty="0"/>
              <a:t> real-time communication</a:t>
            </a:r>
          </a:p>
          <a:p>
            <a:pPr marL="0" indent="0">
              <a:buFontTx/>
              <a:buNone/>
            </a:pPr>
            <a:r>
              <a:rPr lang="en-GB" dirty="0"/>
              <a:t>- Analyse</a:t>
            </a:r>
            <a:r>
              <a:rPr lang="en-GB" baseline="0" dirty="0"/>
              <a:t> data for patterns and knowledge</a:t>
            </a:r>
          </a:p>
          <a:p>
            <a:pPr marL="0" indent="0">
              <a:buFontTx/>
              <a:buNone/>
            </a:pPr>
            <a:endParaRPr lang="en-GB" baseline="0"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0889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KE klarer oss ganske</a:t>
            </a:r>
            <a:r>
              <a:rPr lang="nb-NO" baseline="0" dirty="0"/>
              <a:t> godt – er kjent for at vi klarer å levere sånn passe innenfor rammene og oppnå det vi skal. </a:t>
            </a:r>
          </a:p>
          <a:p>
            <a:endParaRPr lang="nb-NO" baseline="0" dirty="0"/>
          </a:p>
          <a:p>
            <a:r>
              <a:rPr lang="nb-NO" baseline="0" dirty="0"/>
              <a:t>Suksessfaktorer er bla:</a:t>
            </a:r>
          </a:p>
          <a:p>
            <a:pPr marL="0" marR="0" lvl="0" indent="0" algn="l" defTabSz="683951" rtl="0" eaLnBrk="1" fontAlgn="auto" latinLnBrk="0" hangingPunct="1">
              <a:lnSpc>
                <a:spcPct val="100000"/>
              </a:lnSpc>
              <a:spcBef>
                <a:spcPts val="0"/>
              </a:spcBef>
              <a:spcAft>
                <a:spcPts val="0"/>
              </a:spcAft>
              <a:buClrTx/>
              <a:buSzTx/>
              <a:buFontTx/>
              <a:buNone/>
              <a:tabLst/>
              <a:defRPr/>
            </a:pPr>
            <a:r>
              <a:rPr lang="nb-NO" baseline="0" dirty="0"/>
              <a:t>-  Vi tar selv styringen på våre utviklingstiltak</a:t>
            </a:r>
          </a:p>
          <a:p>
            <a:r>
              <a:rPr lang="nb-NO" baseline="0" dirty="0"/>
              <a:t>-  At vi setter sammen team og prosjekter som jobber sammen som består av kombinasjon av egne ansatte (IT og forretning) og eksterne konsulenter. Vi bestemmer sammensetning.</a:t>
            </a:r>
          </a:p>
          <a:p>
            <a:pPr marL="0" indent="0">
              <a:buFontTx/>
              <a:buNone/>
            </a:pPr>
            <a:r>
              <a:rPr lang="nb-NO" baseline="0" dirty="0"/>
              <a:t>-  I 2014 - Smidig og </a:t>
            </a:r>
            <a:r>
              <a:rPr lang="nb-NO" baseline="0" dirty="0" err="1"/>
              <a:t>itterativ</a:t>
            </a:r>
            <a:r>
              <a:rPr lang="nb-NO" baseline="0" dirty="0"/>
              <a:t> arbeidsform var bransjestandard – vi jobbet ikke særlig smidig hos oss…trengte en brekkstang for å få dette etablert.</a:t>
            </a:r>
          </a:p>
          <a:p>
            <a:pPr marL="171450" indent="-171450">
              <a:buFontTx/>
              <a:buChar char="-"/>
            </a:pPr>
            <a:endParaRPr lang="nb-NO" dirty="0"/>
          </a:p>
          <a:p>
            <a:pPr marL="0" indent="0">
              <a:buFontTx/>
              <a:buNone/>
            </a:pP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23</a:t>
            </a:fld>
            <a:endParaRPr lang="nb-NO" dirty="0"/>
          </a:p>
        </p:txBody>
      </p:sp>
    </p:spTree>
    <p:extLst>
      <p:ext uri="{BB962C8B-B14F-4D97-AF65-F5344CB8AC3E}">
        <p14:creationId xmlns:p14="http://schemas.microsoft.com/office/powerpoint/2010/main" val="38293120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Tx/>
              <a:buChar char="-"/>
            </a:pPr>
            <a:r>
              <a:rPr lang="nb-NO" baseline="0" dirty="0"/>
              <a:t>Behov for en felles praksis – som vi jobber etter hos oss – vi ønsket ikke at alle konsulenter skulle komme med hver sin metode og måte å gjøre ting på.  </a:t>
            </a:r>
          </a:p>
          <a:p>
            <a:pPr marL="171450" indent="-171450">
              <a:buFontTx/>
              <a:buChar char="-"/>
            </a:pPr>
            <a:r>
              <a:rPr lang="nb-NO" baseline="0" dirty="0"/>
              <a:t>Så at det holt ikke bare med muntlig overleveringer – trengte en grad av dokumentasjon, </a:t>
            </a:r>
            <a:r>
              <a:rPr lang="nb-NO" baseline="0" dirty="0" err="1"/>
              <a:t>sermonier</a:t>
            </a:r>
            <a:r>
              <a:rPr lang="nb-NO" baseline="0" dirty="0"/>
              <a:t>, roller, ansvar og prosesser for å få til en god flyt. </a:t>
            </a:r>
          </a:p>
          <a:p>
            <a:pPr marL="0" indent="0">
              <a:buNone/>
            </a:pPr>
            <a:endParaRPr lang="nb-NO" dirty="0"/>
          </a:p>
          <a:p>
            <a:pPr marL="0" marR="0" lvl="0" indent="0" algn="l" defTabSz="683951" rtl="0" eaLnBrk="1" fontAlgn="auto" latinLnBrk="0" hangingPunct="1">
              <a:lnSpc>
                <a:spcPct val="100000"/>
              </a:lnSpc>
              <a:spcBef>
                <a:spcPts val="0"/>
              </a:spcBef>
              <a:spcAft>
                <a:spcPts val="0"/>
              </a:spcAft>
              <a:buClrTx/>
              <a:buSzTx/>
              <a:buFontTx/>
              <a:buNone/>
              <a:tabLst/>
              <a:defRPr/>
            </a:pPr>
            <a:r>
              <a:rPr lang="nb-NO" baseline="0" dirty="0"/>
              <a:t>Ut fra blant annet dette kom FSUM – etablert i 2014. </a:t>
            </a:r>
            <a:endParaRPr lang="nb-NO" dirty="0"/>
          </a:p>
          <a:p>
            <a:pPr marL="0" indent="0">
              <a:buNone/>
            </a:pPr>
            <a:endParaRPr lang="nb-NO" dirty="0"/>
          </a:p>
          <a:p>
            <a:pPr marL="0" indent="0">
              <a:buNone/>
            </a:pPr>
            <a:r>
              <a:rPr lang="nb-NO" dirty="0"/>
              <a:t>For at utviklingen</a:t>
            </a:r>
            <a:r>
              <a:rPr lang="nb-NO" baseline="0" dirty="0"/>
              <a:t> skal få god fart og møte færrest mulig hindre ønsker vi å være litt i forkant. I tillegg til at vi ønsker å være passe sikre på at vi løser de "riktige" behovene, ønsker vi å ha et helhetlig blikk på løsningskonsepter, og disse må forholde seg til rammeverk og andre interne og eksterne krav.</a:t>
            </a:r>
            <a:endParaRPr lang="nb-NO"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0658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1" dirty="0"/>
          </a:p>
          <a:p>
            <a:endParaRPr lang="nb-NO" b="1" dirty="0"/>
          </a:p>
          <a:p>
            <a:r>
              <a:rPr lang="nb-NO" b="1" dirty="0"/>
              <a:t>Felles ressurs </a:t>
            </a:r>
          </a:p>
          <a:p>
            <a:pPr marL="0" marR="0" lvl="0" indent="0" algn="l" defTabSz="683951" rtl="0" eaLnBrk="1" fontAlgn="auto" latinLnBrk="0" hangingPunct="1">
              <a:lnSpc>
                <a:spcPct val="100000"/>
              </a:lnSpc>
              <a:spcBef>
                <a:spcPts val="0"/>
              </a:spcBef>
              <a:spcAft>
                <a:spcPts val="0"/>
              </a:spcAft>
              <a:buClrTx/>
              <a:buSzTx/>
              <a:buFontTx/>
              <a:buNone/>
              <a:tabLst/>
              <a:defRPr/>
            </a:pPr>
            <a:r>
              <a:rPr lang="nb-NO" baseline="0" dirty="0"/>
              <a:t>Skatteetaten forvalter informasjon som er relevant i alle de </a:t>
            </a:r>
            <a:r>
              <a:rPr lang="nb-NO" b="1" baseline="0" dirty="0"/>
              <a:t>7 livshendelsene</a:t>
            </a:r>
            <a:r>
              <a:rPr lang="nb-NO" baseline="0" dirty="0"/>
              <a:t> i digitaliseringsstrategien. </a:t>
            </a:r>
          </a:p>
          <a:p>
            <a:endParaRPr lang="nb-NO" b="0" dirty="0"/>
          </a:p>
          <a:p>
            <a:pPr marL="171450" indent="-171450">
              <a:buFontTx/>
              <a:buChar char="-"/>
            </a:pPr>
            <a:r>
              <a:rPr lang="nb-NO" b="0" dirty="0"/>
              <a:t>Informasjon</a:t>
            </a:r>
            <a:r>
              <a:rPr lang="nb-NO" b="0" baseline="0" dirty="0"/>
              <a:t> som </a:t>
            </a:r>
            <a:r>
              <a:rPr lang="nb-NO" b="1" baseline="0" dirty="0"/>
              <a:t>finnes i </a:t>
            </a:r>
            <a:r>
              <a:rPr lang="nb-NO" b="0" baseline="0" dirty="0"/>
              <a:t>virkeligheten – </a:t>
            </a:r>
            <a:r>
              <a:rPr lang="nb-NO" b="1" baseline="0" dirty="0"/>
              <a:t>digitalt </a:t>
            </a:r>
            <a:r>
              <a:rPr lang="nb-NO" b="0" baseline="0" dirty="0"/>
              <a:t>og av egeninteresse</a:t>
            </a:r>
          </a:p>
          <a:p>
            <a:pPr marL="171450" indent="-171450">
              <a:buFontTx/>
              <a:buChar char="-"/>
            </a:pPr>
            <a:r>
              <a:rPr lang="nb-NO" b="0" dirty="0"/>
              <a:t>Informasjon som </a:t>
            </a:r>
            <a:r>
              <a:rPr lang="nb-NO" b="1" dirty="0"/>
              <a:t>beskriver virkeligheten</a:t>
            </a:r>
          </a:p>
          <a:p>
            <a:pPr marL="171450" indent="-171450">
              <a:buFontTx/>
              <a:buChar char="-"/>
            </a:pPr>
            <a:r>
              <a:rPr lang="nb-NO" b="0" dirty="0"/>
              <a:t>Er oppdatert</a:t>
            </a:r>
            <a:r>
              <a:rPr lang="nb-NO" b="0" baseline="0" dirty="0"/>
              <a:t> og </a:t>
            </a:r>
            <a:r>
              <a:rPr lang="nb-NO" b="1" baseline="0" dirty="0"/>
              <a:t>tett på hendelse</a:t>
            </a:r>
            <a:endParaRPr lang="nb-NO" b="1" dirty="0"/>
          </a:p>
          <a:p>
            <a:pPr marL="0" indent="0">
              <a:buFontTx/>
              <a:buNone/>
            </a:pPr>
            <a:endParaRPr lang="nb-NO" b="1" dirty="0"/>
          </a:p>
          <a:p>
            <a:pPr marL="0" indent="0">
              <a:buFontTx/>
              <a:buNone/>
            </a:pPr>
            <a:r>
              <a:rPr lang="nb-NO" b="0" dirty="0"/>
              <a:t>Skal vi sette bruker i sentrum</a:t>
            </a:r>
            <a:r>
              <a:rPr lang="nb-NO" b="0" baseline="0" dirty="0"/>
              <a:t> må vi forholde oss til </a:t>
            </a:r>
            <a:r>
              <a:rPr lang="nb-NO" b="1" baseline="0" dirty="0"/>
              <a:t>informasjon brukeren har et forhold til</a:t>
            </a:r>
            <a:r>
              <a:rPr lang="nb-NO" b="0" baseline="0" dirty="0"/>
              <a:t>. </a:t>
            </a:r>
            <a:endParaRPr lang="nb-NO" b="0" dirty="0"/>
          </a:p>
          <a:p>
            <a:pPr marL="171450" indent="-171450">
              <a:buFontTx/>
              <a:buChar char="-"/>
            </a:pPr>
            <a:endParaRPr lang="nb-NO" b="1" dirty="0"/>
          </a:p>
          <a:p>
            <a:endParaRPr lang="nb-NO" b="1" dirty="0"/>
          </a:p>
          <a:p>
            <a:r>
              <a:rPr lang="nb-NO" b="1" dirty="0"/>
              <a:t>Nasjonal tilnærming</a:t>
            </a:r>
            <a:r>
              <a:rPr lang="nb-NO" b="1" baseline="0" dirty="0"/>
              <a:t> </a:t>
            </a:r>
            <a:r>
              <a:rPr lang="nb-NO" b="0" baseline="0" dirty="0"/>
              <a:t>– </a:t>
            </a:r>
            <a:r>
              <a:rPr lang="nb-NO" b="1" baseline="0" dirty="0"/>
              <a:t>hvilke opplysninger skal vi ha kilder på?</a:t>
            </a:r>
          </a:p>
          <a:p>
            <a:pPr marL="171450" indent="-171450">
              <a:buFontTx/>
              <a:buChar char="-"/>
            </a:pPr>
            <a:r>
              <a:rPr lang="nb-NO" b="0" baseline="0" dirty="0"/>
              <a:t>Svarer på </a:t>
            </a:r>
            <a:r>
              <a:rPr lang="nb-NO" b="0" baseline="0" dirty="0" err="1"/>
              <a:t>spm</a:t>
            </a:r>
            <a:r>
              <a:rPr lang="nb-NO" b="0" baseline="0" dirty="0"/>
              <a:t> om </a:t>
            </a:r>
            <a:r>
              <a:rPr lang="nb-NO" b="1" baseline="0" dirty="0"/>
              <a:t>hvilke forhold vi skal forvalte informasjon om</a:t>
            </a:r>
          </a:p>
          <a:p>
            <a:pPr marL="171450" indent="-171450">
              <a:buFontTx/>
              <a:buChar char="-"/>
            </a:pPr>
            <a:r>
              <a:rPr lang="nb-NO" b="1" baseline="0" dirty="0"/>
              <a:t>Tydelighet rundt </a:t>
            </a:r>
            <a:endParaRPr lang="nb-NO" b="1" dirty="0"/>
          </a:p>
          <a:p>
            <a:endParaRPr lang="nb-NO" b="1" dirty="0"/>
          </a:p>
          <a:p>
            <a:endParaRPr lang="nb-NO" b="1" dirty="0"/>
          </a:p>
          <a:p>
            <a:r>
              <a:rPr lang="nb-NO" b="1" dirty="0"/>
              <a:t>En bevissthet "lokalt"</a:t>
            </a:r>
            <a:r>
              <a:rPr lang="nb-NO" b="1" baseline="0" dirty="0"/>
              <a:t> – hos alle kildene</a:t>
            </a:r>
            <a:endParaRPr lang="nb-NO" b="1" dirty="0"/>
          </a:p>
          <a:p>
            <a:pPr marL="513425" lvl="1" indent="-171450">
              <a:buFont typeface="Arial" panose="020B0604020202020204" pitchFamily="34" charset="0"/>
              <a:buChar char="•"/>
            </a:pPr>
            <a:r>
              <a:rPr lang="nb-NO" b="0" dirty="0"/>
              <a:t>Informasjon</a:t>
            </a:r>
            <a:r>
              <a:rPr lang="nb-NO" b="0" baseline="0" dirty="0"/>
              <a:t> må være </a:t>
            </a:r>
            <a:r>
              <a:rPr lang="nb-NO" b="1" baseline="0" dirty="0"/>
              <a:t>godt dokumenter </a:t>
            </a:r>
            <a:r>
              <a:rPr lang="nb-NO" b="0" baseline="0" dirty="0"/>
              <a:t>– </a:t>
            </a:r>
            <a:r>
              <a:rPr lang="nb-NO" dirty="0"/>
              <a:t>Datakataloger, begrepskatalog</a:t>
            </a:r>
          </a:p>
          <a:p>
            <a:pPr marL="855401" lvl="2" indent="-171450">
              <a:buFont typeface="Arial" panose="020B0604020202020204" pitchFamily="34" charset="0"/>
              <a:buChar char="•"/>
            </a:pPr>
            <a:r>
              <a:rPr lang="nb-NO" b="0" dirty="0"/>
              <a:t>Inntekt</a:t>
            </a:r>
            <a:r>
              <a:rPr lang="nb-NO" b="0" baseline="0" dirty="0"/>
              <a:t> og samboer har ulike definisjoner i ulike lovverk</a:t>
            </a:r>
          </a:p>
          <a:p>
            <a:pPr marL="855401" marR="0" lvl="2" indent="-1714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tstillingsvindu</a:t>
            </a:r>
            <a:r>
              <a:rPr lang="nb-NO" baseline="0" dirty="0"/>
              <a:t> for o</a:t>
            </a:r>
            <a:r>
              <a:rPr lang="nb-NO" dirty="0"/>
              <a:t>ver </a:t>
            </a:r>
            <a:r>
              <a:rPr lang="nb-NO" b="1" dirty="0"/>
              <a:t>3500 begreper </a:t>
            </a:r>
            <a:r>
              <a:rPr lang="nb-NO" dirty="0"/>
              <a:t>er definert i Felles datakatalog – dette er helt nødvendig for at andre skal kunne bruke dataene våre. </a:t>
            </a:r>
          </a:p>
          <a:p>
            <a:pPr marL="855401" lvl="2" indent="-171450">
              <a:buFont typeface="Arial" panose="020B0604020202020204" pitchFamily="34" charset="0"/>
              <a:buChar char="•"/>
            </a:pPr>
            <a:endParaRPr lang="nb-NO" b="0" baseline="0" dirty="0"/>
          </a:p>
          <a:p>
            <a:pPr marL="513425" lvl="1" indent="-171450">
              <a:buFont typeface="Arial" panose="020B0604020202020204" pitchFamily="34" charset="0"/>
              <a:buChar char="•"/>
            </a:pPr>
            <a:r>
              <a:rPr lang="nb-NO" b="0" baseline="0" dirty="0"/>
              <a:t>Data kan ikke uten videre gjenbrukes på tvers uten at det får materielle konsekvenser – hvis definisjonen ikke er den samme</a:t>
            </a:r>
          </a:p>
          <a:p>
            <a:pPr marL="513425" lvl="1" indent="-171450">
              <a:buFont typeface="Arial" panose="020B0604020202020204" pitchFamily="34" charset="0"/>
              <a:buChar char="•"/>
            </a:pPr>
            <a:r>
              <a:rPr lang="nb-NO" b="0" baseline="0" dirty="0"/>
              <a:t>Å få dette til </a:t>
            </a:r>
            <a:r>
              <a:rPr lang="nb-NO" b="1" baseline="0" dirty="0"/>
              <a:t>krever en nysgjerrighet </a:t>
            </a:r>
            <a:r>
              <a:rPr lang="nb-NO" b="0" baseline="0" dirty="0"/>
              <a:t>– rammer for samhandling og overskudd – til å </a:t>
            </a:r>
            <a:r>
              <a:rPr lang="nb-NO" b="1" baseline="0" dirty="0"/>
              <a:t>skue ut over eget ansvarsområde</a:t>
            </a:r>
            <a:endParaRPr lang="nb-NO" b="1" dirty="0"/>
          </a:p>
          <a:p>
            <a:endParaRPr lang="nb-NO" b="1" dirty="0"/>
          </a:p>
          <a:p>
            <a:endParaRPr lang="nb-NO" b="1" dirty="0"/>
          </a:p>
          <a:p>
            <a:endParaRPr lang="nb-NO" b="1"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31</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996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35</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93603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amhandlingsevne = interoperabilitet</a:t>
            </a:r>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3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0932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lvl="0" indent="-171450">
              <a:buFont typeface="Arial" panose="020B0604020202020204" pitchFamily="34" charset="0"/>
              <a:buChar char="•"/>
            </a:pPr>
            <a:r>
              <a:rPr lang="nb-NO" sz="1200" b="1" dirty="0">
                <a:ea typeface="+mn-lt"/>
                <a:cs typeface="+mn-lt"/>
              </a:rPr>
              <a:t>Standardisering</a:t>
            </a:r>
            <a:r>
              <a:rPr lang="nb-NO" sz="1200" dirty="0">
                <a:ea typeface="+mn-lt"/>
                <a:cs typeface="+mn-lt"/>
              </a:rPr>
              <a:t>: Vurdere samlet og strategisk hvilke data etaten har behov for og hvordan disse skal utformes og forvaltes i eller utenfor Skatteetaten</a:t>
            </a:r>
            <a:endParaRPr lang="nb-NO" sz="1200" dirty="0">
              <a:solidFill>
                <a:srgbClr val="FF0000"/>
              </a:solidFill>
              <a:ea typeface="+mn-lt"/>
              <a:cs typeface="+mn-lt"/>
            </a:endParaRPr>
          </a:p>
          <a:p>
            <a:pPr marL="171450" lvl="0" indent="-171450">
              <a:buFont typeface="Arial" panose="020B0604020202020204" pitchFamily="34" charset="0"/>
              <a:buChar char="•"/>
            </a:pPr>
            <a:r>
              <a:rPr lang="nb-NO" sz="1200" b="1" dirty="0">
                <a:ea typeface="+mn-lt"/>
                <a:cs typeface="+mn-lt"/>
              </a:rPr>
              <a:t>Informasjonsarkitektur</a:t>
            </a:r>
            <a:r>
              <a:rPr lang="nb-NO" sz="1200" dirty="0">
                <a:ea typeface="+mn-lt"/>
                <a:cs typeface="+mn-lt"/>
              </a:rPr>
              <a:t>: Skape dokumentert kunnskap om etatens informasjonsområder, dataene som forvaltes der og hvordan de henger sammen</a:t>
            </a:r>
            <a:endParaRPr lang="nb-NO" sz="1200" dirty="0">
              <a:solidFill>
                <a:srgbClr val="FF0000"/>
              </a:solidFill>
              <a:ea typeface="+mn-lt"/>
              <a:cs typeface="+mn-lt"/>
            </a:endParaRPr>
          </a:p>
          <a:p>
            <a:pPr marL="171450" lvl="0" indent="-171450">
              <a:buFont typeface="Arial" panose="020B0604020202020204" pitchFamily="34" charset="0"/>
              <a:buChar char="•"/>
            </a:pPr>
            <a:r>
              <a:rPr lang="nb-NO" sz="1200" b="1" dirty="0">
                <a:ea typeface="+mn-lt"/>
                <a:cs typeface="+mn-lt"/>
              </a:rPr>
              <a:t>Datakvalitet</a:t>
            </a:r>
            <a:r>
              <a:rPr lang="nb-NO" sz="1200" dirty="0">
                <a:ea typeface="+mn-lt"/>
                <a:cs typeface="+mn-lt"/>
              </a:rPr>
              <a:t>: Forstå, formidle og bidra til forbedring av kvalitet og relevans i data</a:t>
            </a:r>
            <a:endParaRPr lang="nb-NO" sz="1200" dirty="0">
              <a:solidFill>
                <a:srgbClr val="FF0000"/>
              </a:solidFill>
              <a:ea typeface="+mn-lt"/>
              <a:cs typeface="+mn-lt"/>
            </a:endParaRPr>
          </a:p>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37E1E-3FA5-44AD-B79C-09750F72CF9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47701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Informasjonsstyring = data </a:t>
            </a:r>
            <a:r>
              <a:rPr lang="nb-NO" dirty="0" err="1"/>
              <a:t>governance</a:t>
            </a:r>
            <a:endParaRPr lang="nb-NO" dirty="0"/>
          </a:p>
          <a:p>
            <a:pPr marL="171450" indent="-171450">
              <a:buFont typeface="Arial" panose="020B0604020202020204" pitchFamily="34" charset="0"/>
              <a:buChar char="•"/>
            </a:pPr>
            <a:r>
              <a:rPr lang="nb-NO" dirty="0"/>
              <a:t>Gul og grønn farge illustrerer</a:t>
            </a:r>
            <a:r>
              <a:rPr lang="nb-NO" baseline="0" dirty="0"/>
              <a:t> hvor datakvalitet kommer inn i informasjonsforvaltning i stort</a:t>
            </a:r>
          </a:p>
          <a:p>
            <a:pPr marL="171450" indent="-171450">
              <a:buFont typeface="Arial" panose="020B0604020202020204" pitchFamily="34" charset="0"/>
              <a:buChar char="•"/>
            </a:pPr>
            <a:r>
              <a:rPr lang="nb-NO" baseline="0" dirty="0"/>
              <a:t>Styringsinstrumenter og praktisk forvaltning av datakvalitet går sammen i </a:t>
            </a:r>
            <a:r>
              <a:rPr lang="nb-NO" i="1" baseline="0" dirty="0"/>
              <a:t>vekselvirkning</a:t>
            </a:r>
          </a:p>
          <a:p>
            <a:pPr marL="171450" indent="-171450">
              <a:buFont typeface="Arial" panose="020B0604020202020204" pitchFamily="34" charset="0"/>
              <a:buChar char="•"/>
            </a:pPr>
            <a:r>
              <a:rPr lang="nb-NO" baseline="0" dirty="0"/>
              <a:t>Andre informasjonsforvaltningsområder henger også </a:t>
            </a:r>
            <a:r>
              <a:rPr lang="nb-NO" i="1" baseline="0" dirty="0"/>
              <a:t>gjensidig </a:t>
            </a:r>
            <a:r>
              <a:rPr lang="nb-NO" baseline="0" dirty="0"/>
              <a:t>sammen med datakvalitet!</a:t>
            </a:r>
          </a:p>
          <a:p>
            <a:pPr marL="0" indent="0">
              <a:buFont typeface="Arial" panose="020B0604020202020204" pitchFamily="34" charset="0"/>
              <a:buNone/>
            </a:pPr>
            <a:endParaRPr lang="nb-NO" baseline="0" dirty="0"/>
          </a:p>
          <a:p>
            <a:pPr marL="171450" indent="-171450">
              <a:buFont typeface="Arial" panose="020B0604020202020204" pitchFamily="34" charset="0"/>
              <a:buChar char="•"/>
            </a:pPr>
            <a:r>
              <a:rPr lang="nb-NO" baseline="0" dirty="0" err="1"/>
              <a:t>Disclaimer</a:t>
            </a:r>
            <a:r>
              <a:rPr lang="nb-NO" baseline="0" dirty="0"/>
              <a:t>: gjør ikke her hevd på å definere </a:t>
            </a:r>
            <a:r>
              <a:rPr lang="nb-NO" i="0" baseline="0" dirty="0"/>
              <a:t>alt </a:t>
            </a:r>
            <a:r>
              <a:rPr lang="nb-NO" baseline="0" dirty="0"/>
              <a:t>informasjonsforvaltning er!</a:t>
            </a:r>
            <a:endParaRPr lang="nb-NO"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43</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73273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1400" b="1" baseline="0">
              <a:cs typeface="Calibri"/>
            </a:endParaRPr>
          </a:p>
          <a:p>
            <a:endParaRPr lang="nb-NO" sz="1400" b="1">
              <a:cs typeface="Calibri"/>
            </a:endParaRPr>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4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4827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b="1">
                <a:cs typeface="Calibri"/>
              </a:rPr>
              <a:t>De fem strategiske ambisjonene er:</a:t>
            </a:r>
          </a:p>
          <a:p>
            <a:pPr marL="514350" lvl="1" indent="-285750">
              <a:buFont typeface="Arial" panose="020B0604020202020204" pitchFamily="34" charset="0"/>
              <a:buChar char="•"/>
            </a:pPr>
            <a:r>
              <a:rPr lang="nb-NO" sz="1800">
                <a:solidFill>
                  <a:srgbClr val="000000"/>
                </a:solidFill>
                <a:latin typeface="Calibri"/>
                <a:ea typeface="Yu Mincho"/>
                <a:cs typeface="Calibri"/>
              </a:rPr>
              <a:t> Vi skal møte næringsliv og innbyggere på en slik måte at det blir enklere å gjøre det rette og vanskeligere å gjøre feil.</a:t>
            </a:r>
          </a:p>
          <a:p>
            <a:pPr marL="514350" lvl="1" indent="-285750">
              <a:buFont typeface="Arial" panose="020B0604020202020204" pitchFamily="34" charset="0"/>
              <a:buChar char="•"/>
            </a:pPr>
            <a:r>
              <a:rPr lang="nb-NO" sz="1800">
                <a:solidFill>
                  <a:srgbClr val="000000"/>
                </a:solidFill>
                <a:latin typeface="Calibri"/>
                <a:ea typeface="Yu Mincho"/>
                <a:cs typeface="Calibri"/>
              </a:rPr>
              <a:t> Vi skal jobbe sammen med andre for at skattekriminalitet forhindres og får konsekvenser raskere.</a:t>
            </a:r>
          </a:p>
          <a:p>
            <a:pPr marL="514350" lvl="1" indent="-285750">
              <a:buFont typeface="Arial" panose="020B0604020202020204" pitchFamily="34" charset="0"/>
              <a:buChar char="•"/>
            </a:pPr>
            <a:r>
              <a:rPr lang="nb-NO" sz="1800">
                <a:solidFill>
                  <a:srgbClr val="000000"/>
                </a:solidFill>
                <a:latin typeface="Calibri"/>
                <a:ea typeface="Yu Mincho"/>
                <a:cs typeface="Calibri"/>
              </a:rPr>
              <a:t> Vi skal forvalte vår informasjon slik at den bidrar til forenkling og digitalisering</a:t>
            </a:r>
          </a:p>
          <a:p>
            <a:pPr marL="514350" lvl="1" indent="-285750">
              <a:buFont typeface="Arial" panose="020B0604020202020204" pitchFamily="34" charset="0"/>
              <a:buChar char="•"/>
            </a:pPr>
            <a:r>
              <a:rPr lang="nb-NO" sz="1800">
                <a:ea typeface="Yu Mincho"/>
                <a:cs typeface="Calibri"/>
              </a:rPr>
              <a:t> Vi skal jobbe sammen fra start for raskere resultater</a:t>
            </a:r>
          </a:p>
          <a:p>
            <a:pPr marL="514350" lvl="1" indent="-285750">
              <a:buFont typeface="Arial" panose="020B0604020202020204" pitchFamily="34" charset="0"/>
              <a:buChar char="•"/>
            </a:pPr>
            <a:r>
              <a:rPr lang="nb-NO" sz="1800">
                <a:ea typeface="Yu Mincho"/>
                <a:cs typeface="Calibri"/>
              </a:rPr>
              <a:t> Vi skal bruke data, analyse og maskinlæring i stor skala i oppgaveløsningen</a:t>
            </a:r>
          </a:p>
          <a:p>
            <a:pPr>
              <a:buFont typeface="Symbol" panose="020B0604020202020204" pitchFamily="34" charset="0"/>
              <a:buChar char="•"/>
            </a:pPr>
            <a:endParaRPr lang="nb-NO" sz="1800">
              <a:ea typeface="Yu Mincho"/>
            </a:endParaRPr>
          </a:p>
          <a:p>
            <a:r>
              <a:rPr lang="nb-NO" sz="1800"/>
              <a:t>De tre første ambisjonene sier noe om hvilken retning vi skal strekke oss etter når vi skal definere </a:t>
            </a:r>
            <a:r>
              <a:rPr lang="nb-NO" sz="1800" b="1" i="1"/>
              <a:t>hva</a:t>
            </a:r>
            <a:r>
              <a:rPr lang="nb-NO" sz="1800"/>
              <a:t> vi skal levere til samfunnet. De to siste går mer på </a:t>
            </a:r>
            <a:r>
              <a:rPr lang="nb-NO" sz="1800" b="1" i="1"/>
              <a:t>hvordan</a:t>
            </a:r>
            <a:r>
              <a:rPr lang="nb-NO" sz="1800"/>
              <a:t> vi skal jobbe for å få det til.</a:t>
            </a:r>
            <a:endParaRPr lang="nb-NO" sz="1800">
              <a:cs typeface="Calibri"/>
            </a:endParaRPr>
          </a:p>
          <a:p>
            <a:endParaRPr lang="nb-NO" sz="1800">
              <a:cs typeface="Calibri"/>
            </a:endParaRPr>
          </a:p>
        </p:txBody>
      </p:sp>
      <p:sp>
        <p:nvSpPr>
          <p:cNvPr id="4" name="Plassholder for lysbildenummer 3"/>
          <p:cNvSpPr>
            <a:spLocks noGrp="1"/>
          </p:cNvSpPr>
          <p:nvPr>
            <p:ph type="sldNum" sz="quarter" idx="5"/>
          </p:nvPr>
        </p:nvSpPr>
        <p:spPr/>
        <p:txBody>
          <a:bodyPr/>
          <a:lstStyle/>
          <a:p>
            <a:pPr marL="0" marR="0" lvl="0" indent="0" algn="r" defTabSz="228600"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228600"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3266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000" dirty="0">
                <a:effectLst/>
                <a:latin typeface="Arial" panose="020B0604020202020204" pitchFamily="34" charset="0"/>
                <a:ea typeface="Calibri" panose="020F0502020204030204" pitchFamily="34" charset="0"/>
                <a:cs typeface="Times New Roman" panose="02020603050405020304" pitchFamily="18" charset="0"/>
              </a:rPr>
              <a:t>Så hva er Data </a:t>
            </a:r>
            <a:r>
              <a:rPr lang="nb-NO" sz="1000" dirty="0" err="1">
                <a:effectLst/>
                <a:latin typeface="Arial" panose="020B0604020202020204" pitchFamily="34" charset="0"/>
                <a:ea typeface="Calibri" panose="020F0502020204030204" pitchFamily="34" charset="0"/>
                <a:cs typeface="Times New Roman" panose="02020603050405020304" pitchFamily="18" charset="0"/>
              </a:rPr>
              <a:t>Mesh</a:t>
            </a:r>
            <a:r>
              <a:rPr lang="nb-NO" sz="1000" dirty="0">
                <a:effectLst/>
                <a:latin typeface="Arial" panose="020B0604020202020204" pitchFamily="34" charset="0"/>
                <a:ea typeface="Calibri" panose="020F0502020204030204" pitchFamily="34" charset="0"/>
                <a:cs typeface="Times New Roman" panose="02020603050405020304" pitchFamily="18" charset="0"/>
              </a:rPr>
              <a:t>?</a:t>
            </a:r>
          </a:p>
          <a:p>
            <a:pPr marL="342900" lvl="0" indent="-342900">
              <a:lnSpc>
                <a:spcPct val="107000"/>
              </a:lnSpc>
              <a:buFont typeface="Arial" panose="020B0604020202020204" pitchFamily="34" charset="0"/>
              <a:buChar char="-"/>
            </a:pPr>
            <a:r>
              <a:rPr lang="nb-NO" sz="1000" dirty="0">
                <a:effectLst/>
                <a:latin typeface="Arial" panose="020B0604020202020204" pitchFamily="34" charset="0"/>
                <a:ea typeface="Calibri" panose="020F0502020204030204" pitchFamily="34" charset="0"/>
                <a:cs typeface="Times New Roman" panose="02020603050405020304" pitchFamily="18" charset="0"/>
              </a:rPr>
              <a:t>Det er i essens en tilnærming for å administrere data i stor skala i store virksomheter, slik som det Skatteetaten er. Det handler om at man bestemmer seg for hvor dataen skal ligge, hvem som skal ha ansvaret for dataen, hvordan dataen skal struktureres og tilgjengeliggjøres, og hvordan dataen skal styres.</a:t>
            </a:r>
          </a:p>
          <a:p>
            <a:pPr marL="342900" lvl="0" indent="-342900">
              <a:lnSpc>
                <a:spcPct val="107000"/>
              </a:lnSpc>
              <a:buFont typeface="Arial" panose="020B0604020202020204" pitchFamily="34" charset="0"/>
              <a:buChar char="-"/>
            </a:pPr>
            <a:r>
              <a:rPr lang="nb-NO" sz="1000" dirty="0">
                <a:effectLst/>
                <a:latin typeface="Arial" panose="020B0604020202020204" pitchFamily="34" charset="0"/>
                <a:ea typeface="Calibri" panose="020F0502020204030204" pitchFamily="34" charset="0"/>
                <a:cs typeface="Times New Roman" panose="02020603050405020304" pitchFamily="18" charset="0"/>
              </a:rPr>
              <a:t>Det er fire overordnede prinsipper i Data </a:t>
            </a:r>
            <a:r>
              <a:rPr lang="nb-NO" sz="1000" dirty="0" err="1">
                <a:effectLst/>
                <a:latin typeface="Arial" panose="020B0604020202020204" pitchFamily="34" charset="0"/>
                <a:ea typeface="Calibri" panose="020F0502020204030204" pitchFamily="34" charset="0"/>
                <a:cs typeface="Times New Roman" panose="02020603050405020304" pitchFamily="18" charset="0"/>
              </a:rPr>
              <a:t>Mesh</a:t>
            </a:r>
            <a:r>
              <a:rPr lang="nb-NO" sz="1000" dirty="0">
                <a:effectLst/>
                <a:latin typeface="Arial" panose="020B0604020202020204" pitchFamily="34" charset="0"/>
                <a:ea typeface="Calibri" panose="020F0502020204030204" pitchFamily="34" charset="0"/>
                <a:cs typeface="Times New Roman" panose="02020603050405020304" pitchFamily="18" charset="0"/>
              </a:rPr>
              <a:t>. </a:t>
            </a:r>
          </a:p>
          <a:p>
            <a:pPr marL="742950" lvl="1" indent="-285750">
              <a:lnSpc>
                <a:spcPct val="107000"/>
              </a:lnSpc>
              <a:buFont typeface="Courier New" panose="02070309020205020404" pitchFamily="49" charset="0"/>
              <a:buChar char="o"/>
            </a:pPr>
            <a:r>
              <a:rPr lang="nb-NO" sz="1000" dirty="0">
                <a:effectLst/>
                <a:latin typeface="Arial" panose="020B0604020202020204" pitchFamily="34" charset="0"/>
                <a:ea typeface="Calibri" panose="020F0502020204030204" pitchFamily="34" charset="0"/>
                <a:cs typeface="Times New Roman" panose="02020603050405020304" pitchFamily="18" charset="0"/>
              </a:rPr>
              <a:t>Det første prinsippet er domeneorientert dataeierskap og arkitektur, som går ut på at virksomheten er delt inn i ulike domener, typisk forretningsdomener der hvert domene ansvaret for å forvalte dataen som er innenfor det enkelte domene. </a:t>
            </a:r>
          </a:p>
          <a:p>
            <a:pPr marL="742950" lvl="1" indent="-285750">
              <a:lnSpc>
                <a:spcPct val="107000"/>
              </a:lnSpc>
              <a:buFont typeface="Courier New" panose="02070309020205020404" pitchFamily="49" charset="0"/>
              <a:buChar char="o"/>
            </a:pPr>
            <a:r>
              <a:rPr lang="nb-NO" sz="1000" dirty="0">
                <a:effectLst/>
                <a:latin typeface="Arial" panose="020B0604020202020204" pitchFamily="34" charset="0"/>
                <a:ea typeface="Calibri" panose="020F0502020204030204" pitchFamily="34" charset="0"/>
                <a:cs typeface="Times New Roman" panose="02020603050405020304" pitchFamily="18" charset="0"/>
              </a:rPr>
              <a:t>Så har vi data som produkt (eller dataprodukt), som innebærer at man skal tilby data som om det skulle vært et konsumerprodukt. Det innebærer at i tillegg til informasjon om dataen også har alt som hører til dataen knyttet til. Det kan være informasjon om datakvaliteten, juridiske hjemler, programteknisk kode, utvekslingsformat osv. </a:t>
            </a:r>
          </a:p>
          <a:p>
            <a:pPr marL="742950" lvl="1" indent="-285750">
              <a:lnSpc>
                <a:spcPct val="107000"/>
              </a:lnSpc>
              <a:buFont typeface="Courier New" panose="02070309020205020404" pitchFamily="49" charset="0"/>
              <a:buChar char="o"/>
            </a:pPr>
            <a:r>
              <a:rPr lang="nb-NO" sz="1000" dirty="0">
                <a:effectLst/>
                <a:latin typeface="Arial" panose="020B0604020202020204" pitchFamily="34" charset="0"/>
                <a:ea typeface="Calibri" panose="020F0502020204030204" pitchFamily="34" charset="0"/>
                <a:cs typeface="Times New Roman" panose="02020603050405020304" pitchFamily="18" charset="0"/>
              </a:rPr>
              <a:t>For å kunne tilgjengeliggjøre dataprodukter trenger man en selvbetjent datainfrastruktur, som er det tredje prinsippet. På en selvbetjent datainfrastruktur </a:t>
            </a:r>
            <a:r>
              <a:rPr lang="nb-NO" sz="1000" dirty="0">
                <a:solidFill>
                  <a:srgbClr val="000000"/>
                </a:solidFill>
                <a:effectLst/>
                <a:latin typeface="Arial" panose="020B0604020202020204" pitchFamily="34" charset="0"/>
                <a:ea typeface="Calibri" panose="020F0502020204030204" pitchFamily="34" charset="0"/>
                <a:cs typeface="Arial" panose="020B0604020202020204" pitchFamily="34" charset="0"/>
              </a:rPr>
              <a:t>tilbys standardiserte verktøy og komponenter til utviklere slik at de lett kan utvikle og koble på dataprodukter uten å måtte ha en inngående kjennskap til underliggende teknologi.</a:t>
            </a:r>
            <a:r>
              <a:rPr lang="nb-NO" sz="1000" dirty="0">
                <a:effectLst/>
                <a:latin typeface="Arial" panose="020B0604020202020204" pitchFamily="34" charset="0"/>
                <a:ea typeface="Calibri" panose="020F0502020204030204" pitchFamily="34" charset="0"/>
                <a:cs typeface="Times New Roman" panose="02020603050405020304" pitchFamily="18" charset="0"/>
              </a:rPr>
              <a:t> På samme måte tilbys det også standardiserte verktøy og komponenter som gjør at forbrukere lett kan hente ut og benytte seg av dataprodukter uten å måtte ha kjennskap til underliggende teknologi. </a:t>
            </a:r>
          </a:p>
          <a:p>
            <a:pPr marL="742950" lvl="1" indent="-285750">
              <a:lnSpc>
                <a:spcPct val="107000"/>
              </a:lnSpc>
              <a:buFont typeface="Courier New" panose="02070309020205020404" pitchFamily="49" charset="0"/>
              <a:buChar char="o"/>
            </a:pPr>
            <a:r>
              <a:rPr lang="nb-NO" sz="1000" dirty="0">
                <a:solidFill>
                  <a:srgbClr val="000000"/>
                </a:solidFill>
                <a:effectLst/>
                <a:latin typeface="Arial" panose="020B0604020202020204" pitchFamily="34" charset="0"/>
                <a:ea typeface="Calibri" panose="020F0502020204030204" pitchFamily="34" charset="0"/>
                <a:cs typeface="Arial" panose="020B0604020202020204" pitchFamily="34" charset="0"/>
              </a:rPr>
              <a:t>Til slutt har vi det siste prinsippet som handler om at man må ha en føderert og automatisert datastyring. Dette prinsippet innebærer at man finner ut av hvilke globale standarder som skal gjelde for alle domener og styres fra en sentral datastyringsgruppe. Likeledes må man finne ut hva knyttet til datastyring som de enkelte domenene kan ha autonomi og selvbestemmelse på, og som skal styres i domene selv. At dette er automatisert innebærer at den selvbetjente datainfrastrukturen har innebygde mekanismer for å kontrollere at angitte standarder blir fulgt.</a:t>
            </a:r>
            <a:endParaRPr lang="nb-NO" sz="1000" dirty="0">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pPr>
            <a:r>
              <a:rPr lang="nb-NO" sz="1000" dirty="0">
                <a:solidFill>
                  <a:srgbClr val="000000"/>
                </a:solidFill>
                <a:effectLst/>
                <a:latin typeface="Arial" panose="020B0604020202020204" pitchFamily="34" charset="0"/>
                <a:ea typeface="Calibri" panose="020F0502020204030204" pitchFamily="34" charset="0"/>
                <a:cs typeface="Arial" panose="020B0604020202020204" pitchFamily="34" charset="0"/>
              </a:rPr>
              <a:t>Data </a:t>
            </a:r>
            <a:r>
              <a:rPr lang="nb-NO" sz="1000"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Mesh</a:t>
            </a:r>
            <a:r>
              <a:rPr lang="nb-NO" sz="1000" dirty="0">
                <a:solidFill>
                  <a:srgbClr val="000000"/>
                </a:solidFill>
                <a:effectLst/>
                <a:latin typeface="Arial" panose="020B0604020202020204" pitchFamily="34" charset="0"/>
                <a:ea typeface="Calibri" panose="020F0502020204030204" pitchFamily="34" charset="0"/>
                <a:cs typeface="Arial" panose="020B0604020202020204" pitchFamily="34" charset="0"/>
              </a:rPr>
              <a:t> er en teori som er avhengig av alle disse prinsippene for å være realiserbar. I starten av utredningen kalte vi prinsippene for «pilarer» for å understøtte at alle prinsippene kreves for å holde Data </a:t>
            </a:r>
            <a:r>
              <a:rPr lang="nb-NO" sz="1000" dirty="0" err="1">
                <a:solidFill>
                  <a:srgbClr val="000000"/>
                </a:solidFill>
                <a:effectLst/>
                <a:latin typeface="Arial" panose="020B0604020202020204" pitchFamily="34" charset="0"/>
                <a:ea typeface="Calibri" panose="020F0502020204030204" pitchFamily="34" charset="0"/>
                <a:cs typeface="Arial" panose="020B0604020202020204" pitchFamily="34" charset="0"/>
              </a:rPr>
              <a:t>Mesh</a:t>
            </a:r>
            <a:r>
              <a:rPr lang="nb-NO" sz="1000" dirty="0">
                <a:solidFill>
                  <a:srgbClr val="000000"/>
                </a:solidFill>
                <a:effectLst/>
                <a:latin typeface="Arial" panose="020B0604020202020204" pitchFamily="34" charset="0"/>
                <a:ea typeface="Calibri" panose="020F0502020204030204" pitchFamily="34" charset="0"/>
                <a:cs typeface="Arial" panose="020B0604020202020204" pitchFamily="34" charset="0"/>
              </a:rPr>
              <a:t> oppe. Dette har vi prøvd å illustrere ved figuren til venstre her. Et annet viktig poeng, og som dere sikkert har skjønt, så henger alle disse prinsippene sammen, slik at det er en avhengighet mellom dem.</a:t>
            </a:r>
            <a:endParaRPr lang="nb-NO" sz="1000" dirty="0">
              <a:effectLst/>
              <a:latin typeface="Arial" panose="020B0604020202020204" pitchFamily="34" charset="0"/>
              <a:ea typeface="Calibri" panose="020F0502020204030204" pitchFamily="34" charset="0"/>
              <a:cs typeface="Times New Roman" panose="02020603050405020304" pitchFamily="18" charset="0"/>
            </a:endParaRPr>
          </a:p>
          <a:p>
            <a:endParaRPr lang="nb-NO" dirty="0"/>
          </a:p>
        </p:txBody>
      </p:sp>
      <p:sp>
        <p:nvSpPr>
          <p:cNvPr id="4" name="Plassholder for lysbildenummer 3"/>
          <p:cNvSpPr>
            <a:spLocks noGrp="1"/>
          </p:cNvSpPr>
          <p:nvPr>
            <p:ph type="sldNum" sz="quarter" idx="5"/>
          </p:nvPr>
        </p:nvSpPr>
        <p:spPr/>
        <p:txBody>
          <a:bodyPr/>
          <a:lstStyle/>
          <a:p>
            <a:fld id="{632A0872-C380-4561-BB86-44E3F0E0336C}" type="slidenum">
              <a:rPr lang="nb-NO" smtClean="0"/>
              <a:t>49</a:t>
            </a:fld>
            <a:endParaRPr lang="nb-NO" dirty="0"/>
          </a:p>
        </p:txBody>
      </p:sp>
    </p:spTree>
    <p:extLst>
      <p:ext uri="{BB962C8B-B14F-4D97-AF65-F5344CB8AC3E}">
        <p14:creationId xmlns:p14="http://schemas.microsoft.com/office/powerpoint/2010/main" val="16130432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lvl="0"/>
            <a:r>
              <a:rPr lang="nb-NO"/>
              <a:t>Om dere finner «Felles rammeverk for informasjonsforvaltning» hensiktsmessig som støtte for generell datadeling innenfor forvaltningen</a:t>
            </a:r>
          </a:p>
          <a:p>
            <a:pPr lvl="0"/>
            <a:endParaRPr lang="nb-NO"/>
          </a:p>
          <a:p>
            <a:pPr lvl="0"/>
            <a:r>
              <a:rPr lang="nb-NO"/>
              <a:t>Om dere ser Felles datakatalog som en hensiktsmessig løsning for generell datadokumentering på tvers av forvaltningen, eventuelle mangler</a:t>
            </a:r>
          </a:p>
          <a:p>
            <a:endParaRPr lang="nb-NO"/>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5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12674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US">
                <a:cs typeface="Calibri"/>
              </a:rPr>
              <a:t>1. Vi </a:t>
            </a:r>
            <a:r>
              <a:rPr lang="en-US" err="1">
                <a:cs typeface="Calibri"/>
              </a:rPr>
              <a:t>har</a:t>
            </a:r>
            <a:r>
              <a:rPr lang="en-US">
                <a:cs typeface="Calibri"/>
              </a:rPr>
              <a:t> </a:t>
            </a:r>
            <a:r>
              <a:rPr lang="en-US" err="1">
                <a:cs typeface="Calibri"/>
              </a:rPr>
              <a:t>ikke</a:t>
            </a:r>
            <a:r>
              <a:rPr lang="en-US">
                <a:cs typeface="Calibri"/>
              </a:rPr>
              <a:t> </a:t>
            </a:r>
            <a:r>
              <a:rPr lang="en-US" err="1">
                <a:cs typeface="Calibri"/>
              </a:rPr>
              <a:t>oversikt</a:t>
            </a:r>
            <a:r>
              <a:rPr lang="en-US">
                <a:cs typeface="Calibri"/>
              </a:rPr>
              <a:t>. </a:t>
            </a:r>
            <a:r>
              <a:rPr lang="en-US" err="1">
                <a:cs typeface="Calibri"/>
              </a:rPr>
              <a:t>Hvilke</a:t>
            </a:r>
            <a:r>
              <a:rPr lang="en-US">
                <a:cs typeface="Calibri"/>
              </a:rPr>
              <a:t> data </a:t>
            </a:r>
            <a:r>
              <a:rPr lang="en-US" err="1">
                <a:cs typeface="Calibri"/>
              </a:rPr>
              <a:t>har</a:t>
            </a:r>
            <a:r>
              <a:rPr lang="en-US">
                <a:cs typeface="Calibri"/>
              </a:rPr>
              <a:t> vi, </a:t>
            </a:r>
            <a:r>
              <a:rPr lang="en-US" err="1">
                <a:cs typeface="Calibri"/>
              </a:rPr>
              <a:t>hvem</a:t>
            </a:r>
            <a:r>
              <a:rPr lang="en-US">
                <a:cs typeface="Calibri"/>
              </a:rPr>
              <a:t> </a:t>
            </a:r>
            <a:r>
              <a:rPr lang="en-US" err="1">
                <a:cs typeface="Calibri"/>
              </a:rPr>
              <a:t>eier</a:t>
            </a:r>
            <a:r>
              <a:rPr lang="en-US">
                <a:cs typeface="Calibri"/>
              </a:rPr>
              <a:t> </a:t>
            </a:r>
            <a:r>
              <a:rPr lang="en-US" err="1">
                <a:cs typeface="Calibri"/>
              </a:rPr>
              <a:t>og</a:t>
            </a:r>
            <a:r>
              <a:rPr lang="en-US">
                <a:cs typeface="Calibri"/>
              </a:rPr>
              <a:t> </a:t>
            </a:r>
            <a:r>
              <a:rPr lang="en-US" err="1">
                <a:cs typeface="Calibri"/>
              </a:rPr>
              <a:t>forvalter</a:t>
            </a:r>
            <a:r>
              <a:rPr lang="en-US">
                <a:cs typeface="Calibri"/>
              </a:rPr>
              <a:t> de, </a:t>
            </a:r>
            <a:r>
              <a:rPr lang="en-US" err="1">
                <a:cs typeface="Calibri"/>
              </a:rPr>
              <a:t>hva</a:t>
            </a:r>
            <a:r>
              <a:rPr lang="en-US">
                <a:cs typeface="Calibri"/>
              </a:rPr>
              <a:t> </a:t>
            </a:r>
            <a:r>
              <a:rPr lang="en-US" err="1">
                <a:cs typeface="Calibri"/>
              </a:rPr>
              <a:t>kan</a:t>
            </a:r>
            <a:r>
              <a:rPr lang="en-US">
                <a:cs typeface="Calibri"/>
              </a:rPr>
              <a:t> de </a:t>
            </a:r>
            <a:r>
              <a:rPr lang="en-US" err="1">
                <a:cs typeface="Calibri"/>
              </a:rPr>
              <a:t>brukes</a:t>
            </a:r>
            <a:r>
              <a:rPr lang="en-US">
                <a:cs typeface="Calibri"/>
              </a:rPr>
              <a:t> </a:t>
            </a:r>
            <a:r>
              <a:rPr lang="en-US" err="1">
                <a:cs typeface="Calibri"/>
              </a:rPr>
              <a:t>til</a:t>
            </a:r>
            <a:r>
              <a:rPr lang="en-US">
                <a:cs typeface="Calibri"/>
              </a:rPr>
              <a:t>, </a:t>
            </a:r>
            <a:r>
              <a:rPr lang="en-US" err="1">
                <a:cs typeface="Calibri"/>
              </a:rPr>
              <a:t>hvordan</a:t>
            </a:r>
            <a:r>
              <a:rPr lang="en-US">
                <a:cs typeface="Calibri"/>
              </a:rPr>
              <a:t> </a:t>
            </a:r>
            <a:r>
              <a:rPr lang="en-US" err="1">
                <a:cs typeface="Calibri"/>
              </a:rPr>
              <a:t>får</a:t>
            </a:r>
            <a:r>
              <a:rPr lang="en-US">
                <a:cs typeface="Calibri"/>
              </a:rPr>
              <a:t> </a:t>
            </a:r>
            <a:r>
              <a:rPr lang="en-US" err="1">
                <a:cs typeface="Calibri"/>
              </a:rPr>
              <a:t>jeg</a:t>
            </a:r>
            <a:r>
              <a:rPr lang="en-US">
                <a:cs typeface="Calibri"/>
              </a:rPr>
              <a:t> </a:t>
            </a:r>
            <a:r>
              <a:rPr lang="en-US" err="1">
                <a:cs typeface="Calibri"/>
              </a:rPr>
              <a:t>tak</a:t>
            </a:r>
            <a:r>
              <a:rPr lang="en-US">
                <a:cs typeface="Calibri"/>
              </a:rPr>
              <a:t> </a:t>
            </a:r>
            <a:r>
              <a:rPr lang="en-US" err="1">
                <a:cs typeface="Calibri"/>
              </a:rPr>
              <a:t>på</a:t>
            </a:r>
            <a:r>
              <a:rPr lang="en-US">
                <a:cs typeface="Calibri"/>
              </a:rPr>
              <a:t> de. Vi </a:t>
            </a:r>
            <a:r>
              <a:rPr lang="en-US" err="1">
                <a:cs typeface="Calibri"/>
              </a:rPr>
              <a:t>har</a:t>
            </a:r>
            <a:r>
              <a:rPr lang="en-US">
                <a:cs typeface="Calibri"/>
              </a:rPr>
              <a:t> </a:t>
            </a:r>
            <a:r>
              <a:rPr lang="en-US" err="1">
                <a:cs typeface="Calibri"/>
              </a:rPr>
              <a:t>ikke</a:t>
            </a:r>
            <a:r>
              <a:rPr lang="en-US">
                <a:cs typeface="Calibri"/>
              </a:rPr>
              <a:t> </a:t>
            </a:r>
            <a:r>
              <a:rPr lang="en-US" err="1">
                <a:cs typeface="Calibri"/>
              </a:rPr>
              <a:t>noen</a:t>
            </a:r>
            <a:r>
              <a:rPr lang="en-US">
                <a:cs typeface="Calibri"/>
              </a:rPr>
              <a:t> </a:t>
            </a:r>
            <a:r>
              <a:rPr lang="en-US" err="1">
                <a:cs typeface="Calibri"/>
              </a:rPr>
              <a:t>organisering</a:t>
            </a:r>
            <a:r>
              <a:rPr lang="en-US">
                <a:cs typeface="Calibri"/>
              </a:rPr>
              <a:t> av </a:t>
            </a:r>
            <a:r>
              <a:rPr lang="en-US" err="1">
                <a:cs typeface="Calibri"/>
              </a:rPr>
              <a:t>dataene</a:t>
            </a:r>
            <a:r>
              <a:rPr lang="en-US">
                <a:cs typeface="Calibri"/>
              </a:rPr>
              <a:t> </a:t>
            </a:r>
            <a:r>
              <a:rPr lang="en-US" err="1">
                <a:cs typeface="Calibri"/>
              </a:rPr>
              <a:t>våre</a:t>
            </a:r>
            <a:r>
              <a:rPr lang="en-US">
                <a:cs typeface="Calibri"/>
              </a:rPr>
              <a:t>, det </a:t>
            </a:r>
            <a:r>
              <a:rPr lang="en-US" err="1">
                <a:cs typeface="Calibri"/>
              </a:rPr>
              <a:t>oppleves</a:t>
            </a:r>
            <a:r>
              <a:rPr lang="en-US">
                <a:cs typeface="Calibri"/>
              </a:rPr>
              <a:t> </a:t>
            </a:r>
            <a:r>
              <a:rPr lang="en-US" err="1">
                <a:cs typeface="Calibri"/>
              </a:rPr>
              <a:t>veldig</a:t>
            </a:r>
            <a:r>
              <a:rPr lang="en-US">
                <a:cs typeface="Calibri"/>
              </a:rPr>
              <a:t> </a:t>
            </a:r>
            <a:r>
              <a:rPr lang="en-US" err="1">
                <a:cs typeface="Calibri"/>
              </a:rPr>
              <a:t>tydelig</a:t>
            </a:r>
            <a:r>
              <a:rPr lang="en-US">
                <a:cs typeface="Calibri"/>
              </a:rPr>
              <a:t> om du ser inn I </a:t>
            </a:r>
            <a:r>
              <a:rPr lang="en-US" err="1">
                <a:cs typeface="Calibri"/>
              </a:rPr>
              <a:t>etaten</a:t>
            </a:r>
            <a:r>
              <a:rPr lang="en-US">
                <a:cs typeface="Calibri"/>
              </a:rPr>
              <a:t> </a:t>
            </a:r>
            <a:r>
              <a:rPr lang="en-US" err="1">
                <a:cs typeface="Calibri"/>
              </a:rPr>
              <a:t>fra</a:t>
            </a:r>
            <a:r>
              <a:rPr lang="en-US">
                <a:cs typeface="Calibri"/>
              </a:rPr>
              <a:t> </a:t>
            </a:r>
            <a:r>
              <a:rPr lang="en-US" err="1">
                <a:cs typeface="Calibri"/>
              </a:rPr>
              <a:t>analyse</a:t>
            </a:r>
            <a:r>
              <a:rPr lang="en-US">
                <a:cs typeface="Calibri"/>
              </a:rPr>
              <a:t> </a:t>
            </a:r>
            <a:r>
              <a:rPr lang="en-US" err="1">
                <a:cs typeface="Calibri"/>
              </a:rPr>
              <a:t>eller</a:t>
            </a:r>
            <a:r>
              <a:rPr lang="en-US">
                <a:cs typeface="Calibri"/>
              </a:rPr>
              <a:t> </a:t>
            </a:r>
            <a:r>
              <a:rPr lang="en-US" err="1">
                <a:cs typeface="Calibri"/>
              </a:rPr>
              <a:t>deling-siden</a:t>
            </a:r>
            <a:r>
              <a:rPr lang="en-US">
                <a:cs typeface="Calibri"/>
              </a:rPr>
              <a:t>. </a:t>
            </a:r>
          </a:p>
          <a:p>
            <a:r>
              <a:rPr lang="en-US">
                <a:cs typeface="Calibri"/>
              </a:rPr>
              <a:t> Vi </a:t>
            </a:r>
            <a:r>
              <a:rPr lang="en-US" err="1">
                <a:cs typeface="Calibri"/>
              </a:rPr>
              <a:t>kan</a:t>
            </a:r>
            <a:r>
              <a:rPr lang="en-US">
                <a:cs typeface="Calibri"/>
              </a:rPr>
              <a:t> </a:t>
            </a:r>
            <a:r>
              <a:rPr lang="en-US" err="1">
                <a:cs typeface="Calibri"/>
              </a:rPr>
              <a:t>ikke</a:t>
            </a:r>
            <a:r>
              <a:rPr lang="en-US">
                <a:cs typeface="Calibri"/>
              </a:rPr>
              <a:t> </a:t>
            </a:r>
            <a:r>
              <a:rPr lang="en-US" err="1">
                <a:cs typeface="Calibri"/>
              </a:rPr>
              <a:t>svare</a:t>
            </a:r>
            <a:r>
              <a:rPr lang="en-US">
                <a:cs typeface="Calibri"/>
              </a:rPr>
              <a:t> ut </a:t>
            </a:r>
            <a:r>
              <a:rPr lang="en-US" err="1">
                <a:cs typeface="Calibri"/>
              </a:rPr>
              <a:t>hva</a:t>
            </a:r>
            <a:r>
              <a:rPr lang="en-US">
                <a:cs typeface="Calibri"/>
              </a:rPr>
              <a:t> </a:t>
            </a:r>
            <a:r>
              <a:rPr lang="en-US" err="1">
                <a:cs typeface="Calibri"/>
              </a:rPr>
              <a:t>som</a:t>
            </a:r>
            <a:r>
              <a:rPr lang="en-US">
                <a:cs typeface="Calibri"/>
              </a:rPr>
              <a:t> </a:t>
            </a:r>
            <a:r>
              <a:rPr lang="en-US" err="1">
                <a:cs typeface="Calibri"/>
              </a:rPr>
              <a:t>gjelder</a:t>
            </a:r>
            <a:r>
              <a:rPr lang="en-US">
                <a:cs typeface="Calibri"/>
              </a:rPr>
              <a:t> av </a:t>
            </a:r>
          </a:p>
          <a:p>
            <a:endParaRPr lang="en-US">
              <a:cs typeface="Calibri"/>
            </a:endParaRPr>
          </a:p>
          <a:p>
            <a:r>
              <a:rPr lang="en-US">
                <a:cs typeface="Calibri"/>
              </a:rPr>
              <a:t>2. For </a:t>
            </a:r>
            <a:r>
              <a:rPr lang="en-US" err="1">
                <a:cs typeface="Calibri"/>
              </a:rPr>
              <a:t>stor</a:t>
            </a:r>
            <a:r>
              <a:rPr lang="en-US">
                <a:cs typeface="Calibri"/>
              </a:rPr>
              <a:t> </a:t>
            </a:r>
            <a:r>
              <a:rPr lang="en-US" err="1">
                <a:cs typeface="Calibri"/>
              </a:rPr>
              <a:t>variasjon</a:t>
            </a:r>
            <a:r>
              <a:rPr lang="en-US">
                <a:cs typeface="Calibri"/>
              </a:rPr>
              <a:t> I </a:t>
            </a:r>
            <a:r>
              <a:rPr lang="en-US" err="1">
                <a:cs typeface="Calibri"/>
              </a:rPr>
              <a:t>hvordan</a:t>
            </a:r>
            <a:r>
              <a:rPr lang="en-US">
                <a:cs typeface="Calibri"/>
              </a:rPr>
              <a:t> data er beskrever</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037E1E-3FA5-44AD-B79C-09750F72CF9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14003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60363" y="685800"/>
            <a:ext cx="6137275" cy="34290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4C32EF67-B9A3-4913-A098-60F068B7D4D5}" type="slidenum">
              <a:rPr lang="nb-NO" smtClean="0">
                <a:solidFill>
                  <a:prstClr val="black"/>
                </a:solidFill>
              </a:rPr>
              <a:pPr/>
              <a:t>60</a:t>
            </a:fld>
            <a:endParaRPr lang="nb-NO">
              <a:solidFill>
                <a:prstClr val="black"/>
              </a:solidFill>
            </a:endParaRPr>
          </a:p>
        </p:txBody>
      </p:sp>
    </p:spTree>
    <p:extLst>
      <p:ext uri="{BB962C8B-B14F-4D97-AF65-F5344CB8AC3E}">
        <p14:creationId xmlns:p14="http://schemas.microsoft.com/office/powerpoint/2010/main" val="28022876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defRPr/>
            </a:pPr>
            <a:r>
              <a:rPr lang="nb-NO" sz="1400" dirty="0"/>
              <a:t>Fordi</a:t>
            </a:r>
            <a:r>
              <a:rPr lang="nb-NO" sz="1400"/>
              <a:t> </a:t>
            </a:r>
            <a:r>
              <a:rPr lang="nb-NO" sz="1400" dirty="0"/>
              <a:t>vi ser at </a:t>
            </a:r>
          </a:p>
          <a:p>
            <a:pPr marL="285750" indent="-285750">
              <a:buFont typeface="Arial" panose="020B0604020202020204" pitchFamily="34" charset="0"/>
              <a:buChar char="•"/>
              <a:defRPr/>
            </a:pPr>
            <a:r>
              <a:rPr lang="nb-NO" sz="1400">
                <a:solidFill>
                  <a:prstClr val="black"/>
                </a:solidFill>
                <a:latin typeface="Arial" panose="020B0604020202020204"/>
              </a:rPr>
              <a:t>Aktører </a:t>
            </a:r>
            <a:r>
              <a:rPr lang="nb-NO" sz="1400" dirty="0">
                <a:solidFill>
                  <a:prstClr val="black"/>
                </a:solidFill>
                <a:latin typeface="Arial" panose="020B0604020202020204"/>
              </a:rPr>
              <a:t>henger i stadig større grad sammen i lange verdikjeder med en gjennomgående digitalisering</a:t>
            </a:r>
          </a:p>
          <a:p>
            <a:pPr marL="285750" indent="-285750">
              <a:buFont typeface="Arial" panose="020B0604020202020204" pitchFamily="34" charset="0"/>
              <a:buChar char="•"/>
              <a:defRPr/>
            </a:pPr>
            <a:r>
              <a:rPr lang="nb-NO" sz="1400">
                <a:solidFill>
                  <a:prstClr val="black"/>
                </a:solidFill>
                <a:latin typeface="Arial" panose="020B0604020202020204"/>
              </a:rPr>
              <a:t>Etatens </a:t>
            </a:r>
            <a:r>
              <a:rPr lang="nb-NO" sz="1400" dirty="0">
                <a:solidFill>
                  <a:prstClr val="black"/>
                </a:solidFill>
                <a:latin typeface="Arial" panose="020B0604020202020204"/>
              </a:rPr>
              <a:t>oppgaver kan løses i større grad ute i samfunnet, der den økonomiske aktiviteten finner sted</a:t>
            </a:r>
          </a:p>
          <a:p>
            <a:pPr>
              <a:defRPr/>
            </a:pPr>
            <a:endParaRPr lang="nb-NO" sz="1400" dirty="0">
              <a:solidFill>
                <a:prstClr val="black"/>
              </a:solidFill>
              <a:latin typeface="Arial" panose="020B0604020202020204"/>
            </a:endParaRPr>
          </a:p>
          <a:p>
            <a:pPr>
              <a:defRPr/>
            </a:pPr>
            <a:r>
              <a:rPr lang="nb-NO" sz="1400">
                <a:solidFill>
                  <a:prstClr val="black"/>
                </a:solidFill>
                <a:latin typeface="Arial" panose="020B0604020202020204"/>
              </a:rPr>
              <a:t>For </a:t>
            </a:r>
            <a:r>
              <a:rPr lang="nb-NO" sz="1400" dirty="0">
                <a:solidFill>
                  <a:prstClr val="black"/>
                </a:solidFill>
                <a:latin typeface="Arial" panose="020B0604020202020204"/>
              </a:rPr>
              <a:t>å opprettholde tillit og skape transparens er på mange områder er regelverk, standarder og samarbeid viktigere enn intern utvikling for å legge til rette innovative løsninger.</a:t>
            </a:r>
          </a:p>
          <a:p>
            <a:pPr>
              <a:defRPr/>
            </a:pPr>
            <a:r>
              <a:rPr lang="nb-NO" sz="1400">
                <a:solidFill>
                  <a:prstClr val="black"/>
                </a:solidFill>
                <a:latin typeface="Arial" panose="020B0604020202020204"/>
              </a:rPr>
              <a:t>Piloter </a:t>
            </a:r>
            <a:r>
              <a:rPr lang="nb-NO" sz="1400" dirty="0">
                <a:solidFill>
                  <a:prstClr val="black"/>
                </a:solidFill>
                <a:latin typeface="Arial" panose="020B0604020202020204"/>
              </a:rPr>
              <a:t>og innovasjonssamarbeid vil også bli viktigere i årene fremover</a:t>
            </a:r>
          </a:p>
          <a:p>
            <a:endParaRPr lang="nb-NO" sz="1400" b="0"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61</a:t>
            </a:fld>
            <a:endParaRPr kumimoji="0" lang="nb-NO"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2903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Papirindustrien</a:t>
            </a:r>
            <a:r>
              <a:rPr lang="nb-NO" baseline="0"/>
              <a:t> har tjent penger .....</a:t>
            </a:r>
            <a:endParaRPr lang="nb-NO"/>
          </a:p>
        </p:txBody>
      </p:sp>
      <p:sp>
        <p:nvSpPr>
          <p:cNvPr id="4" name="Plassholder for lysbildenummer 3"/>
          <p:cNvSpPr>
            <a:spLocks noGrp="1"/>
          </p:cNvSpPr>
          <p:nvPr>
            <p:ph type="sldNum" sz="quarter" idx="10"/>
          </p:nvPr>
        </p:nvSpPr>
        <p:spPr/>
        <p:txBody>
          <a:bodyPr/>
          <a:lstStyle/>
          <a:p>
            <a:fld id="{F83CC255-62A1-4938-BE7E-761093C82227}" type="slidenum">
              <a:rPr lang="nb-NO" smtClean="0"/>
              <a:pPr/>
              <a:t>7</a:t>
            </a:fld>
            <a:endParaRPr lang="nb-NO" dirty="0"/>
          </a:p>
        </p:txBody>
      </p:sp>
    </p:spTree>
    <p:extLst>
      <p:ext uri="{BB962C8B-B14F-4D97-AF65-F5344CB8AC3E}">
        <p14:creationId xmlns:p14="http://schemas.microsoft.com/office/powerpoint/2010/main" val="31751372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ttp://e24.no/privat/skatt/paa-aere-og-samvittighet-gjennom-100-aar/20350920</a:t>
            </a:r>
          </a:p>
          <a:p>
            <a:endParaRPr lang="nb-NO" dirty="0"/>
          </a:p>
          <a:p>
            <a:pPr fontAlgn="base"/>
            <a:r>
              <a:rPr lang="nb-NO" sz="900" b="0" i="0" kern="1200" dirty="0">
                <a:solidFill>
                  <a:schemeClr val="tx1"/>
                </a:solidFill>
                <a:effectLst/>
                <a:latin typeface="+mn-lt"/>
                <a:ea typeface="+mn-ea"/>
                <a:cs typeface="+mn-cs"/>
              </a:rPr>
              <a:t>Hvor mye tjente du? Der vi i dag får en </a:t>
            </a:r>
            <a:r>
              <a:rPr lang="nb-NO" sz="900" b="0" i="0" kern="1200" dirty="0" err="1">
                <a:solidFill>
                  <a:schemeClr val="tx1"/>
                </a:solidFill>
                <a:effectLst/>
                <a:latin typeface="+mn-lt"/>
                <a:ea typeface="+mn-ea"/>
                <a:cs typeface="+mn-cs"/>
              </a:rPr>
              <a:t>forhåndsutfylt</a:t>
            </a:r>
            <a:r>
              <a:rPr lang="nb-NO" sz="900" b="0" i="0" kern="1200" dirty="0">
                <a:solidFill>
                  <a:schemeClr val="tx1"/>
                </a:solidFill>
                <a:effectLst/>
                <a:latin typeface="+mn-lt"/>
                <a:ea typeface="+mn-ea"/>
                <a:cs typeface="+mn-cs"/>
              </a:rPr>
              <a:t> selvangivelse med inntekt oppgitt var det for 100 år siden vanskeligere å finne ut hva man tjente. </a:t>
            </a:r>
          </a:p>
          <a:p>
            <a:pPr fontAlgn="base"/>
            <a:r>
              <a:rPr lang="nb-NO" sz="900" b="1" kern="1200" dirty="0">
                <a:solidFill>
                  <a:schemeClr val="tx1"/>
                </a:solidFill>
                <a:effectLst/>
                <a:latin typeface="+mn-lt"/>
                <a:ea typeface="+mn-ea"/>
                <a:cs typeface="+mn-cs"/>
              </a:rPr>
              <a:t>Hjelp:</a:t>
            </a:r>
            <a:r>
              <a:rPr lang="nb-NO" sz="900" kern="1200" dirty="0">
                <a:solidFill>
                  <a:schemeClr val="tx1"/>
                </a:solidFill>
                <a:effectLst/>
                <a:latin typeface="+mn-lt"/>
                <a:ea typeface="+mn-ea"/>
                <a:cs typeface="+mn-cs"/>
              </a:rPr>
              <a:t> Dine Penger har gitt skatteråd i 30 år. Vi følger en lang tradisjon, her håndbok fra 1943.</a:t>
            </a:r>
          </a:p>
          <a:p>
            <a:pPr fontAlgn="base"/>
            <a:r>
              <a:rPr lang="nb-NO" sz="900" kern="1200" cap="all" dirty="0">
                <a:solidFill>
                  <a:schemeClr val="tx1"/>
                </a:solidFill>
                <a:effectLst/>
                <a:latin typeface="+mn-lt"/>
                <a:ea typeface="+mn-ea"/>
                <a:cs typeface="+mn-cs"/>
              </a:rPr>
              <a:t>FOTO: BÅRD BRINCHMANN LØVVIG </a:t>
            </a:r>
            <a:r>
              <a:rPr lang="nb-NO" sz="900" i="1" kern="1200" cap="all" dirty="0" err="1">
                <a:solidFill>
                  <a:schemeClr val="tx1"/>
                </a:solidFill>
                <a:effectLst/>
                <a:latin typeface="+mn-lt"/>
                <a:ea typeface="+mn-ea"/>
                <a:cs typeface="+mn-cs"/>
              </a:rPr>
              <a:t>SKATTEETATEN</a:t>
            </a:r>
            <a:r>
              <a:rPr lang="nb-NO" sz="900" b="0" i="0" kern="1200" dirty="0" err="1">
                <a:solidFill>
                  <a:schemeClr val="tx1"/>
                </a:solidFill>
                <a:effectLst/>
                <a:latin typeface="+mn-lt"/>
                <a:ea typeface="+mn-ea"/>
                <a:cs typeface="+mn-cs"/>
              </a:rPr>
              <a:t>Mange</a:t>
            </a:r>
            <a:r>
              <a:rPr lang="nb-NO" sz="900" b="0" i="0" kern="1200" dirty="0">
                <a:solidFill>
                  <a:schemeClr val="tx1"/>
                </a:solidFill>
                <a:effectLst/>
                <a:latin typeface="+mn-lt"/>
                <a:ea typeface="+mn-ea"/>
                <a:cs typeface="+mn-cs"/>
              </a:rPr>
              <a:t> levde av landbruk og/eller fiske. Samtidig var det mye naturalhusholdning der varer ble byttet.</a:t>
            </a:r>
            <a:br>
              <a:rPr lang="nb-NO" sz="900" b="0" i="0" kern="1200" dirty="0">
                <a:solidFill>
                  <a:schemeClr val="tx1"/>
                </a:solidFill>
                <a:effectLst/>
                <a:latin typeface="+mn-lt"/>
                <a:ea typeface="+mn-ea"/>
                <a:cs typeface="+mn-cs"/>
              </a:rPr>
            </a:br>
            <a:endParaRPr lang="nb-NO" sz="900" b="0" i="0" kern="1200" dirty="0">
              <a:solidFill>
                <a:schemeClr val="tx1"/>
              </a:solidFill>
              <a:effectLst/>
              <a:latin typeface="+mn-lt"/>
              <a:ea typeface="+mn-ea"/>
              <a:cs typeface="+mn-cs"/>
            </a:endParaRPr>
          </a:p>
          <a:p>
            <a:pPr fontAlgn="base"/>
            <a:r>
              <a:rPr lang="nb-NO" sz="900" b="0" i="0" kern="1200" dirty="0">
                <a:solidFill>
                  <a:schemeClr val="tx1"/>
                </a:solidFill>
                <a:effectLst/>
                <a:latin typeface="+mn-lt"/>
                <a:ea typeface="+mn-ea"/>
                <a:cs typeface="+mn-cs"/>
              </a:rPr>
              <a:t>Da var det ikke helt lett å fastslå nøyaktige inntekter.</a:t>
            </a:r>
            <a:br>
              <a:rPr lang="nb-NO" sz="900" b="0" i="0" kern="1200" dirty="0">
                <a:solidFill>
                  <a:schemeClr val="tx1"/>
                </a:solidFill>
                <a:effectLst/>
                <a:latin typeface="+mn-lt"/>
                <a:ea typeface="+mn-ea"/>
                <a:cs typeface="+mn-cs"/>
              </a:rPr>
            </a:br>
            <a:endParaRPr lang="nb-NO" sz="900" b="0" i="0" kern="1200" dirty="0">
              <a:solidFill>
                <a:schemeClr val="tx1"/>
              </a:solidFill>
              <a:effectLst/>
              <a:latin typeface="+mn-lt"/>
              <a:ea typeface="+mn-ea"/>
              <a:cs typeface="+mn-cs"/>
            </a:endParaRPr>
          </a:p>
          <a:p>
            <a:pPr fontAlgn="base"/>
            <a:r>
              <a:rPr lang="nb-NO" sz="900" b="0" i="0" kern="1200" dirty="0">
                <a:solidFill>
                  <a:schemeClr val="tx1"/>
                </a:solidFill>
                <a:effectLst/>
                <a:latin typeface="+mn-lt"/>
                <a:ea typeface="+mn-ea"/>
                <a:cs typeface="+mn-cs"/>
              </a:rPr>
              <a:t>Store, kommunale ligningskommisjoner brukte sin lokalkunnskap og sitt skjønn til å anslå innbyggernes inntekt best mulig.</a:t>
            </a:r>
            <a:br>
              <a:rPr lang="nb-NO" sz="900" b="0" i="0" kern="1200" dirty="0">
                <a:solidFill>
                  <a:schemeClr val="tx1"/>
                </a:solidFill>
                <a:effectLst/>
                <a:latin typeface="+mn-lt"/>
                <a:ea typeface="+mn-ea"/>
                <a:cs typeface="+mn-cs"/>
              </a:rPr>
            </a:br>
            <a:endParaRPr lang="nb-NO" sz="900" b="0" i="0" kern="1200" dirty="0">
              <a:solidFill>
                <a:schemeClr val="tx1"/>
              </a:solidFill>
              <a:effectLst/>
              <a:latin typeface="+mn-lt"/>
              <a:ea typeface="+mn-ea"/>
              <a:cs typeface="+mn-cs"/>
            </a:endParaRPr>
          </a:p>
          <a:p>
            <a:pPr fontAlgn="base"/>
            <a:r>
              <a:rPr lang="nb-NO" sz="900" b="1" i="0" kern="1200" dirty="0">
                <a:solidFill>
                  <a:schemeClr val="tx1"/>
                </a:solidFill>
                <a:effectLst/>
                <a:latin typeface="+mn-lt"/>
                <a:ea typeface="+mn-ea"/>
                <a:cs typeface="+mn-cs"/>
              </a:rPr>
              <a:t>Og når inntekten ble fastsatt av en kommisjon, var det også viktig med åpne skattelister så alle kunne se at skatten man selv var pålagt omtrent stemte med den skatten naboen var pålagt.</a:t>
            </a:r>
            <a:endParaRPr lang="nb-NO" sz="900" b="0" i="0" kern="1200" dirty="0">
              <a:solidFill>
                <a:schemeClr val="tx1"/>
              </a:solidFill>
              <a:effectLst/>
              <a:latin typeface="+mn-lt"/>
              <a:ea typeface="+mn-ea"/>
              <a:cs typeface="+mn-cs"/>
            </a:endParaRPr>
          </a:p>
          <a:p>
            <a:endParaRPr lang="nb-NO" dirty="0"/>
          </a:p>
          <a:p>
            <a:r>
              <a:rPr lang="nb-NO" sz="900" b="0" i="0" kern="1200" dirty="0">
                <a:solidFill>
                  <a:schemeClr val="tx1"/>
                </a:solidFill>
                <a:effectLst/>
                <a:latin typeface="+mn-lt"/>
                <a:ea typeface="+mn-ea"/>
                <a:cs typeface="+mn-cs"/>
              </a:rPr>
              <a:t>Selvangivelsen gjorde Skatteetaten om fra en innsamlingsetat til en kontrolletat. Nå kunne skattemyndighetene bruke tiden på å kontrollere informasjonen som var sendt inn av de ulike skattebetalerne.</a:t>
            </a:r>
          </a:p>
          <a:p>
            <a:endParaRPr lang="nb-NO" sz="900" b="0" i="0" kern="1200" dirty="0">
              <a:solidFill>
                <a:schemeClr val="tx1"/>
              </a:solidFill>
              <a:effectLst/>
              <a:latin typeface="+mn-lt"/>
              <a:ea typeface="+mn-ea"/>
              <a:cs typeface="+mn-cs"/>
            </a:endParaRPr>
          </a:p>
          <a:p>
            <a:pPr fontAlgn="base"/>
            <a:r>
              <a:rPr lang="nb-NO" sz="900" b="1" i="0" kern="1200" dirty="0">
                <a:solidFill>
                  <a:schemeClr val="tx1"/>
                </a:solidFill>
                <a:effectLst/>
                <a:latin typeface="+mn-lt"/>
                <a:ea typeface="+mn-ea"/>
                <a:cs typeface="+mn-cs"/>
              </a:rPr>
              <a:t>Men ikke alle leverte selvangivelsen i starten. I Leikanger i Sogn og Fjordane leverte kun 16 av 770 skattepliktige selvangivelsen i 1917.</a:t>
            </a:r>
            <a:br>
              <a:rPr lang="nb-NO" sz="900" b="0" i="0" kern="1200" dirty="0">
                <a:solidFill>
                  <a:schemeClr val="tx1"/>
                </a:solidFill>
                <a:effectLst/>
                <a:latin typeface="+mn-lt"/>
                <a:ea typeface="+mn-ea"/>
                <a:cs typeface="+mn-cs"/>
              </a:rPr>
            </a:br>
            <a:endParaRPr lang="nb-NO" sz="900" b="0" i="0" kern="1200" dirty="0">
              <a:solidFill>
                <a:schemeClr val="tx1"/>
              </a:solidFill>
              <a:effectLst/>
              <a:latin typeface="+mn-lt"/>
              <a:ea typeface="+mn-ea"/>
              <a:cs typeface="+mn-cs"/>
            </a:endParaRPr>
          </a:p>
          <a:p>
            <a:pPr fontAlgn="base"/>
            <a:r>
              <a:rPr lang="nb-NO" sz="900" b="0" i="0" kern="1200" dirty="0" err="1">
                <a:solidFill>
                  <a:schemeClr val="tx1"/>
                </a:solidFill>
                <a:effectLst/>
                <a:latin typeface="+mn-lt"/>
                <a:ea typeface="+mn-ea"/>
                <a:cs typeface="+mn-cs"/>
              </a:rPr>
              <a:t>Dengang</a:t>
            </a:r>
            <a:r>
              <a:rPr lang="nb-NO" sz="900" b="0" i="0" kern="1200" dirty="0">
                <a:solidFill>
                  <a:schemeClr val="tx1"/>
                </a:solidFill>
                <a:effectLst/>
                <a:latin typeface="+mn-lt"/>
                <a:ea typeface="+mn-ea"/>
                <a:cs typeface="+mn-cs"/>
              </a:rPr>
              <a:t> ble de skjønnslignet. Først i 1921 kom straffeskatt for de som ikke leverte.</a:t>
            </a:r>
          </a:p>
          <a:p>
            <a:endParaRPr lang="nb-NO" dirty="0"/>
          </a:p>
          <a:p>
            <a:pPr fontAlgn="base"/>
            <a:r>
              <a:rPr lang="nb-NO" sz="900" b="0" i="0" kern="1200" dirty="0">
                <a:solidFill>
                  <a:schemeClr val="tx1"/>
                </a:solidFill>
                <a:effectLst/>
                <a:latin typeface="+mn-lt"/>
                <a:ea typeface="+mn-ea"/>
                <a:cs typeface="+mn-cs"/>
              </a:rPr>
              <a:t>Postene i dagens selvangivelse er for en stor del uforandret siden 1913. Foruten på likestillingens område.</a:t>
            </a:r>
          </a:p>
          <a:p>
            <a:pPr fontAlgn="base"/>
            <a:r>
              <a:rPr lang="nb-NO" sz="900" b="0" i="0" kern="1200" dirty="0">
                <a:solidFill>
                  <a:schemeClr val="tx1"/>
                </a:solidFill>
                <a:effectLst/>
                <a:latin typeface="+mn-lt"/>
                <a:ea typeface="+mn-ea"/>
                <a:cs typeface="+mn-cs"/>
              </a:rPr>
              <a:t>For selv om kvinner fikk stemmerett i 1913, fikk de ikke leveringsplikt for selvangivelse. De var kun synlige i mannens selvangivelse gjennom posten «forsørgerbyrde».</a:t>
            </a:r>
          </a:p>
          <a:p>
            <a:pPr fontAlgn="base"/>
            <a:r>
              <a:rPr lang="nb-NO" sz="900" b="0" i="0" kern="1200" dirty="0">
                <a:solidFill>
                  <a:schemeClr val="tx1"/>
                </a:solidFill>
                <a:effectLst/>
                <a:latin typeface="+mn-lt"/>
                <a:ea typeface="+mn-ea"/>
                <a:cs typeface="+mn-cs"/>
              </a:rPr>
              <a:t>Først i 1958 ble det kjønnsnøytrale begrepet «ektefelle» brukt i selvangivelsen.</a:t>
            </a:r>
          </a:p>
          <a:p>
            <a:br>
              <a:rPr lang="nb-NO" dirty="0"/>
            </a:b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8</a:t>
            </a:fld>
            <a:endParaRPr lang="nb-NO"/>
          </a:p>
        </p:txBody>
      </p:sp>
    </p:spTree>
    <p:extLst>
      <p:ext uri="{BB962C8B-B14F-4D97-AF65-F5344CB8AC3E}">
        <p14:creationId xmlns:p14="http://schemas.microsoft.com/office/powerpoint/2010/main" val="33602835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dirty="0"/>
              <a:t>Challenges</a:t>
            </a:r>
          </a:p>
          <a:p>
            <a:r>
              <a:rPr lang="en-GB" dirty="0"/>
              <a:t>- Tax avoidance Double Irish</a:t>
            </a:r>
            <a:r>
              <a:rPr lang="en-GB" baseline="0" dirty="0"/>
              <a:t> with a Dutch Sandwich</a:t>
            </a:r>
          </a:p>
          <a:p>
            <a:r>
              <a:rPr lang="en-GB" baseline="0" dirty="0"/>
              <a:t>- Fraud with consumption and origin taxes</a:t>
            </a:r>
          </a:p>
          <a:p>
            <a:r>
              <a:rPr lang="en-GB" baseline="0" dirty="0"/>
              <a:t>- Sharing company protecting data</a:t>
            </a:r>
          </a:p>
          <a:p>
            <a:r>
              <a:rPr lang="en-GB" baseline="0" dirty="0"/>
              <a:t>Possibilities</a:t>
            </a:r>
          </a:p>
          <a:p>
            <a:r>
              <a:rPr lang="en-GB" dirty="0"/>
              <a:t>- </a:t>
            </a:r>
            <a:r>
              <a:rPr lang="en-GB" dirty="0" err="1"/>
              <a:t>Exhange</a:t>
            </a:r>
            <a:r>
              <a:rPr lang="en-GB" dirty="0"/>
              <a:t> data with third parties</a:t>
            </a:r>
          </a:p>
          <a:p>
            <a:r>
              <a:rPr lang="en-GB" dirty="0"/>
              <a:t>- Near</a:t>
            </a:r>
            <a:r>
              <a:rPr lang="en-GB" baseline="0" dirty="0"/>
              <a:t> real-time communication</a:t>
            </a:r>
          </a:p>
          <a:p>
            <a:pPr marL="0" indent="0">
              <a:buFontTx/>
              <a:buNone/>
            </a:pPr>
            <a:r>
              <a:rPr lang="en-GB" dirty="0"/>
              <a:t>- Analyse</a:t>
            </a:r>
            <a:r>
              <a:rPr lang="en-GB" baseline="0" dirty="0"/>
              <a:t> data for patterns and knowledge</a:t>
            </a:r>
          </a:p>
          <a:p>
            <a:pPr marL="0" indent="0">
              <a:buFontTx/>
              <a:buNone/>
            </a:pPr>
            <a:endParaRPr lang="en-GB" baseline="0" dirty="0"/>
          </a:p>
        </p:txBody>
      </p:sp>
      <p:sp>
        <p:nvSpPr>
          <p:cNvPr id="4" name="Plassholder for lysbildenummer 3"/>
          <p:cNvSpPr>
            <a:spLocks noGrp="1"/>
          </p:cNvSpPr>
          <p:nvPr>
            <p:ph type="sldNum" sz="quarter" idx="10"/>
          </p:nvPr>
        </p:nvSpPr>
        <p:spPr/>
        <p:txBody>
          <a:bodyPr/>
          <a:lstStyle/>
          <a:p>
            <a:pPr marL="0" marR="0" lvl="0" indent="0" algn="r" defTabSz="683951" rtl="0" eaLnBrk="1" fontAlgn="auto" latinLnBrk="0" hangingPunct="1">
              <a:lnSpc>
                <a:spcPct val="100000"/>
              </a:lnSpc>
              <a:spcBef>
                <a:spcPts val="0"/>
              </a:spcBef>
              <a:spcAft>
                <a:spcPts val="0"/>
              </a:spcAft>
              <a:buClrTx/>
              <a:buSzTx/>
              <a:buFontTx/>
              <a:buNone/>
              <a:tabLst/>
              <a:defRPr/>
            </a:pPr>
            <a:fld id="{632A0872-C380-4561-BB86-44E3F0E0336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3951"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990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Oppdrags</a:t>
            </a:r>
            <a:r>
              <a:rPr lang="nb-NO" baseline="0" dirty="0"/>
              <a:t> og betalingsstrømmer</a:t>
            </a:r>
          </a:p>
          <a:p>
            <a:r>
              <a:rPr lang="nb-NO" baseline="0" dirty="0"/>
              <a:t>Eks </a:t>
            </a:r>
            <a:r>
              <a:rPr lang="nb-NO" baseline="0" dirty="0" err="1"/>
              <a:t>Paypal</a:t>
            </a:r>
            <a:r>
              <a:rPr lang="nb-NO" baseline="0" dirty="0"/>
              <a:t> som skjuler hvem som får penger, vouchers og kredittkort som har krypterte samleoverføringer til Norge for å unngå Valutaregisteret</a:t>
            </a:r>
          </a:p>
          <a:p>
            <a:r>
              <a:rPr lang="nb-NO" baseline="0" dirty="0"/>
              <a:t>Eks Finn, </a:t>
            </a:r>
            <a:r>
              <a:rPr lang="nb-NO" baseline="0" dirty="0" err="1"/>
              <a:t>Uber</a:t>
            </a:r>
            <a:r>
              <a:rPr lang="nb-NO" baseline="0" dirty="0"/>
              <a:t>, </a:t>
            </a:r>
            <a:r>
              <a:rPr lang="nb-NO" baseline="0" dirty="0" err="1"/>
              <a:t>AirBnB</a:t>
            </a:r>
            <a:r>
              <a:rPr lang="nb-NO" baseline="0" dirty="0"/>
              <a:t> som skjuler hvem som utfører tjenester</a:t>
            </a: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1</a:t>
            </a:fld>
            <a:endParaRPr lang="nb-NO"/>
          </a:p>
        </p:txBody>
      </p:sp>
    </p:spTree>
    <p:extLst>
      <p:ext uri="{BB962C8B-B14F-4D97-AF65-F5344CB8AC3E}">
        <p14:creationId xmlns:p14="http://schemas.microsoft.com/office/powerpoint/2010/main" val="294750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Facebook</a:t>
            </a:r>
            <a:r>
              <a:rPr lang="nb-NO" dirty="0"/>
              <a:t>:</a:t>
            </a:r>
            <a:r>
              <a:rPr lang="nb-NO" baseline="0" dirty="0"/>
              <a:t> Intensjon om å endre firmastruktur for å skatte til Norge fra 2020 (fra et stykke ut i skatteåret 2019)</a:t>
            </a:r>
          </a:p>
          <a:p>
            <a:endParaRPr lang="nb-NO" baseline="0" dirty="0"/>
          </a:p>
          <a:p>
            <a:r>
              <a:rPr lang="nb-NO" baseline="0" dirty="0"/>
              <a:t>Landene betaler derimot MVA for elektroniske tjenester</a:t>
            </a:r>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4</a:t>
            </a:fld>
            <a:endParaRPr lang="nb-NO"/>
          </a:p>
        </p:txBody>
      </p:sp>
    </p:spTree>
    <p:extLst>
      <p:ext uri="{BB962C8B-B14F-4D97-AF65-F5344CB8AC3E}">
        <p14:creationId xmlns:p14="http://schemas.microsoft.com/office/powerpoint/2010/main" val="31818749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Enorm økning i datamengder – Verdien er i sammenstillingen</a:t>
            </a:r>
          </a:p>
          <a:p>
            <a:pPr lvl="1"/>
            <a:r>
              <a:rPr lang="nb-NO" dirty="0"/>
              <a:t>Analyse og maskinlæring</a:t>
            </a:r>
          </a:p>
          <a:p>
            <a:pPr marL="0" marR="0" lvl="0" indent="0" algn="l" defTabSz="683951" rtl="0" eaLnBrk="1" fontAlgn="auto" latinLnBrk="0" hangingPunct="1">
              <a:lnSpc>
                <a:spcPct val="100000"/>
              </a:lnSpc>
              <a:spcBef>
                <a:spcPts val="0"/>
              </a:spcBef>
              <a:spcAft>
                <a:spcPts val="0"/>
              </a:spcAft>
              <a:buClrTx/>
              <a:buSzTx/>
              <a:buFontTx/>
              <a:buNone/>
              <a:tabLst/>
              <a:defRPr/>
            </a:pPr>
            <a:r>
              <a:rPr lang="nb-NO" dirty="0"/>
              <a:t>Kostnadsutvikling – Hardware billigere, programvare og mennesker mer kostbart</a:t>
            </a:r>
          </a:p>
          <a:p>
            <a:endParaRPr lang="nb-NO" dirty="0"/>
          </a:p>
          <a:p>
            <a:r>
              <a:rPr lang="nb-NO" dirty="0"/>
              <a:t>Eks på</a:t>
            </a:r>
          </a:p>
          <a:p>
            <a:pPr marL="171450" indent="-171450">
              <a:buFontTx/>
              <a:buChar char="-"/>
            </a:pPr>
            <a:r>
              <a:rPr lang="nb-NO" dirty="0"/>
              <a:t>Relasjoner mellom individer</a:t>
            </a:r>
          </a:p>
          <a:p>
            <a:pPr marL="171450" indent="-171450">
              <a:buFontTx/>
              <a:buChar char="-"/>
            </a:pPr>
            <a:r>
              <a:rPr lang="nb-NO" dirty="0"/>
              <a:t>Antall endringer på Skattemeldingen</a:t>
            </a:r>
          </a:p>
        </p:txBody>
      </p:sp>
      <p:sp>
        <p:nvSpPr>
          <p:cNvPr id="4" name="Plassholder for lysbildenummer 3"/>
          <p:cNvSpPr>
            <a:spLocks noGrp="1"/>
          </p:cNvSpPr>
          <p:nvPr>
            <p:ph type="sldNum" sz="quarter" idx="10"/>
          </p:nvPr>
        </p:nvSpPr>
        <p:spPr/>
        <p:txBody>
          <a:bodyPr/>
          <a:lstStyle/>
          <a:p>
            <a:fld id="{632A0872-C380-4561-BB86-44E3F0E0336C}" type="slidenum">
              <a:rPr lang="nb-NO" smtClean="0"/>
              <a:t>17</a:t>
            </a:fld>
            <a:endParaRPr lang="nb-NO"/>
          </a:p>
        </p:txBody>
      </p:sp>
    </p:spTree>
    <p:extLst>
      <p:ext uri="{BB962C8B-B14F-4D97-AF65-F5344CB8AC3E}">
        <p14:creationId xmlns:p14="http://schemas.microsoft.com/office/powerpoint/2010/main" val="24009639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https://www.engadget.com/2017/09/17/ai-alzheimers-early-detection/</a:t>
            </a:r>
          </a:p>
          <a:p>
            <a:endParaRPr lang="nb-NO" dirty="0"/>
          </a:p>
        </p:txBody>
      </p:sp>
      <p:sp>
        <p:nvSpPr>
          <p:cNvPr id="4" name="Plassholder for lysbildenummer 3"/>
          <p:cNvSpPr>
            <a:spLocks noGrp="1"/>
          </p:cNvSpPr>
          <p:nvPr>
            <p:ph type="sldNum" sz="quarter" idx="10"/>
          </p:nvPr>
        </p:nvSpPr>
        <p:spPr/>
        <p:txBody>
          <a:bodyPr/>
          <a:lstStyle/>
          <a:p>
            <a:fld id="{632A0872-C380-4561-BB86-44E3F0E0336C}" type="slidenum">
              <a:rPr lang="nb-NO" smtClean="0"/>
              <a:t>18</a:t>
            </a:fld>
            <a:endParaRPr lang="nb-NO"/>
          </a:p>
        </p:txBody>
      </p:sp>
    </p:spTree>
    <p:extLst>
      <p:ext uri="{BB962C8B-B14F-4D97-AF65-F5344CB8AC3E}">
        <p14:creationId xmlns:p14="http://schemas.microsoft.com/office/powerpoint/2010/main" val="24155800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0.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4.svg"/><Relationship Id="rId2" Type="http://schemas.openxmlformats.org/officeDocument/2006/relationships/image" Target="../media/image15.png"/><Relationship Id="rId1" Type="http://schemas.openxmlformats.org/officeDocument/2006/relationships/slideMaster" Target="../slideMasters/slideMaster10.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0" y="2138898"/>
            <a:ext cx="7658373" cy="623248"/>
          </a:xfrm>
        </p:spPr>
        <p:txBody>
          <a:bodyPr wrap="square" anchor="b" anchorCtr="0">
            <a:normAutofit/>
          </a:bodyPr>
          <a:lstStyle>
            <a:lvl1pPr algn="l">
              <a:defRPr sz="4500"/>
            </a:lvl1pPr>
          </a:lstStyle>
          <a:p>
            <a:r>
              <a:rPr lang="nb-NO"/>
              <a:t>Klikk for å redigere tittelstil</a:t>
            </a:r>
            <a:endParaRPr lang="en-US"/>
          </a:p>
        </p:txBody>
      </p:sp>
      <p:sp>
        <p:nvSpPr>
          <p:cNvPr id="3" name="Subtitle 2"/>
          <p:cNvSpPr>
            <a:spLocks noGrp="1"/>
          </p:cNvSpPr>
          <p:nvPr>
            <p:ph type="subTitle" idx="1"/>
          </p:nvPr>
        </p:nvSpPr>
        <p:spPr>
          <a:xfrm>
            <a:off x="324041" y="2888749"/>
            <a:ext cx="6584760" cy="346249"/>
          </a:xfrm>
        </p:spPr>
        <p:txBody>
          <a:bodyPr wrap="square">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
        <p:nvSpPr>
          <p:cNvPr id="9" name="Date Placeholder 3"/>
          <p:cNvSpPr>
            <a:spLocks noGrp="1"/>
          </p:cNvSpPr>
          <p:nvPr>
            <p:ph type="dt" sz="half" idx="10"/>
          </p:nvPr>
        </p:nvSpPr>
        <p:spPr>
          <a:xfrm>
            <a:off x="7462838" y="268201"/>
            <a:ext cx="1340263" cy="153888"/>
          </a:xfrm>
        </p:spPr>
        <p:txBody>
          <a:bodyPr>
            <a:spAutoFit/>
          </a:bodyPr>
          <a:lstStyle>
            <a:lvl1pPr algn="r">
              <a:defRPr sz="1000"/>
            </a:lvl1pPr>
          </a:lstStyle>
          <a:p>
            <a:fld id="{4ECF339B-DE26-4CB1-847D-D0F793D508DD}" type="datetime1">
              <a:rPr lang="nb-NO" smtClean="0"/>
              <a:t>19.10.2022</a:t>
            </a:fld>
            <a:endParaRPr lang="nb-NO"/>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05722807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3688204"/>
            <a:ext cx="6364237" cy="1420371"/>
          </a:xfrm>
          <a:prstGeom prst="rect">
            <a:avLst/>
          </a:prstGeom>
        </p:spPr>
      </p:pic>
      <p:sp>
        <p:nvSpPr>
          <p:cNvPr id="2" name="Title 1"/>
          <p:cNvSpPr>
            <a:spLocks noGrp="1"/>
          </p:cNvSpPr>
          <p:nvPr>
            <p:ph type="title"/>
          </p:nvPr>
        </p:nvSpPr>
        <p:spPr>
          <a:xfrm>
            <a:off x="288036" y="268201"/>
            <a:ext cx="4789290" cy="346249"/>
          </a:xfrm>
        </p:spPr>
        <p:txBody>
          <a:bodyPr wrap="square">
            <a:normAutofit/>
          </a:bodyPr>
          <a:lstStyle>
            <a:lvl1pPr>
              <a:defRPr sz="2500"/>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1B64C1CA-9320-4112-886C-AAF9BAD3F488}" type="datetime1">
              <a:rPr lang="nb-NO" smtClean="0"/>
              <a:t>19.10.2022</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380802346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Kort sitat over bilde">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02508872-F454-40F2-93A7-0F7833D35396}"/>
              </a:ext>
            </a:extLst>
          </p:cNvPr>
          <p:cNvSpPr>
            <a:spLocks noGrp="1"/>
          </p:cNvSpPr>
          <p:nvPr>
            <p:ph type="pic" sz="quarter" idx="14"/>
          </p:nvPr>
        </p:nvSpPr>
        <p:spPr>
          <a:xfrm>
            <a:off x="0" y="0"/>
            <a:ext cx="9145588" cy="5108575"/>
          </a:xfrm>
          <a:solidFill>
            <a:schemeClr val="bg1">
              <a:lumMod val="85000"/>
            </a:schemeClr>
          </a:solidFill>
        </p:spPr>
        <p:txBody>
          <a:bodyPr/>
          <a:lstStyle>
            <a:lvl1pPr marL="0" indent="0">
              <a:buNone/>
              <a:defRPr sz="1341"/>
            </a:lvl1pPr>
          </a:lstStyle>
          <a:p>
            <a:r>
              <a:rPr lang="nb-NO"/>
              <a:t>Klikk på ikonet for å legge til et bilde</a:t>
            </a:r>
            <a:endParaRPr lang="en-US"/>
          </a:p>
        </p:txBody>
      </p:sp>
      <p:sp>
        <p:nvSpPr>
          <p:cNvPr id="4" name="Date Placeholder 3"/>
          <p:cNvSpPr>
            <a:spLocks noGrp="1"/>
          </p:cNvSpPr>
          <p:nvPr>
            <p:ph type="dt" sz="half" idx="10"/>
          </p:nvPr>
        </p:nvSpPr>
        <p:spPr/>
        <p:txBody>
          <a:bodyPr/>
          <a:lstStyle/>
          <a:p>
            <a:fld id="{B0EBD741-0D8D-4551-95C1-B4A04244E88E}"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569686" y="1381139"/>
            <a:ext cx="8014947" cy="717465"/>
          </a:xfrm>
        </p:spPr>
        <p:txBody>
          <a:bodyPr anchor="t"/>
          <a:lstStyle>
            <a:lvl1pPr marL="0" indent="0" algn="l">
              <a:buNone/>
              <a:defRPr sz="1788">
                <a:solidFill>
                  <a:schemeClr val="tx1"/>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sp>
        <p:nvSpPr>
          <p:cNvPr id="3" name="Text Placeholder 2">
            <a:extLst>
              <a:ext uri="{FF2B5EF4-FFF2-40B4-BE49-F238E27FC236}">
                <a16:creationId xmlns:a16="http://schemas.microsoft.com/office/drawing/2014/main" id="{2100E174-471E-41D0-93B5-C5976FD38801}"/>
              </a:ext>
            </a:extLst>
          </p:cNvPr>
          <p:cNvSpPr>
            <a:spLocks noGrp="1"/>
          </p:cNvSpPr>
          <p:nvPr>
            <p:ph type="body" sz="quarter" idx="13" hasCustomPrompt="1"/>
          </p:nvPr>
        </p:nvSpPr>
        <p:spPr>
          <a:xfrm>
            <a:off x="554442" y="243425"/>
            <a:ext cx="856878" cy="241089"/>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a:lvl1pPr>
          </a:lstStyle>
          <a:p>
            <a:pPr lvl="0"/>
            <a:r>
              <a:rPr lang="nb-NO"/>
              <a:t> </a:t>
            </a:r>
          </a:p>
        </p:txBody>
      </p:sp>
      <p:sp>
        <p:nvSpPr>
          <p:cNvPr id="20" name="Title 6">
            <a:extLst>
              <a:ext uri="{FF2B5EF4-FFF2-40B4-BE49-F238E27FC236}">
                <a16:creationId xmlns:a16="http://schemas.microsoft.com/office/drawing/2014/main" id="{E65CEDE9-A0BD-4FE7-884B-C65736228801}"/>
              </a:ext>
            </a:extLst>
          </p:cNvPr>
          <p:cNvSpPr>
            <a:spLocks noGrp="1"/>
          </p:cNvSpPr>
          <p:nvPr>
            <p:ph type="title"/>
          </p:nvPr>
        </p:nvSpPr>
        <p:spPr>
          <a:xfrm>
            <a:off x="569686" y="724584"/>
            <a:ext cx="8014947" cy="538974"/>
          </a:xfrm>
        </p:spPr>
        <p:txBody>
          <a:bodyPr/>
          <a:lstStyle/>
          <a:p>
            <a:r>
              <a:rPr lang="nb-NO"/>
              <a:t>Klikk for å redigere tittelstil</a:t>
            </a:r>
          </a:p>
        </p:txBody>
      </p:sp>
    </p:spTree>
    <p:extLst>
      <p:ext uri="{BB962C8B-B14F-4D97-AF65-F5344CB8AC3E}">
        <p14:creationId xmlns:p14="http://schemas.microsoft.com/office/powerpoint/2010/main" val="283376241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tort sitat">
    <p:bg>
      <p:bgPr>
        <a:solidFill>
          <a:srgbClr val="B04C5C"/>
        </a:solidFill>
        <a:effectLst/>
      </p:bgPr>
    </p:bg>
    <p:spTree>
      <p:nvGrpSpPr>
        <p:cNvPr id="1" name=""/>
        <p:cNvGrpSpPr/>
        <p:nvPr/>
      </p:nvGrpSpPr>
      <p:grpSpPr>
        <a:xfrm>
          <a:off x="0" y="0"/>
          <a:ext cx="0" cy="0"/>
          <a:chOff x="0" y="0"/>
          <a:chExt cx="0" cy="0"/>
        </a:xfrm>
      </p:grpSpPr>
      <p:grpSp>
        <p:nvGrpSpPr>
          <p:cNvPr id="11" name="Bakgrunn">
            <a:extLst>
              <a:ext uri="{FF2B5EF4-FFF2-40B4-BE49-F238E27FC236}">
                <a16:creationId xmlns:a16="http://schemas.microsoft.com/office/drawing/2014/main" id="{7CF5E687-19FC-4990-9CCD-8ADB1D142F30}"/>
              </a:ext>
            </a:extLst>
          </p:cNvPr>
          <p:cNvGrpSpPr/>
          <p:nvPr userDrawn="1"/>
        </p:nvGrpSpPr>
        <p:grpSpPr>
          <a:xfrm>
            <a:off x="0" y="3095654"/>
            <a:ext cx="9145588" cy="2011974"/>
            <a:chOff x="0" y="4155757"/>
            <a:chExt cx="12192000" cy="2700972"/>
          </a:xfrm>
        </p:grpSpPr>
        <p:sp>
          <p:nvSpPr>
            <p:cNvPr id="12" name="Bakgrunn">
              <a:extLst>
                <a:ext uri="{FF2B5EF4-FFF2-40B4-BE49-F238E27FC236}">
                  <a16:creationId xmlns:a16="http://schemas.microsoft.com/office/drawing/2014/main" id="{4B276FCF-2813-4C7C-A441-D348F896E1F7}"/>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15" name="Bakgrunn">
              <a:extLst>
                <a:ext uri="{FF2B5EF4-FFF2-40B4-BE49-F238E27FC236}">
                  <a16:creationId xmlns:a16="http://schemas.microsoft.com/office/drawing/2014/main" id="{041EAC5A-C5AB-4EBB-BC60-C5BB344895D7}"/>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17" name="Bakgrunn">
              <a:extLst>
                <a:ext uri="{FF2B5EF4-FFF2-40B4-BE49-F238E27FC236}">
                  <a16:creationId xmlns:a16="http://schemas.microsoft.com/office/drawing/2014/main" id="{6E713428-1226-4525-9699-F71BA85946F3}"/>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4" name="Date Placeholder 3"/>
          <p:cNvSpPr>
            <a:spLocks noGrp="1"/>
          </p:cNvSpPr>
          <p:nvPr>
            <p:ph type="dt" sz="half" idx="10"/>
          </p:nvPr>
        </p:nvSpPr>
        <p:spPr/>
        <p:txBody>
          <a:bodyPr/>
          <a:lstStyle/>
          <a:p>
            <a:fld id="{64D314EF-3D8A-4105-8F30-0E8A9ED4584F}"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Title 8">
            <a:extLst>
              <a:ext uri="{FF2B5EF4-FFF2-40B4-BE49-F238E27FC236}">
                <a16:creationId xmlns:a16="http://schemas.microsoft.com/office/drawing/2014/main" id="{5157A7B8-686F-4701-BB5A-9440BC2D04EF}"/>
              </a:ext>
            </a:extLst>
          </p:cNvPr>
          <p:cNvSpPr>
            <a:spLocks noGrp="1"/>
          </p:cNvSpPr>
          <p:nvPr>
            <p:ph type="title"/>
          </p:nvPr>
        </p:nvSpPr>
        <p:spPr>
          <a:xfrm>
            <a:off x="1930639" y="768531"/>
            <a:ext cx="5670778" cy="2711226"/>
          </a:xfrm>
        </p:spPr>
        <p:txBody>
          <a:bodyPr anchor="b"/>
          <a:lstStyle>
            <a:lvl1pPr>
              <a:lnSpc>
                <a:spcPct val="101000"/>
              </a:lnSpc>
              <a:defRPr>
                <a:solidFill>
                  <a:srgbClr val="F7E2E8"/>
                </a:solidFill>
              </a:defRPr>
            </a:lvl1pPr>
          </a:lstStyle>
          <a:p>
            <a:r>
              <a:rPr lang="nb-NO"/>
              <a:t>Klikk for å redigere tittelstil</a:t>
            </a:r>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1930639" y="3622579"/>
            <a:ext cx="5670778" cy="717465"/>
          </a:xfrm>
        </p:spPr>
        <p:txBody>
          <a:bodyPr anchor="t"/>
          <a:lstStyle>
            <a:lvl1pPr marL="0" indent="0" algn="l">
              <a:buNone/>
              <a:defRPr sz="1788">
                <a:solidFill>
                  <a:srgbClr val="F7E2E8"/>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pic>
        <p:nvPicPr>
          <p:cNvPr id="7" name="Graphic 6">
            <a:extLst>
              <a:ext uri="{FF2B5EF4-FFF2-40B4-BE49-F238E27FC236}">
                <a16:creationId xmlns:a16="http://schemas.microsoft.com/office/drawing/2014/main" id="{B4AC8500-436A-468E-8150-B0527F7B2A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4443" y="243425"/>
            <a:ext cx="856879" cy="241089"/>
          </a:xfrm>
          <a:prstGeom prst="rect">
            <a:avLst/>
          </a:prstGeom>
        </p:spPr>
      </p:pic>
    </p:spTree>
    <p:extLst>
      <p:ext uri="{BB962C8B-B14F-4D97-AF65-F5344CB8AC3E}">
        <p14:creationId xmlns:p14="http://schemas.microsoft.com/office/powerpoint/2010/main" val="118874097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all">
    <p:bg>
      <p:bgPr>
        <a:solidFill>
          <a:srgbClr val="F06B78"/>
        </a:solidFill>
        <a:effectLst/>
      </p:bgPr>
    </p:bg>
    <p:spTree>
      <p:nvGrpSpPr>
        <p:cNvPr id="1" name=""/>
        <p:cNvGrpSpPr/>
        <p:nvPr/>
      </p:nvGrpSpPr>
      <p:grpSpPr>
        <a:xfrm>
          <a:off x="0" y="0"/>
          <a:ext cx="0" cy="0"/>
          <a:chOff x="0" y="0"/>
          <a:chExt cx="0" cy="0"/>
        </a:xfrm>
      </p:grpSpPr>
      <p:grpSp>
        <p:nvGrpSpPr>
          <p:cNvPr id="17" name="Bakgrunn">
            <a:extLst>
              <a:ext uri="{FF2B5EF4-FFF2-40B4-BE49-F238E27FC236}">
                <a16:creationId xmlns:a16="http://schemas.microsoft.com/office/drawing/2014/main" id="{C462364D-67E9-4D19-A101-25D21078F33B}"/>
              </a:ext>
            </a:extLst>
          </p:cNvPr>
          <p:cNvGrpSpPr/>
          <p:nvPr userDrawn="1"/>
        </p:nvGrpSpPr>
        <p:grpSpPr>
          <a:xfrm>
            <a:off x="0" y="3095654"/>
            <a:ext cx="9145588" cy="2011974"/>
            <a:chOff x="0" y="4155757"/>
            <a:chExt cx="12192000" cy="2700972"/>
          </a:xfrm>
        </p:grpSpPr>
        <p:sp>
          <p:nvSpPr>
            <p:cNvPr id="18" name="Bakgrunn">
              <a:extLst>
                <a:ext uri="{FF2B5EF4-FFF2-40B4-BE49-F238E27FC236}">
                  <a16:creationId xmlns:a16="http://schemas.microsoft.com/office/drawing/2014/main" id="{87E056BA-BBDA-4A04-9108-937096019790}"/>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19" name="Bakgrunn">
              <a:extLst>
                <a:ext uri="{FF2B5EF4-FFF2-40B4-BE49-F238E27FC236}">
                  <a16:creationId xmlns:a16="http://schemas.microsoft.com/office/drawing/2014/main" id="{D5FF8474-B585-467E-8194-8823666BC771}"/>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20" name="Bakgrunn">
              <a:extLst>
                <a:ext uri="{FF2B5EF4-FFF2-40B4-BE49-F238E27FC236}">
                  <a16:creationId xmlns:a16="http://schemas.microsoft.com/office/drawing/2014/main" id="{61E65A7C-3A41-444A-ACC5-040AFC966438}"/>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4" name="Date Placeholder 3"/>
          <p:cNvSpPr>
            <a:spLocks noGrp="1"/>
          </p:cNvSpPr>
          <p:nvPr>
            <p:ph type="dt" sz="half" idx="10"/>
          </p:nvPr>
        </p:nvSpPr>
        <p:spPr/>
        <p:txBody>
          <a:bodyPr/>
          <a:lstStyle/>
          <a:p>
            <a:fld id="{CA20B70D-7246-444B-A37A-7FFF9451337F}"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Title 8">
            <a:extLst>
              <a:ext uri="{FF2B5EF4-FFF2-40B4-BE49-F238E27FC236}">
                <a16:creationId xmlns:a16="http://schemas.microsoft.com/office/drawing/2014/main" id="{5157A7B8-686F-4701-BB5A-9440BC2D04EF}"/>
              </a:ext>
            </a:extLst>
          </p:cNvPr>
          <p:cNvSpPr>
            <a:spLocks noGrp="1"/>
          </p:cNvSpPr>
          <p:nvPr>
            <p:ph type="title" hasCustomPrompt="1"/>
          </p:nvPr>
        </p:nvSpPr>
        <p:spPr>
          <a:xfrm>
            <a:off x="554443" y="1731901"/>
            <a:ext cx="8030190" cy="1160088"/>
          </a:xfrm>
        </p:spPr>
        <p:txBody>
          <a:bodyPr anchor="ctr"/>
          <a:lstStyle>
            <a:lvl1pPr algn="ctr">
              <a:lnSpc>
                <a:spcPct val="101000"/>
              </a:lnSpc>
              <a:defRPr sz="7450">
                <a:solidFill>
                  <a:schemeClr val="tx1"/>
                </a:solidFill>
              </a:defRPr>
            </a:lvl1pPr>
          </a:lstStyle>
          <a:p>
            <a:r>
              <a:rPr lang="nb-NO"/>
              <a:t>00.00.00.00</a:t>
            </a:r>
          </a:p>
        </p:txBody>
      </p:sp>
      <p:sp>
        <p:nvSpPr>
          <p:cNvPr id="14" name="Subtitle 2">
            <a:extLst>
              <a:ext uri="{FF2B5EF4-FFF2-40B4-BE49-F238E27FC236}">
                <a16:creationId xmlns:a16="http://schemas.microsoft.com/office/drawing/2014/main" id="{8342DD6F-DBEC-4740-8ADC-E18DEC14CE60}"/>
              </a:ext>
            </a:extLst>
          </p:cNvPr>
          <p:cNvSpPr>
            <a:spLocks noGrp="1"/>
          </p:cNvSpPr>
          <p:nvPr>
            <p:ph type="subTitle" idx="1"/>
          </p:nvPr>
        </p:nvSpPr>
        <p:spPr>
          <a:xfrm>
            <a:off x="554441" y="2960791"/>
            <a:ext cx="8030191" cy="264713"/>
          </a:xfrm>
        </p:spPr>
        <p:txBody>
          <a:bodyPr anchor="t"/>
          <a:lstStyle>
            <a:lvl1pPr marL="0" indent="0" algn="ctr">
              <a:buNone/>
              <a:defRPr sz="1788">
                <a:solidFill>
                  <a:schemeClr val="tx1"/>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pic>
        <p:nvPicPr>
          <p:cNvPr id="7" name="Graphic 6">
            <a:extLst>
              <a:ext uri="{FF2B5EF4-FFF2-40B4-BE49-F238E27FC236}">
                <a16:creationId xmlns:a16="http://schemas.microsoft.com/office/drawing/2014/main" id="{B4AC8500-436A-468E-8150-B0527F7B2A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4443" y="243425"/>
            <a:ext cx="856879" cy="241089"/>
          </a:xfrm>
          <a:prstGeom prst="rect">
            <a:avLst/>
          </a:prstGeom>
        </p:spPr>
      </p:pic>
      <p:sp>
        <p:nvSpPr>
          <p:cNvPr id="13" name="addin_background" hidden="1">
            <a:extLst>
              <a:ext uri="{FF2B5EF4-FFF2-40B4-BE49-F238E27FC236}">
                <a16:creationId xmlns:a16="http://schemas.microsoft.com/office/drawing/2014/main" id="{19A89FA5-F095-4251-BB86-50DCFF56FEF0}"/>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
        <p:nvSpPr>
          <p:cNvPr id="15" name="addin_colorlist" hidden="1">
            <a:extLst>
              <a:ext uri="{FF2B5EF4-FFF2-40B4-BE49-F238E27FC236}">
                <a16:creationId xmlns:a16="http://schemas.microsoft.com/office/drawing/2014/main" id="{F25F46A1-B1B5-4E81-AF13-0AF1D372DC31}"/>
              </a:ext>
            </a:extLst>
          </p:cNvPr>
          <p:cNvSpPr/>
          <p:nvPr userDrawn="1"/>
        </p:nvSpPr>
        <p:spPr>
          <a:xfrm>
            <a:off x="1214288" y="-494158"/>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a:t>
            </a:r>
          </a:p>
        </p:txBody>
      </p:sp>
    </p:spTree>
    <p:extLst>
      <p:ext uri="{BB962C8B-B14F-4D97-AF65-F5344CB8AC3E}">
        <p14:creationId xmlns:p14="http://schemas.microsoft.com/office/powerpoint/2010/main" val="9010320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Åpen">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3DB426-8989-4786-A724-C5FC83653E2E}" type="datetime1">
              <a:rPr lang="nb-NO" smtClean="0"/>
              <a:t>19.10.2022</a:t>
            </a:fld>
            <a:endParaRPr lang="nb-NO"/>
          </a:p>
        </p:txBody>
      </p:sp>
      <p:sp>
        <p:nvSpPr>
          <p:cNvPr id="3" name="Footer Placeholder 2"/>
          <p:cNvSpPr>
            <a:spLocks noGrp="1"/>
          </p:cNvSpPr>
          <p:nvPr>
            <p:ph type="ftr" sz="quarter" idx="11"/>
          </p:nvPr>
        </p:nvSpPr>
        <p:spPr/>
        <p:txBody>
          <a:bodyPr/>
          <a:lstStyle/>
          <a:p>
            <a:endParaRPr lang="nb-NO"/>
          </a:p>
        </p:txBody>
      </p:sp>
      <p:sp>
        <p:nvSpPr>
          <p:cNvPr id="4" name="Slide Number Placeholder 3"/>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28409430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3688204"/>
            <a:ext cx="6364237" cy="1420371"/>
          </a:xfrm>
          <a:prstGeom prst="rect">
            <a:avLst/>
          </a:prstGeom>
        </p:spPr>
      </p:pic>
      <p:sp>
        <p:nvSpPr>
          <p:cNvPr id="2" name="Title 1"/>
          <p:cNvSpPr>
            <a:spLocks noGrp="1"/>
          </p:cNvSpPr>
          <p:nvPr>
            <p:ph type="title"/>
          </p:nvPr>
        </p:nvSpPr>
        <p:spPr>
          <a:xfrm>
            <a:off x="288036" y="268201"/>
            <a:ext cx="4789290" cy="346249"/>
          </a:xfrm>
        </p:spPr>
        <p:txBody>
          <a:bodyPr wrap="square">
            <a:normAutofit/>
          </a:bodyPr>
          <a:lstStyle>
            <a:lvl1pPr>
              <a:defRPr sz="2500"/>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1B64C1CA-9320-4112-886C-AAF9BAD3F488}" type="datetime1">
              <a:rPr lang="nb-NO" smtClean="0"/>
              <a:t>19.10.2022</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14533800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12173DBC-4668-4C86-BB6C-D39D054CCB24}"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1462610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Date Placeholder 2"/>
          <p:cNvSpPr>
            <a:spLocks noGrp="1"/>
          </p:cNvSpPr>
          <p:nvPr>
            <p:ph type="dt" sz="half" idx="10"/>
          </p:nvPr>
        </p:nvSpPr>
        <p:spPr/>
        <p:txBody>
          <a:bodyPr/>
          <a:lstStyle/>
          <a:p>
            <a:fld id="{1888B4D8-30BE-4278-A30B-1A30A290A96B}" type="datetime4">
              <a:rPr lang="nb-NO" smtClean="0">
                <a:solidFill>
                  <a:prstClr val="black"/>
                </a:solidFill>
              </a:rPr>
              <a:pPr/>
              <a:t>19. oktober 2022</a:t>
            </a:fld>
            <a:endParaRPr lang="nb-NO" dirty="0">
              <a:solidFill>
                <a:prstClr val="black"/>
              </a:solidFill>
            </a:endParaRPr>
          </a:p>
        </p:txBody>
      </p:sp>
      <p:sp>
        <p:nvSpPr>
          <p:cNvPr id="4" name="Footer Placeholder 3"/>
          <p:cNvSpPr>
            <a:spLocks noGrp="1"/>
          </p:cNvSpPr>
          <p:nvPr>
            <p:ph type="ftr" sz="quarter" idx="11"/>
          </p:nvPr>
        </p:nvSpPr>
        <p:spPr/>
        <p:txBody>
          <a:bodyPr/>
          <a:lstStyle/>
          <a:p>
            <a:endParaRPr lang="nb-NO" dirty="0">
              <a:solidFill>
                <a:prstClr val="black"/>
              </a:solidFill>
            </a:endParaRPr>
          </a:p>
        </p:txBody>
      </p:sp>
      <p:sp>
        <p:nvSpPr>
          <p:cNvPr id="5" name="Slide Number Placeholder 4"/>
          <p:cNvSpPr>
            <a:spLocks noGrp="1"/>
          </p:cNvSpPr>
          <p:nvPr>
            <p:ph type="sldNum" sz="quarter" idx="12"/>
          </p:nvPr>
        </p:nvSpPr>
        <p:spPr/>
        <p:txBody>
          <a:bodyPr/>
          <a:lstStyle/>
          <a:p>
            <a:fld id="{D8865200-363A-4A27-BFE2-9D2920C8E885}" type="slidenum">
              <a:rPr lang="nb-NO" smtClean="0">
                <a:solidFill>
                  <a:prstClr val="black"/>
                </a:solidFill>
              </a:rPr>
              <a:pPr/>
              <a:t>‹#›</a:t>
            </a:fld>
            <a:endParaRPr lang="nb-NO" dirty="0">
              <a:solidFill>
                <a:prstClr val="black"/>
              </a:solidFill>
            </a:endParaRPr>
          </a:p>
        </p:txBody>
      </p:sp>
    </p:spTree>
    <p:extLst>
      <p:ext uri="{BB962C8B-B14F-4D97-AF65-F5344CB8AC3E}">
        <p14:creationId xmlns:p14="http://schemas.microsoft.com/office/powerpoint/2010/main" val="25925621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Tom">
    <p:spTree>
      <p:nvGrpSpPr>
        <p:cNvPr id="1" name=""/>
        <p:cNvGrpSpPr/>
        <p:nvPr/>
      </p:nvGrpSpPr>
      <p:grpSpPr>
        <a:xfrm>
          <a:off x="0" y="0"/>
          <a:ext cx="0" cy="0"/>
          <a:chOff x="0" y="0"/>
          <a:chExt cx="0" cy="0"/>
        </a:xfrm>
      </p:grpSpPr>
      <p:sp>
        <p:nvSpPr>
          <p:cNvPr id="2" name="Slide Number Placeholder 4"/>
          <p:cNvSpPr>
            <a:spLocks noGrp="1"/>
          </p:cNvSpPr>
          <p:nvPr>
            <p:ph type="sldNum" sz="quarter" idx="10"/>
          </p:nvPr>
        </p:nvSpPr>
        <p:spPr>
          <a:xfrm>
            <a:off x="0" y="4752237"/>
            <a:ext cx="9145588" cy="356339"/>
          </a:xfrm>
        </p:spPr>
        <p:txBody>
          <a:bodyPr/>
          <a:lstStyle>
            <a:lvl1pPr>
              <a:defRPr/>
            </a:lvl1pPr>
          </a:lstStyle>
          <a:p>
            <a:pPr>
              <a:defRPr/>
            </a:pPr>
            <a:fld id="{40AFD12D-DE06-46D0-8216-235446804154}" type="slidenum">
              <a:rPr lang="en-US" altLang="nb-NO">
                <a:solidFill>
                  <a:srgbClr val="FFFFFF"/>
                </a:solidFill>
              </a:rPr>
              <a:pPr>
                <a:defRPr/>
              </a:pPr>
              <a:t>‹#›</a:t>
            </a:fld>
            <a:endParaRPr lang="en-US" altLang="nb-NO">
              <a:solidFill>
                <a:srgbClr val="FFFFFF"/>
              </a:solidFill>
            </a:endParaRPr>
          </a:p>
        </p:txBody>
      </p:sp>
    </p:spTree>
    <p:extLst>
      <p:ext uri="{BB962C8B-B14F-4D97-AF65-F5344CB8AC3E}">
        <p14:creationId xmlns:p14="http://schemas.microsoft.com/office/powerpoint/2010/main" val="2251774062"/>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kst og bilde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5" name="Date Placeholder 4"/>
          <p:cNvSpPr>
            <a:spLocks noGrp="1"/>
          </p:cNvSpPr>
          <p:nvPr>
            <p:ph type="dt" sz="half" idx="10"/>
          </p:nvPr>
        </p:nvSpPr>
        <p:spPr/>
        <p:txBody>
          <a:bodyPr/>
          <a:lstStyle/>
          <a:p>
            <a:fld id="{73843D7D-4E0F-407F-86DA-06DB501B0888}" type="datetime4">
              <a:rPr lang="nb-NO" smtClean="0"/>
              <a:t>19. oktober 2022</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dirty="0"/>
              <a:t>Trykk for å endre bilde</a:t>
            </a:r>
          </a:p>
        </p:txBody>
      </p:sp>
      <p:sp>
        <p:nvSpPr>
          <p:cNvPr id="2" name="Tittel 1"/>
          <p:cNvSpPr>
            <a:spLocks noGrp="1"/>
          </p:cNvSpPr>
          <p:nvPr>
            <p:ph type="title"/>
          </p:nvPr>
        </p:nvSpPr>
        <p:spPr>
          <a:xfrm>
            <a:off x="321980" y="1296192"/>
            <a:ext cx="3796676" cy="987421"/>
          </a:xfrm>
        </p:spPr>
        <p:txBody>
          <a:bodyPr/>
          <a:lstStyle/>
          <a:p>
            <a:r>
              <a:rPr lang="nb-NO" dirty="0"/>
              <a:t>Klikk for å redigere tittelstil</a:t>
            </a:r>
          </a:p>
        </p:txBody>
      </p:sp>
    </p:spTree>
    <p:extLst>
      <p:ext uri="{BB962C8B-B14F-4D97-AF65-F5344CB8AC3E}">
        <p14:creationId xmlns:p14="http://schemas.microsoft.com/office/powerpoint/2010/main" val="9679895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tel og to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7" y="1451132"/>
            <a:ext cx="3852287"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503AE893-AFB7-4026-955E-405B34AE2019}"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Content Placeholder 2">
            <a:extLst>
              <a:ext uri="{FF2B5EF4-FFF2-40B4-BE49-F238E27FC236}">
                <a16:creationId xmlns:a16="http://schemas.microsoft.com/office/drawing/2014/main" id="{503AE412-FB90-4F94-8A62-589A40D324A1}"/>
              </a:ext>
            </a:extLst>
          </p:cNvPr>
          <p:cNvSpPr>
            <a:spLocks noGrp="1"/>
          </p:cNvSpPr>
          <p:nvPr>
            <p:ph idx="13"/>
          </p:nvPr>
        </p:nvSpPr>
        <p:spPr>
          <a:xfrm>
            <a:off x="4732346" y="1451132"/>
            <a:ext cx="3852287"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Title 6">
            <a:extLst>
              <a:ext uri="{FF2B5EF4-FFF2-40B4-BE49-F238E27FC236}">
                <a16:creationId xmlns:a16="http://schemas.microsoft.com/office/drawing/2014/main" id="{188AAF06-1E9C-4156-BD9D-AFBED75C541C}"/>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8" name="addin_colorlist" hidden="1">
            <a:extLst>
              <a:ext uri="{FF2B5EF4-FFF2-40B4-BE49-F238E27FC236}">
                <a16:creationId xmlns:a16="http://schemas.microsoft.com/office/drawing/2014/main" id="{90151B8E-D081-4152-AE3D-BEABABD388E2}"/>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1" name="addin_background" hidden="1">
            <a:extLst>
              <a:ext uri="{FF2B5EF4-FFF2-40B4-BE49-F238E27FC236}">
                <a16:creationId xmlns:a16="http://schemas.microsoft.com/office/drawing/2014/main" id="{44982541-6302-41EB-8C8D-9635C5E86EBD}"/>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3277163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6" y="1451132"/>
            <a:ext cx="8001488"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B506136A-E4F7-418E-AC0A-370F57318017}"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10" name="addin_colorlist" hidden="1">
            <a:extLst>
              <a:ext uri="{FF2B5EF4-FFF2-40B4-BE49-F238E27FC236}">
                <a16:creationId xmlns:a16="http://schemas.microsoft.com/office/drawing/2014/main" id="{AC01F75F-3AC5-499D-90C7-BFA236894EAA}"/>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1" name="addin_background" hidden="1">
            <a:extLst>
              <a:ext uri="{FF2B5EF4-FFF2-40B4-BE49-F238E27FC236}">
                <a16:creationId xmlns:a16="http://schemas.microsoft.com/office/drawing/2014/main" id="{4E123E27-263D-4100-9317-A8768E9499DF}"/>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233254571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C49A2095-D1C6-4098-B821-5D201A26CF2C}"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25163519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12173DBC-4668-4C86-BB6C-D39D054CCB24}"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32650862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5"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0C27853C-4794-44B2-A8FB-82E8C67B7A42}" type="datetime1">
              <a:rPr lang="nb-NO" smtClean="0"/>
              <a:t>19.10.2022</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7995043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 innhold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F41DCAA8-32D3-4B7F-AE3D-C5F579A62091}" type="datetime1">
              <a:rPr lang="nb-NO" smtClean="0"/>
              <a:t>19.10.2022</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2" name="Tittel 1"/>
          <p:cNvSpPr>
            <a:spLocks noGrp="1"/>
          </p:cNvSpPr>
          <p:nvPr>
            <p:ph type="title"/>
          </p:nvPr>
        </p:nvSpPr>
        <p:spPr>
          <a:xfrm>
            <a:off x="321980" y="1296192"/>
            <a:ext cx="3796676" cy="987421"/>
          </a:xfrm>
        </p:spPr>
        <p:txBody>
          <a:bodyPr/>
          <a:lstStyle/>
          <a:p>
            <a:r>
              <a:rPr lang="nb-NO"/>
              <a:t>Klikk for å redigere tittelstil</a:t>
            </a:r>
          </a:p>
        </p:txBody>
      </p:sp>
      <p:sp>
        <p:nvSpPr>
          <p:cNvPr id="3" name="Plassholder for innhold 2"/>
          <p:cNvSpPr>
            <a:spLocks noGrp="1"/>
          </p:cNvSpPr>
          <p:nvPr>
            <p:ph sz="quarter" idx="14"/>
          </p:nvPr>
        </p:nvSpPr>
        <p:spPr>
          <a:xfrm>
            <a:off x="4718342" y="1341002"/>
            <a:ext cx="4118656" cy="3495989"/>
          </a:xfrm>
          <a:prstGeom prst="rect">
            <a:avLst/>
          </a:prstGeom>
        </p:spPr>
        <p:txBody>
          <a:bodyPr lIns="0" tIns="0" rIns="0" bIns="670365"/>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837101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 innhold uten tittel">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13D7FBC7-EDA8-4D0B-8AC9-76D4E6BEDF6A}" type="datetime1">
              <a:rPr lang="nb-NO" smtClean="0"/>
              <a:t>19.10.2022</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95629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sz="half" idx="1"/>
          </p:nvPr>
        </p:nvSpPr>
        <p:spPr>
          <a:xfrm>
            <a:off x="321979"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Content Placeholder 3"/>
          <p:cNvSpPr>
            <a:spLocks noGrp="1"/>
          </p:cNvSpPr>
          <p:nvPr>
            <p:ph sz="half" idx="2"/>
          </p:nvPr>
        </p:nvSpPr>
        <p:spPr>
          <a:xfrm>
            <a:off x="4718342"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94DE49DE-99D8-4BB8-B854-D2D30117EC25}" type="datetime1">
              <a:rPr lang="nb-NO" smtClean="0"/>
              <a:t>19.10.2022</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25809676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979" y="2283613"/>
            <a:ext cx="4118656" cy="613739"/>
          </a:xfrm>
        </p:spPr>
        <p:txBody>
          <a:bodyPr anchor="b"/>
          <a:lstStyle>
            <a:lvl1pPr marL="0" indent="0">
              <a:buNone/>
              <a:defRPr sz="1800" b="1"/>
            </a:lvl1pPr>
            <a:lvl2pPr marL="340545" indent="0">
              <a:buNone/>
              <a:defRPr sz="1500" b="1"/>
            </a:lvl2pPr>
            <a:lvl3pPr marL="681091" indent="0">
              <a:buNone/>
              <a:defRPr sz="1300" b="1"/>
            </a:lvl3pPr>
            <a:lvl4pPr marL="1021636" indent="0">
              <a:buNone/>
              <a:defRPr sz="1200" b="1"/>
            </a:lvl4pPr>
            <a:lvl5pPr marL="1362183" indent="0">
              <a:buNone/>
              <a:defRPr sz="1200" b="1"/>
            </a:lvl5pPr>
            <a:lvl6pPr marL="1702727" indent="0">
              <a:buNone/>
              <a:defRPr sz="1200" b="1"/>
            </a:lvl6pPr>
            <a:lvl7pPr marL="2043272" indent="0">
              <a:buNone/>
              <a:defRPr sz="1200" b="1"/>
            </a:lvl7pPr>
            <a:lvl8pPr marL="2383818" indent="0">
              <a:buNone/>
              <a:defRPr sz="1200" b="1"/>
            </a:lvl8pPr>
            <a:lvl9pPr marL="2724363" indent="0">
              <a:buNone/>
              <a:defRPr sz="1200" b="1"/>
            </a:lvl9pPr>
          </a:lstStyle>
          <a:p>
            <a:pPr lvl="0"/>
            <a:r>
              <a:rPr lang="nb-NO"/>
              <a:t>Klikk for å redigere tekststiler i malen</a:t>
            </a:r>
          </a:p>
        </p:txBody>
      </p:sp>
      <p:sp>
        <p:nvSpPr>
          <p:cNvPr id="5" name="Text Placeholder 4"/>
          <p:cNvSpPr>
            <a:spLocks noGrp="1"/>
          </p:cNvSpPr>
          <p:nvPr>
            <p:ph type="body" sz="quarter" idx="3"/>
          </p:nvPr>
        </p:nvSpPr>
        <p:spPr>
          <a:xfrm>
            <a:off x="4718342" y="2283613"/>
            <a:ext cx="4118656" cy="613739"/>
          </a:xfrm>
        </p:spPr>
        <p:txBody>
          <a:bodyPr anchor="b"/>
          <a:lstStyle>
            <a:lvl1pPr marL="0" indent="0">
              <a:buNone/>
              <a:defRPr sz="1800" b="1"/>
            </a:lvl1pPr>
            <a:lvl2pPr marL="340545" indent="0">
              <a:buNone/>
              <a:defRPr sz="1500" b="1"/>
            </a:lvl2pPr>
            <a:lvl3pPr marL="681091" indent="0">
              <a:buNone/>
              <a:defRPr sz="1300" b="1"/>
            </a:lvl3pPr>
            <a:lvl4pPr marL="1021636" indent="0">
              <a:buNone/>
              <a:defRPr sz="1200" b="1"/>
            </a:lvl4pPr>
            <a:lvl5pPr marL="1362183" indent="0">
              <a:buNone/>
              <a:defRPr sz="1200" b="1"/>
            </a:lvl5pPr>
            <a:lvl6pPr marL="1702727" indent="0">
              <a:buNone/>
              <a:defRPr sz="1200" b="1"/>
            </a:lvl6pPr>
            <a:lvl7pPr marL="2043272" indent="0">
              <a:buNone/>
              <a:defRPr sz="1200" b="1"/>
            </a:lvl7pPr>
            <a:lvl8pPr marL="2383818" indent="0">
              <a:buNone/>
              <a:defRPr sz="1200" b="1"/>
            </a:lvl8pPr>
            <a:lvl9pPr marL="2724363" indent="0">
              <a:buNone/>
              <a:defRPr sz="1200" b="1"/>
            </a:lvl9pPr>
          </a:lstStyle>
          <a:p>
            <a:pPr lvl="0"/>
            <a:r>
              <a:rPr lang="nb-NO"/>
              <a:t>Klikk for å redigere tekststiler i malen</a:t>
            </a:r>
          </a:p>
        </p:txBody>
      </p:sp>
      <p:sp>
        <p:nvSpPr>
          <p:cNvPr id="7" name="Date Placeholder 6"/>
          <p:cNvSpPr>
            <a:spLocks noGrp="1"/>
          </p:cNvSpPr>
          <p:nvPr>
            <p:ph type="dt" sz="half" idx="10"/>
          </p:nvPr>
        </p:nvSpPr>
        <p:spPr/>
        <p:txBody>
          <a:bodyPr/>
          <a:lstStyle/>
          <a:p>
            <a:fld id="{EC0C6847-D9A7-4046-85F2-BF34B6C61E96}" type="datetime1">
              <a:rPr lang="nb-NO" smtClean="0"/>
              <a:t>19.10.2022</a:t>
            </a:fld>
            <a:endParaRPr lang="nb-NO"/>
          </a:p>
        </p:txBody>
      </p:sp>
      <p:sp>
        <p:nvSpPr>
          <p:cNvPr id="8" name="Footer Placeholder 7"/>
          <p:cNvSpPr>
            <a:spLocks noGrp="1"/>
          </p:cNvSpPr>
          <p:nvPr>
            <p:ph type="ftr" sz="quarter" idx="11"/>
          </p:nvPr>
        </p:nvSpPr>
        <p:spPr/>
        <p:txBody>
          <a:bodyPr/>
          <a:lstStyle/>
          <a:p>
            <a:endParaRPr lang="nb-NO"/>
          </a:p>
        </p:txBody>
      </p:sp>
      <p:sp>
        <p:nvSpPr>
          <p:cNvPr id="9" name="Slide Number Placeholder 8"/>
          <p:cNvSpPr>
            <a:spLocks noGrp="1"/>
          </p:cNvSpPr>
          <p:nvPr>
            <p:ph type="sldNum" sz="quarter" idx="12"/>
          </p:nvPr>
        </p:nvSpPr>
        <p:spPr/>
        <p:txBody>
          <a:bodyPr/>
          <a:lstStyle/>
          <a:p>
            <a:fld id="{D8865200-363A-4A27-BFE2-9D2920C8E885}" type="slidenum">
              <a:rPr lang="nb-NO" smtClean="0"/>
              <a:t>‹#›</a:t>
            </a:fld>
            <a:endParaRPr lang="nb-NO"/>
          </a:p>
        </p:txBody>
      </p:sp>
      <p:sp>
        <p:nvSpPr>
          <p:cNvPr id="10" name="Tittel 9"/>
          <p:cNvSpPr>
            <a:spLocks noGrp="1"/>
          </p:cNvSpPr>
          <p:nvPr>
            <p:ph type="title"/>
          </p:nvPr>
        </p:nvSpPr>
        <p:spPr/>
        <p:txBody>
          <a:bodyPr/>
          <a:lstStyle/>
          <a:p>
            <a:r>
              <a:rPr lang="nb-NO"/>
              <a:t>Klikk for å redigere tittelstil</a:t>
            </a:r>
          </a:p>
        </p:txBody>
      </p:sp>
      <p:sp>
        <p:nvSpPr>
          <p:cNvPr id="11" name="Content Placeholder 2"/>
          <p:cNvSpPr>
            <a:spLocks noGrp="1"/>
          </p:cNvSpPr>
          <p:nvPr>
            <p:ph sz="half" idx="13"/>
          </p:nvPr>
        </p:nvSpPr>
        <p:spPr>
          <a:xfrm>
            <a:off x="321979" y="2897350"/>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2" name="Content Placeholder 2"/>
          <p:cNvSpPr>
            <a:spLocks noGrp="1"/>
          </p:cNvSpPr>
          <p:nvPr>
            <p:ph sz="half" idx="14"/>
          </p:nvPr>
        </p:nvSpPr>
        <p:spPr>
          <a:xfrm>
            <a:off x="4718342" y="2897350"/>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6368680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Date Placeholder 2"/>
          <p:cNvSpPr>
            <a:spLocks noGrp="1"/>
          </p:cNvSpPr>
          <p:nvPr>
            <p:ph type="dt" sz="half" idx="10"/>
          </p:nvPr>
        </p:nvSpPr>
        <p:spPr/>
        <p:txBody>
          <a:bodyPr/>
          <a:lstStyle/>
          <a:p>
            <a:fld id="{7B6A9958-587B-4A8F-AC94-6255560209F3}" type="datetime1">
              <a:rPr lang="nb-NO" smtClean="0"/>
              <a:t>19.10.2022</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38544893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Åpen">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3DB426-8989-4786-A724-C5FC83653E2E}" type="datetime1">
              <a:rPr lang="nb-NO" smtClean="0"/>
              <a:t>19.10.2022</a:t>
            </a:fld>
            <a:endParaRPr lang="nb-NO"/>
          </a:p>
        </p:txBody>
      </p:sp>
      <p:sp>
        <p:nvSpPr>
          <p:cNvPr id="3" name="Footer Placeholder 2"/>
          <p:cNvSpPr>
            <a:spLocks noGrp="1"/>
          </p:cNvSpPr>
          <p:nvPr>
            <p:ph type="ftr" sz="quarter" idx="11"/>
          </p:nvPr>
        </p:nvSpPr>
        <p:spPr/>
        <p:txBody>
          <a:bodyPr/>
          <a:lstStyle/>
          <a:p>
            <a:endParaRPr lang="nb-NO"/>
          </a:p>
        </p:txBody>
      </p:sp>
      <p:sp>
        <p:nvSpPr>
          <p:cNvPr id="4" name="Slide Number Placeholder 3"/>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30383856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lde og teks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718342" y="1362459"/>
            <a:ext cx="4118656"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BCD0EA84-7D25-4D44-8510-37A6200FFD05}" type="datetime1">
              <a:rPr lang="nb-NO" smtClean="0"/>
              <a:t>19.10.2022</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321979" y="1362459"/>
            <a:ext cx="4118656" cy="3474533"/>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Tree>
    <p:extLst>
      <p:ext uri="{BB962C8B-B14F-4D97-AF65-F5344CB8AC3E}">
        <p14:creationId xmlns:p14="http://schemas.microsoft.com/office/powerpoint/2010/main" val="17480196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lde og tekst #2">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4718342" y="2073189"/>
            <a:ext cx="4118656" cy="275307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9665C14B-7B22-4C7A-8A54-C2A98FCECE8E}" type="datetime1">
              <a:rPr lang="nb-NO" smtClean="0"/>
              <a:t>19.10.2022</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321979" y="2073189"/>
            <a:ext cx="4118656" cy="2753075"/>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Tree>
    <p:extLst>
      <p:ext uri="{BB962C8B-B14F-4D97-AF65-F5344CB8AC3E}">
        <p14:creationId xmlns:p14="http://schemas.microsoft.com/office/powerpoint/2010/main" val="29986706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og bilde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85B361EF-0C76-46DB-8746-2D3F8B49FB3C}" type="datetime1">
              <a:rPr lang="nb-NO" smtClean="0"/>
              <a:t>19.10.2022</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
        <p:nvSpPr>
          <p:cNvPr id="2" name="Tittel 1"/>
          <p:cNvSpPr>
            <a:spLocks noGrp="1"/>
          </p:cNvSpPr>
          <p:nvPr>
            <p:ph type="title"/>
          </p:nvPr>
        </p:nvSpPr>
        <p:spPr>
          <a:xfrm>
            <a:off x="321980" y="1296192"/>
            <a:ext cx="3796676" cy="987421"/>
          </a:xfrm>
        </p:spPr>
        <p:txBody>
          <a:bodyPr/>
          <a:lstStyle/>
          <a:p>
            <a:r>
              <a:rPr lang="nb-NO"/>
              <a:t>Klikk for å redigere tittelstil</a:t>
            </a:r>
          </a:p>
        </p:txBody>
      </p:sp>
    </p:spTree>
    <p:extLst>
      <p:ext uri="{BB962C8B-B14F-4D97-AF65-F5344CB8AC3E}">
        <p14:creationId xmlns:p14="http://schemas.microsoft.com/office/powerpoint/2010/main" val="26424108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og bild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1341002"/>
            <a:ext cx="3796676" cy="349598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Date Placeholder 4"/>
          <p:cNvSpPr>
            <a:spLocks noGrp="1"/>
          </p:cNvSpPr>
          <p:nvPr>
            <p:ph type="dt" sz="half" idx="10"/>
          </p:nvPr>
        </p:nvSpPr>
        <p:spPr/>
        <p:txBody>
          <a:bodyPr/>
          <a:lstStyle/>
          <a:p>
            <a:fld id="{DDAC5CCC-DC88-4883-904A-262AEBD18467}" type="datetime1">
              <a:rPr lang="nb-NO" smtClean="0"/>
              <a:t>19.10.2022</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a:t>Trykk for å endre bilde</a:t>
            </a:r>
          </a:p>
        </p:txBody>
      </p:sp>
    </p:spTree>
    <p:extLst>
      <p:ext uri="{BB962C8B-B14F-4D97-AF65-F5344CB8AC3E}">
        <p14:creationId xmlns:p14="http://schemas.microsoft.com/office/powerpoint/2010/main" val="1936077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5"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0C27853C-4794-44B2-A8FB-82E8C67B7A42}" type="datetime1">
              <a:rPr lang="nb-NO" smtClean="0"/>
              <a:t>19.10.2022</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5888354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lde">
    <p:spTree>
      <p:nvGrpSpPr>
        <p:cNvPr id="1" name=""/>
        <p:cNvGrpSpPr/>
        <p:nvPr/>
      </p:nvGrpSpPr>
      <p:grpSpPr>
        <a:xfrm>
          <a:off x="0" y="0"/>
          <a:ext cx="0" cy="0"/>
          <a:chOff x="0" y="0"/>
          <a:chExt cx="0" cy="0"/>
        </a:xfrm>
      </p:grpSpPr>
      <p:sp>
        <p:nvSpPr>
          <p:cNvPr id="6" name="Plassholder for bilde 5"/>
          <p:cNvSpPr>
            <a:spLocks noGrp="1"/>
          </p:cNvSpPr>
          <p:nvPr>
            <p:ph type="pic" sz="quarter" idx="13" hasCustomPrompt="1"/>
          </p:nvPr>
        </p:nvSpPr>
        <p:spPr>
          <a:xfrm>
            <a:off x="0" y="0"/>
            <a:ext cx="9145588" cy="5108575"/>
          </a:xfrm>
          <a:solidFill>
            <a:schemeClr val="bg2"/>
          </a:solidFill>
        </p:spPr>
        <p:txBody>
          <a:bodyPr bIns="670365" anchor="ctr" anchorCtr="1"/>
          <a:lstStyle>
            <a:lvl1pPr marL="0" indent="0">
              <a:buNone/>
              <a:defRPr baseline="0"/>
            </a:lvl1pPr>
          </a:lstStyle>
          <a:p>
            <a:r>
              <a:rPr lang="nb-NO"/>
              <a:t>Trykk for å endre bilde</a:t>
            </a:r>
          </a:p>
        </p:txBody>
      </p:sp>
    </p:spTree>
    <p:extLst>
      <p:ext uri="{BB962C8B-B14F-4D97-AF65-F5344CB8AC3E}">
        <p14:creationId xmlns:p14="http://schemas.microsoft.com/office/powerpoint/2010/main" val="35808681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6" name="Plassholder for media 5"/>
          <p:cNvSpPr>
            <a:spLocks noGrp="1"/>
          </p:cNvSpPr>
          <p:nvPr>
            <p:ph type="media" sz="quarter" idx="10" hasCustomPrompt="1"/>
          </p:nvPr>
        </p:nvSpPr>
        <p:spPr>
          <a:xfrm>
            <a:off x="0" y="0"/>
            <a:ext cx="9145588" cy="5108575"/>
          </a:xfrm>
          <a:solidFill>
            <a:schemeClr val="bg2">
              <a:lumMod val="75000"/>
            </a:schemeClr>
          </a:solidFill>
        </p:spPr>
        <p:txBody>
          <a:bodyPr bIns="670365" anchor="ctr" anchorCtr="1"/>
          <a:lstStyle>
            <a:lvl1pPr marL="0" indent="0">
              <a:buNone/>
              <a:defRPr baseline="0"/>
            </a:lvl1pPr>
          </a:lstStyle>
          <a:p>
            <a:r>
              <a:rPr lang="nb-NO"/>
              <a:t>Trykk for å sette inn video</a:t>
            </a:r>
          </a:p>
        </p:txBody>
      </p:sp>
    </p:spTree>
    <p:extLst>
      <p:ext uri="{BB962C8B-B14F-4D97-AF65-F5344CB8AC3E}">
        <p14:creationId xmlns:p14="http://schemas.microsoft.com/office/powerpoint/2010/main" val="31028717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35634996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Bare tittel - liten">
    <p:spTree>
      <p:nvGrpSpPr>
        <p:cNvPr id="1" name=""/>
        <p:cNvGrpSpPr/>
        <p:nvPr/>
      </p:nvGrpSpPr>
      <p:grpSpPr>
        <a:xfrm>
          <a:off x="0" y="0"/>
          <a:ext cx="0" cy="0"/>
          <a:chOff x="0" y="0"/>
          <a:chExt cx="0" cy="0"/>
        </a:xfrm>
      </p:grpSpPr>
      <p:sp>
        <p:nvSpPr>
          <p:cNvPr id="2" name="Title 1"/>
          <p:cNvSpPr>
            <a:spLocks noGrp="1"/>
          </p:cNvSpPr>
          <p:nvPr>
            <p:ph type="title"/>
          </p:nvPr>
        </p:nvSpPr>
        <p:spPr>
          <a:xfrm>
            <a:off x="950631" y="254793"/>
            <a:ext cx="7190070" cy="272258"/>
          </a:xfrm>
        </p:spPr>
        <p:txBody>
          <a:bodyPr>
            <a:normAutofit/>
          </a:bodyPr>
          <a:lstStyle>
            <a:lvl1pPr>
              <a:defRPr sz="1788"/>
            </a:lvl1pPr>
          </a:lstStyle>
          <a:p>
            <a:r>
              <a:rPr lang="nb-NO"/>
              <a:t>Klikk for å redigere tittelstil</a:t>
            </a:r>
            <a:endParaRPr lang="en-US"/>
          </a:p>
        </p:txBody>
      </p:sp>
    </p:spTree>
    <p:extLst>
      <p:ext uri="{BB962C8B-B14F-4D97-AF65-F5344CB8AC3E}">
        <p14:creationId xmlns:p14="http://schemas.microsoft.com/office/powerpoint/2010/main" val="30938386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tel og innhold - liten">
    <p:spTree>
      <p:nvGrpSpPr>
        <p:cNvPr id="1" name=""/>
        <p:cNvGrpSpPr/>
        <p:nvPr/>
      </p:nvGrpSpPr>
      <p:grpSpPr>
        <a:xfrm>
          <a:off x="0" y="0"/>
          <a:ext cx="0" cy="0"/>
          <a:chOff x="0" y="0"/>
          <a:chExt cx="0" cy="0"/>
        </a:xfrm>
      </p:grpSpPr>
      <p:sp>
        <p:nvSpPr>
          <p:cNvPr id="2" name="Title 1"/>
          <p:cNvSpPr>
            <a:spLocks noGrp="1"/>
          </p:cNvSpPr>
          <p:nvPr>
            <p:ph type="title"/>
          </p:nvPr>
        </p:nvSpPr>
        <p:spPr>
          <a:xfrm>
            <a:off x="950631" y="254793"/>
            <a:ext cx="7190070" cy="272258"/>
          </a:xfrm>
        </p:spPr>
        <p:txBody>
          <a:bodyPr>
            <a:normAutofit/>
          </a:bodyPr>
          <a:lstStyle>
            <a:lvl1pPr>
              <a:defRPr sz="1788"/>
            </a:lvl1pPr>
          </a:lstStyle>
          <a:p>
            <a:r>
              <a:rPr lang="nb-NO"/>
              <a:t>Klikk for å redigere tittelstil</a:t>
            </a:r>
            <a:endParaRPr lang="en-US"/>
          </a:p>
        </p:txBody>
      </p:sp>
      <p:sp>
        <p:nvSpPr>
          <p:cNvPr id="4" name="Content Placeholder 3"/>
          <p:cNvSpPr>
            <a:spLocks noGrp="1"/>
          </p:cNvSpPr>
          <p:nvPr>
            <p:ph sz="half" idx="2"/>
          </p:nvPr>
        </p:nvSpPr>
        <p:spPr>
          <a:xfrm>
            <a:off x="321980" y="1362459"/>
            <a:ext cx="8515018" cy="3474533"/>
          </a:xfrm>
        </p:spPr>
        <p:txBody>
          <a:bodyPr>
            <a:normAutofit/>
          </a:bodyPr>
          <a:lstStyle>
            <a:lvl1pPr>
              <a:spcBef>
                <a:spcPts val="592"/>
              </a:spcBef>
              <a:defRPr sz="1564"/>
            </a:lvl1pPr>
            <a:lvl2pPr>
              <a:spcBef>
                <a:spcPts val="197"/>
              </a:spcBef>
              <a:defRPr sz="1415"/>
            </a:lvl2pPr>
            <a:lvl3pPr>
              <a:spcBef>
                <a:spcPts val="98"/>
              </a:spcBef>
              <a:defRPr sz="1415"/>
            </a:lvl3pPr>
            <a:lvl4pPr>
              <a:spcBef>
                <a:spcPts val="98"/>
              </a:spcBef>
              <a:defRPr sz="1192"/>
            </a:lvl4pPr>
            <a:lvl5pPr>
              <a:spcBef>
                <a:spcPts val="98"/>
              </a:spcBef>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0479468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nhold uten tittel - liten">
    <p:spTree>
      <p:nvGrpSpPr>
        <p:cNvPr id="1" name=""/>
        <p:cNvGrpSpPr/>
        <p:nvPr/>
      </p:nvGrpSpPr>
      <p:grpSpPr>
        <a:xfrm>
          <a:off x="0" y="0"/>
          <a:ext cx="0" cy="0"/>
          <a:chOff x="0" y="0"/>
          <a:chExt cx="0" cy="0"/>
        </a:xfrm>
      </p:grpSpPr>
      <p:sp>
        <p:nvSpPr>
          <p:cNvPr id="3" name="Content Placeholder 3"/>
          <p:cNvSpPr>
            <a:spLocks noGrp="1"/>
          </p:cNvSpPr>
          <p:nvPr>
            <p:ph sz="half" idx="2"/>
          </p:nvPr>
        </p:nvSpPr>
        <p:spPr>
          <a:xfrm>
            <a:off x="321980" y="1362459"/>
            <a:ext cx="8515018" cy="3474533"/>
          </a:xfrm>
        </p:spPr>
        <p:txBody>
          <a:bodyPr>
            <a:normAutofit/>
          </a:bodyPr>
          <a:lstStyle>
            <a:lvl1pPr>
              <a:spcBef>
                <a:spcPts val="592"/>
              </a:spcBef>
              <a:defRPr sz="1564"/>
            </a:lvl1pPr>
            <a:lvl2pPr>
              <a:spcBef>
                <a:spcPts val="197"/>
              </a:spcBef>
              <a:defRPr sz="1415"/>
            </a:lvl2pPr>
            <a:lvl3pPr>
              <a:spcBef>
                <a:spcPts val="98"/>
              </a:spcBef>
              <a:defRPr sz="1415"/>
            </a:lvl3pPr>
            <a:lvl4pPr>
              <a:spcBef>
                <a:spcPts val="98"/>
              </a:spcBef>
              <a:defRPr sz="1192"/>
            </a:lvl4pPr>
            <a:lvl5pPr>
              <a:spcBef>
                <a:spcPts val="98"/>
              </a:spcBef>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9744180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 innhold med tittel - liten">
    <p:spTree>
      <p:nvGrpSpPr>
        <p:cNvPr id="1" name=""/>
        <p:cNvGrpSpPr/>
        <p:nvPr/>
      </p:nvGrpSpPr>
      <p:grpSpPr>
        <a:xfrm>
          <a:off x="0" y="0"/>
          <a:ext cx="0" cy="0"/>
          <a:chOff x="0" y="0"/>
          <a:chExt cx="0" cy="0"/>
        </a:xfrm>
      </p:grpSpPr>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normAutofit/>
          </a:bodyPr>
          <a:lstStyle>
            <a:lvl1pPr>
              <a:spcBef>
                <a:spcPts val="592"/>
              </a:spcBef>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normAutofit/>
          </a:bodyPr>
          <a:lstStyle>
            <a:lvl1pPr>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Title 1"/>
          <p:cNvSpPr>
            <a:spLocks noGrp="1"/>
          </p:cNvSpPr>
          <p:nvPr>
            <p:ph type="title"/>
          </p:nvPr>
        </p:nvSpPr>
        <p:spPr>
          <a:xfrm>
            <a:off x="950631" y="254793"/>
            <a:ext cx="7190070" cy="272258"/>
          </a:xfrm>
        </p:spPr>
        <p:txBody>
          <a:bodyPr>
            <a:normAutofit/>
          </a:bodyPr>
          <a:lstStyle>
            <a:lvl1pPr>
              <a:defRPr sz="1788"/>
            </a:lvl1pPr>
          </a:lstStyle>
          <a:p>
            <a:r>
              <a:rPr lang="nb-NO"/>
              <a:t>Klikk for å redigere tittelstil</a:t>
            </a:r>
            <a:endParaRPr lang="en-US"/>
          </a:p>
        </p:txBody>
      </p:sp>
    </p:spTree>
    <p:extLst>
      <p:ext uri="{BB962C8B-B14F-4D97-AF65-F5344CB8AC3E}">
        <p14:creationId xmlns:p14="http://schemas.microsoft.com/office/powerpoint/2010/main" val="1592368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 innhold uten tittel">
    <p:spTree>
      <p:nvGrpSpPr>
        <p:cNvPr id="1" name=""/>
        <p:cNvGrpSpPr/>
        <p:nvPr/>
      </p:nvGrpSpPr>
      <p:grpSpPr>
        <a:xfrm>
          <a:off x="0" y="0"/>
          <a:ext cx="0" cy="0"/>
          <a:chOff x="0" y="0"/>
          <a:chExt cx="0" cy="0"/>
        </a:xfrm>
      </p:grpSpPr>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normAutofit/>
          </a:bodyPr>
          <a:lstStyle>
            <a:lvl1pPr>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normAutofit/>
          </a:bodyPr>
          <a:lstStyle>
            <a:lvl1pPr>
              <a:defRPr sz="1564"/>
            </a:lvl1pPr>
            <a:lvl2pPr>
              <a:defRPr sz="1415"/>
            </a:lvl2pPr>
            <a:lvl3pPr>
              <a:defRPr sz="1415"/>
            </a:lvl3pPr>
            <a:lvl4pPr>
              <a:defRPr sz="1192"/>
            </a:lvl4pPr>
            <a:lvl5pPr>
              <a:defRPr sz="1117"/>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75618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 innhold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tel 1"/>
          <p:cNvSpPr>
            <a:spLocks noGrp="1"/>
          </p:cNvSpPr>
          <p:nvPr>
            <p:ph type="title"/>
          </p:nvPr>
        </p:nvSpPr>
        <p:spPr>
          <a:xfrm>
            <a:off x="321980" y="1296192"/>
            <a:ext cx="3796676" cy="987421"/>
          </a:xfrm>
        </p:spPr>
        <p:txBody>
          <a:bodyPr/>
          <a:lstStyle/>
          <a:p>
            <a:r>
              <a:rPr lang="nb-NO"/>
              <a:t>Klikk for å redigere tittelstil</a:t>
            </a:r>
          </a:p>
        </p:txBody>
      </p:sp>
      <p:sp>
        <p:nvSpPr>
          <p:cNvPr id="3" name="Plassholder for innhold 2"/>
          <p:cNvSpPr>
            <a:spLocks noGrp="1"/>
          </p:cNvSpPr>
          <p:nvPr>
            <p:ph sz="quarter" idx="14"/>
          </p:nvPr>
        </p:nvSpPr>
        <p:spPr>
          <a:xfrm>
            <a:off x="4718342" y="1341002"/>
            <a:ext cx="4118656" cy="3495989"/>
          </a:xfrm>
          <a:prstGeom prst="rect">
            <a:avLst/>
          </a:prstGeom>
        </p:spPr>
        <p:txBody>
          <a:bodyPr lIns="0" tIns="0" rIns="0" bIns="670365"/>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548186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Content Placeholder 2"/>
          <p:cNvSpPr>
            <a:spLocks noGrp="1"/>
          </p:cNvSpPr>
          <p:nvPr>
            <p:ph sz="half" idx="1"/>
          </p:nvPr>
        </p:nvSpPr>
        <p:spPr>
          <a:xfrm>
            <a:off x="321979"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Content Placeholder 3"/>
          <p:cNvSpPr>
            <a:spLocks noGrp="1"/>
          </p:cNvSpPr>
          <p:nvPr>
            <p:ph sz="half" idx="2"/>
          </p:nvPr>
        </p:nvSpPr>
        <p:spPr>
          <a:xfrm>
            <a:off x="4718342"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5382262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0" y="4444110"/>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500"/>
            </a:lvl1pPr>
          </a:lstStyle>
          <a:p>
            <a:r>
              <a:rPr lang="nb-NO"/>
              <a:t>Klikk for å redigere tittelstil</a:t>
            </a:r>
            <a:endParaRPr lang="en-US"/>
          </a:p>
        </p:txBody>
      </p:sp>
      <p:sp>
        <p:nvSpPr>
          <p:cNvPr id="4" name="Date Placeholder 3"/>
          <p:cNvSpPr>
            <a:spLocks noGrp="1"/>
          </p:cNvSpPr>
          <p:nvPr>
            <p:ph type="dt" sz="half" idx="10"/>
          </p:nvPr>
        </p:nvSpPr>
        <p:spPr>
          <a:xfrm>
            <a:off x="7462838" y="268201"/>
            <a:ext cx="1340263" cy="153888"/>
          </a:xfrm>
        </p:spPr>
        <p:txBody>
          <a:bodyPr>
            <a:spAutoFit/>
          </a:bodyPr>
          <a:lstStyle>
            <a:lvl1pPr algn="r">
              <a:defRPr sz="1000"/>
            </a:lvl1pPr>
          </a:lstStyle>
          <a:p>
            <a:fld id="{E6DEC9C7-18CC-48A8-856E-8B8C0B6382E9}" type="datetime1">
              <a:rPr lang="nb-NO" smtClean="0"/>
              <a:t>19.10.2022</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7"/>
            <a:ext cx="8331224" cy="346249"/>
          </a:xfrm>
        </p:spPr>
        <p:txBody>
          <a:bodyPr>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Tree>
    <p:extLst>
      <p:ext uri="{BB962C8B-B14F-4D97-AF65-F5344CB8AC3E}">
        <p14:creationId xmlns:p14="http://schemas.microsoft.com/office/powerpoint/2010/main" val="24227238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979" y="2283615"/>
            <a:ext cx="4118656" cy="613739"/>
          </a:xfrm>
        </p:spPr>
        <p:txBody>
          <a:bodyPr anchor="b"/>
          <a:lstStyle>
            <a:lvl1pPr marL="0" indent="0">
              <a:buNone/>
              <a:defRPr sz="1788" b="1"/>
            </a:lvl1pPr>
            <a:lvl2pPr marL="335811" indent="0">
              <a:buNone/>
              <a:defRPr sz="1490" b="1"/>
            </a:lvl2pPr>
            <a:lvl3pPr marL="671624" indent="0">
              <a:buNone/>
              <a:defRPr sz="1266" b="1"/>
            </a:lvl3pPr>
            <a:lvl4pPr marL="1007436" indent="0">
              <a:buNone/>
              <a:defRPr sz="1192" b="1"/>
            </a:lvl4pPr>
            <a:lvl5pPr marL="1343250" indent="0">
              <a:buNone/>
              <a:defRPr sz="1192" b="1"/>
            </a:lvl5pPr>
            <a:lvl6pPr marL="1679060" indent="0">
              <a:buNone/>
              <a:defRPr sz="1192" b="1"/>
            </a:lvl6pPr>
            <a:lvl7pPr marL="2014873" indent="0">
              <a:buNone/>
              <a:defRPr sz="1192" b="1"/>
            </a:lvl7pPr>
            <a:lvl8pPr marL="2350685" indent="0">
              <a:buNone/>
              <a:defRPr sz="1192" b="1"/>
            </a:lvl8pPr>
            <a:lvl9pPr marL="2686497" indent="0">
              <a:buNone/>
              <a:defRPr sz="1192" b="1"/>
            </a:lvl9pPr>
          </a:lstStyle>
          <a:p>
            <a:pPr lvl="0"/>
            <a:r>
              <a:rPr lang="nb-NO"/>
              <a:t>Klikk for å redigere tekststiler i malen</a:t>
            </a:r>
          </a:p>
        </p:txBody>
      </p:sp>
      <p:sp>
        <p:nvSpPr>
          <p:cNvPr id="5" name="Text Placeholder 4"/>
          <p:cNvSpPr>
            <a:spLocks noGrp="1"/>
          </p:cNvSpPr>
          <p:nvPr>
            <p:ph type="body" sz="quarter" idx="3"/>
          </p:nvPr>
        </p:nvSpPr>
        <p:spPr>
          <a:xfrm>
            <a:off x="4718342" y="2283615"/>
            <a:ext cx="4118656" cy="613739"/>
          </a:xfrm>
        </p:spPr>
        <p:txBody>
          <a:bodyPr anchor="b"/>
          <a:lstStyle>
            <a:lvl1pPr marL="0" indent="0">
              <a:buNone/>
              <a:defRPr sz="1788" b="1"/>
            </a:lvl1pPr>
            <a:lvl2pPr marL="335811" indent="0">
              <a:buNone/>
              <a:defRPr sz="1490" b="1"/>
            </a:lvl2pPr>
            <a:lvl3pPr marL="671624" indent="0">
              <a:buNone/>
              <a:defRPr sz="1266" b="1"/>
            </a:lvl3pPr>
            <a:lvl4pPr marL="1007436" indent="0">
              <a:buNone/>
              <a:defRPr sz="1192" b="1"/>
            </a:lvl4pPr>
            <a:lvl5pPr marL="1343250" indent="0">
              <a:buNone/>
              <a:defRPr sz="1192" b="1"/>
            </a:lvl5pPr>
            <a:lvl6pPr marL="1679060" indent="0">
              <a:buNone/>
              <a:defRPr sz="1192" b="1"/>
            </a:lvl6pPr>
            <a:lvl7pPr marL="2014873" indent="0">
              <a:buNone/>
              <a:defRPr sz="1192" b="1"/>
            </a:lvl7pPr>
            <a:lvl8pPr marL="2350685" indent="0">
              <a:buNone/>
              <a:defRPr sz="1192" b="1"/>
            </a:lvl8pPr>
            <a:lvl9pPr marL="2686497" indent="0">
              <a:buNone/>
              <a:defRPr sz="1192" b="1"/>
            </a:lvl9pPr>
          </a:lstStyle>
          <a:p>
            <a:pPr lvl="0"/>
            <a:r>
              <a:rPr lang="nb-NO"/>
              <a:t>Klikk for å redigere tekststiler i malen</a:t>
            </a:r>
          </a:p>
        </p:txBody>
      </p:sp>
      <p:sp>
        <p:nvSpPr>
          <p:cNvPr id="10" name="Tittel 9"/>
          <p:cNvSpPr>
            <a:spLocks noGrp="1"/>
          </p:cNvSpPr>
          <p:nvPr>
            <p:ph type="title"/>
          </p:nvPr>
        </p:nvSpPr>
        <p:spPr/>
        <p:txBody>
          <a:bodyPr/>
          <a:lstStyle/>
          <a:p>
            <a:r>
              <a:rPr lang="nb-NO"/>
              <a:t>Klikk for å redigere tittelstil</a:t>
            </a:r>
          </a:p>
        </p:txBody>
      </p:sp>
      <p:sp>
        <p:nvSpPr>
          <p:cNvPr id="11" name="Content Placeholder 2"/>
          <p:cNvSpPr>
            <a:spLocks noGrp="1"/>
          </p:cNvSpPr>
          <p:nvPr>
            <p:ph sz="half" idx="13"/>
          </p:nvPr>
        </p:nvSpPr>
        <p:spPr>
          <a:xfrm>
            <a:off x="321979" y="2897352"/>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2" name="Content Placeholder 2"/>
          <p:cNvSpPr>
            <a:spLocks noGrp="1"/>
          </p:cNvSpPr>
          <p:nvPr>
            <p:ph sz="half" idx="14"/>
          </p:nvPr>
        </p:nvSpPr>
        <p:spPr>
          <a:xfrm>
            <a:off x="4718342" y="2897352"/>
            <a:ext cx="4118656" cy="1939641"/>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40865486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1_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Tree>
    <p:extLst>
      <p:ext uri="{BB962C8B-B14F-4D97-AF65-F5344CB8AC3E}">
        <p14:creationId xmlns:p14="http://schemas.microsoft.com/office/powerpoint/2010/main" val="30494021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Åpen">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9674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Key Issues">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a:t>Click to edit Master title style</a:t>
            </a:r>
          </a:p>
        </p:txBody>
      </p:sp>
      <p:sp>
        <p:nvSpPr>
          <p:cNvPr id="3" name="Text Placeholder 2"/>
          <p:cNvSpPr>
            <a:spLocks noGrp="1"/>
          </p:cNvSpPr>
          <p:nvPr>
            <p:ph type="body" sz="quarter" idx="10"/>
          </p:nvPr>
        </p:nvSpPr>
        <p:spPr bwMode="gray">
          <a:xfrm>
            <a:off x="345341" y="987422"/>
            <a:ext cx="8566844" cy="3392708"/>
          </a:xfrm>
        </p:spPr>
        <p:txBody>
          <a:bodyPr/>
          <a:lstStyle>
            <a:lvl1pPr marL="302251" indent="-302251">
              <a:buFont typeface="+mj-lt"/>
              <a:buAutoNum type="arabicPeriod"/>
              <a:defRPr/>
            </a:lvl1pPr>
            <a:lvl2pPr marL="570920">
              <a:defRPr/>
            </a:lvl2pPr>
            <a:lvl3pPr marL="772420">
              <a:defRPr/>
            </a:lvl3pPr>
            <a:lvl4pPr marL="1007505">
              <a:defRPr/>
            </a:lvl4pPr>
            <a:lvl5pPr marL="120900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1123178"/>
      </p:ext>
    </p:extLst>
  </p:cSld>
  <p:clrMapOvr>
    <a:masterClrMapping/>
  </p:clrMapOvr>
  <p:transition/>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Kun oversktift">
    <p:spTree>
      <p:nvGrpSpPr>
        <p:cNvPr id="1" name=""/>
        <p:cNvGrpSpPr/>
        <p:nvPr/>
      </p:nvGrpSpPr>
      <p:grpSpPr>
        <a:xfrm>
          <a:off x="0" y="0"/>
          <a:ext cx="0" cy="0"/>
          <a:chOff x="0" y="0"/>
          <a:chExt cx="0" cy="0"/>
        </a:xfrm>
      </p:grpSpPr>
      <p:sp>
        <p:nvSpPr>
          <p:cNvPr id="2" name="Title 1"/>
          <p:cNvSpPr>
            <a:spLocks noGrp="1"/>
          </p:cNvSpPr>
          <p:nvPr>
            <p:ph type="title"/>
          </p:nvPr>
        </p:nvSpPr>
        <p:spPr>
          <a:xfrm>
            <a:off x="966021" y="278555"/>
            <a:ext cx="7870979" cy="569477"/>
          </a:xfrm>
        </p:spPr>
        <p:txBody>
          <a:bodyPr>
            <a:normAutofit/>
          </a:bodyPr>
          <a:lstStyle>
            <a:lvl1pPr>
              <a:defRPr lang="en-US" sz="2384" b="1" kern="1200" dirty="0">
                <a:solidFill>
                  <a:schemeClr val="tx1"/>
                </a:solidFill>
                <a:latin typeface="+mj-lt"/>
                <a:ea typeface="+mj-ea"/>
                <a:cs typeface="+mj-cs"/>
              </a:defRPr>
            </a:lvl1pPr>
          </a:lstStyle>
          <a:p>
            <a:r>
              <a:rPr lang="nb-NO"/>
              <a:t>Klikk for å redigere tittelstil</a:t>
            </a:r>
            <a:endParaRPr lang="en-US"/>
          </a:p>
        </p:txBody>
      </p:sp>
    </p:spTree>
    <p:extLst>
      <p:ext uri="{BB962C8B-B14F-4D97-AF65-F5344CB8AC3E}">
        <p14:creationId xmlns:p14="http://schemas.microsoft.com/office/powerpoint/2010/main" val="27939401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4444111"/>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469"/>
            </a:lvl1pPr>
          </a:lstStyle>
          <a:p>
            <a:r>
              <a:rPr lang="nb-NO"/>
              <a:t>Klikk for å redigere tittelstil</a:t>
            </a:r>
            <a:endParaRPr lang="en-US"/>
          </a:p>
        </p:txBody>
      </p:sp>
      <p:sp>
        <p:nvSpPr>
          <p:cNvPr id="4" name="Date Placeholder 3"/>
          <p:cNvSpPr>
            <a:spLocks noGrp="1"/>
          </p:cNvSpPr>
          <p:nvPr>
            <p:ph type="dt" sz="half" idx="10"/>
          </p:nvPr>
        </p:nvSpPr>
        <p:spPr>
          <a:xfrm>
            <a:off x="7462839" y="268201"/>
            <a:ext cx="1340263" cy="153888"/>
          </a:xfrm>
        </p:spPr>
        <p:txBody>
          <a:bodyPr>
            <a:spAutoFit/>
          </a:bodyPr>
          <a:lstStyle>
            <a:lvl1pPr algn="r">
              <a:defRPr sz="968"/>
            </a:lvl1pPr>
          </a:lstStyle>
          <a:p>
            <a:fld id="{E6DEC9C7-18CC-48A8-856E-8B8C0B6382E9}" type="datetime1">
              <a:rPr lang="nb-NO" smtClean="0"/>
              <a:t>19.10.2022</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968"/>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968"/>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8"/>
            <a:ext cx="8331224" cy="346249"/>
          </a:xfrm>
        </p:spPr>
        <p:txBody>
          <a:bodyPr>
            <a:normAutofit/>
          </a:bodyPr>
          <a:lstStyle>
            <a:lvl1pPr marL="0" indent="0" algn="l">
              <a:buNone/>
              <a:defRPr sz="2458" b="1"/>
            </a:lvl1pPr>
            <a:lvl2pPr marL="338170" indent="0" algn="ctr">
              <a:buNone/>
              <a:defRPr sz="1490"/>
            </a:lvl2pPr>
            <a:lvl3pPr marL="676341" indent="0" algn="ctr">
              <a:buNone/>
              <a:defRPr sz="1266"/>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a:p>
        </p:txBody>
      </p:sp>
    </p:spTree>
    <p:extLst>
      <p:ext uri="{BB962C8B-B14F-4D97-AF65-F5344CB8AC3E}">
        <p14:creationId xmlns:p14="http://schemas.microsoft.com/office/powerpoint/2010/main" val="40092040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1" y="2138898"/>
            <a:ext cx="7658373" cy="623248"/>
          </a:xfrm>
        </p:spPr>
        <p:txBody>
          <a:bodyPr wrap="square" anchor="b" anchorCtr="0">
            <a:normAutofit/>
          </a:bodyPr>
          <a:lstStyle>
            <a:lvl1pPr algn="l">
              <a:defRPr sz="4469"/>
            </a:lvl1pPr>
          </a:lstStyle>
          <a:p>
            <a:r>
              <a:rPr lang="nb-NO"/>
              <a:t>Klikk for å redigere tittelstil</a:t>
            </a:r>
            <a:endParaRPr lang="en-US"/>
          </a:p>
        </p:txBody>
      </p:sp>
      <p:sp>
        <p:nvSpPr>
          <p:cNvPr id="3" name="Subtitle 2"/>
          <p:cNvSpPr>
            <a:spLocks noGrp="1"/>
          </p:cNvSpPr>
          <p:nvPr>
            <p:ph type="subTitle" idx="1"/>
          </p:nvPr>
        </p:nvSpPr>
        <p:spPr>
          <a:xfrm>
            <a:off x="324041" y="2888750"/>
            <a:ext cx="6584760" cy="346249"/>
          </a:xfrm>
        </p:spPr>
        <p:txBody>
          <a:bodyPr wrap="square">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a:p>
        </p:txBody>
      </p:sp>
      <p:sp>
        <p:nvSpPr>
          <p:cNvPr id="9" name="Date Placeholder 3"/>
          <p:cNvSpPr>
            <a:spLocks noGrp="1"/>
          </p:cNvSpPr>
          <p:nvPr>
            <p:ph type="dt" sz="half" idx="10"/>
          </p:nvPr>
        </p:nvSpPr>
        <p:spPr>
          <a:xfrm>
            <a:off x="7462839" y="268201"/>
            <a:ext cx="1340263" cy="153888"/>
          </a:xfrm>
        </p:spPr>
        <p:txBody>
          <a:bodyPr>
            <a:spAutoFit/>
          </a:bodyPr>
          <a:lstStyle>
            <a:lvl1pPr algn="r">
              <a:defRPr sz="993"/>
            </a:lvl1pPr>
          </a:lstStyle>
          <a:p>
            <a:fld id="{4ECF339B-DE26-4CB1-847D-D0F793D508DD}" type="datetime1">
              <a:rPr lang="nb-NO" smtClean="0"/>
              <a:t>19.10.2022</a:t>
            </a:fld>
            <a:endParaRPr lang="nb-NO"/>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641244019"/>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6"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0C27853C-4794-44B2-A8FB-82E8C67B7A42}" type="datetime1">
              <a:rPr lang="nb-NO" smtClean="0"/>
              <a:t>19.10.2022</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32089785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4444111"/>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469"/>
            </a:lvl1pPr>
          </a:lstStyle>
          <a:p>
            <a:r>
              <a:rPr lang="nb-NO"/>
              <a:t>Klikk for å redigere tittelstil</a:t>
            </a:r>
            <a:endParaRPr lang="en-US"/>
          </a:p>
        </p:txBody>
      </p:sp>
      <p:sp>
        <p:nvSpPr>
          <p:cNvPr id="4" name="Date Placeholder 3"/>
          <p:cNvSpPr>
            <a:spLocks noGrp="1"/>
          </p:cNvSpPr>
          <p:nvPr>
            <p:ph type="dt" sz="half" idx="10"/>
          </p:nvPr>
        </p:nvSpPr>
        <p:spPr>
          <a:xfrm>
            <a:off x="7462839" y="268201"/>
            <a:ext cx="1340263" cy="153888"/>
          </a:xfrm>
        </p:spPr>
        <p:txBody>
          <a:bodyPr>
            <a:spAutoFit/>
          </a:bodyPr>
          <a:lstStyle>
            <a:lvl1pPr algn="r">
              <a:defRPr sz="993"/>
            </a:lvl1pPr>
          </a:lstStyle>
          <a:p>
            <a:fld id="{E6DEC9C7-18CC-48A8-856E-8B8C0B6382E9}" type="datetime1">
              <a:rPr lang="nb-NO" smtClean="0"/>
              <a:t>19.10.2022</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8"/>
            <a:ext cx="8331224" cy="346249"/>
          </a:xfrm>
        </p:spPr>
        <p:txBody>
          <a:bodyPr>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a:p>
        </p:txBody>
      </p:sp>
    </p:spTree>
    <p:extLst>
      <p:ext uri="{BB962C8B-B14F-4D97-AF65-F5344CB8AC3E}">
        <p14:creationId xmlns:p14="http://schemas.microsoft.com/office/powerpoint/2010/main" val="37786664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80" y="1473433"/>
            <a:ext cx="4024733" cy="1869743"/>
          </a:xfrm>
        </p:spPr>
        <p:txBody>
          <a:bodyPr wrap="square">
            <a:normAutofit/>
          </a:bodyPr>
          <a:lstStyle>
            <a:lvl1pPr>
              <a:defRPr sz="4469"/>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5" y="4456303"/>
            <a:ext cx="9144019" cy="652273"/>
          </a:xfrm>
          <a:prstGeom prst="rect">
            <a:avLst/>
          </a:prstGeom>
        </p:spPr>
      </p:pic>
      <p:sp>
        <p:nvSpPr>
          <p:cNvPr id="12" name="Date Placeholder 3"/>
          <p:cNvSpPr>
            <a:spLocks noGrp="1"/>
          </p:cNvSpPr>
          <p:nvPr>
            <p:ph type="dt" sz="half" idx="10"/>
          </p:nvPr>
        </p:nvSpPr>
        <p:spPr>
          <a:xfrm>
            <a:off x="7462839" y="268201"/>
            <a:ext cx="1340263" cy="153888"/>
          </a:xfrm>
        </p:spPr>
        <p:txBody>
          <a:bodyPr>
            <a:spAutoFit/>
          </a:bodyPr>
          <a:lstStyle>
            <a:lvl1pPr algn="r">
              <a:defRPr sz="993"/>
            </a:lvl1pPr>
          </a:lstStyle>
          <a:p>
            <a:fld id="{B89DD950-73F7-4004-B10D-E4A2EA37D48F}" type="datetime1">
              <a:rPr lang="nb-NO" smtClean="0"/>
              <a:t>19.10.2022</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1"/>
            <a:ext cx="3952800" cy="2970371"/>
          </a:xfrm>
          <a:prstGeom prst="rect">
            <a:avLst/>
          </a:prstGeom>
          <a:solidFill>
            <a:schemeClr val="bg2"/>
          </a:solidFill>
        </p:spPr>
        <p:txBody>
          <a:bodyPr lIns="0" tIns="0" rIns="0" bIns="670365"/>
          <a:lstStyle/>
          <a:p>
            <a:r>
              <a:rPr lang="nb-NO"/>
              <a:t>Klikk på ikonet for å legge til et bilde</a:t>
            </a:r>
          </a:p>
        </p:txBody>
      </p:sp>
    </p:spTree>
    <p:extLst>
      <p:ext uri="{BB962C8B-B14F-4D97-AF65-F5344CB8AC3E}">
        <p14:creationId xmlns:p14="http://schemas.microsoft.com/office/powerpoint/2010/main" val="17828467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79" y="1473432"/>
            <a:ext cx="4024733" cy="1869743"/>
          </a:xfrm>
        </p:spPr>
        <p:txBody>
          <a:bodyPr wrap="square">
            <a:normAutofit/>
          </a:bodyPr>
          <a:lstStyle>
            <a:lvl1pPr>
              <a:defRPr sz="4500"/>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4" y="4456302"/>
            <a:ext cx="9144019" cy="652273"/>
          </a:xfrm>
          <a:prstGeom prst="rect">
            <a:avLst/>
          </a:prstGeom>
        </p:spPr>
      </p:pic>
      <p:sp>
        <p:nvSpPr>
          <p:cNvPr id="12" name="Date Placeholder 3"/>
          <p:cNvSpPr>
            <a:spLocks noGrp="1"/>
          </p:cNvSpPr>
          <p:nvPr>
            <p:ph type="dt" sz="half" idx="10"/>
          </p:nvPr>
        </p:nvSpPr>
        <p:spPr>
          <a:xfrm>
            <a:off x="7462838" y="268201"/>
            <a:ext cx="1340263" cy="153888"/>
          </a:xfrm>
        </p:spPr>
        <p:txBody>
          <a:bodyPr>
            <a:spAutoFit/>
          </a:bodyPr>
          <a:lstStyle>
            <a:lvl1pPr algn="r">
              <a:defRPr sz="1000"/>
            </a:lvl1pPr>
          </a:lstStyle>
          <a:p>
            <a:fld id="{B89DD950-73F7-4004-B10D-E4A2EA37D48F}" type="datetime1">
              <a:rPr lang="nb-NO" smtClean="0"/>
              <a:t>19.10.2022</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0"/>
            <a:ext cx="3952800" cy="2970371"/>
          </a:xfrm>
          <a:prstGeom prst="rect">
            <a:avLst/>
          </a:prstGeom>
          <a:solidFill>
            <a:schemeClr val="bg2"/>
          </a:solidFill>
        </p:spPr>
        <p:txBody>
          <a:bodyPr lIns="0" tIns="0" rIns="0" bIns="670365"/>
          <a:lstStyle/>
          <a:p>
            <a:r>
              <a:rPr lang="nb-NO"/>
              <a:t>Klikk ikonet for å legge til et bilde</a:t>
            </a:r>
          </a:p>
        </p:txBody>
      </p:sp>
    </p:spTree>
    <p:extLst>
      <p:ext uri="{BB962C8B-B14F-4D97-AF65-F5344CB8AC3E}">
        <p14:creationId xmlns:p14="http://schemas.microsoft.com/office/powerpoint/2010/main" val="36845494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1" y="2655184"/>
            <a:ext cx="3730785" cy="987421"/>
          </a:xfrm>
        </p:spPr>
        <p:txBody>
          <a:bodyPr>
            <a:normAutofit/>
          </a:bodyPr>
          <a:lstStyle>
            <a:lvl1pPr>
              <a:defRPr sz="3377"/>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7"/>
            <a:ext cx="3488884" cy="661455"/>
          </a:xfrm>
        </p:spPr>
        <p:txBody>
          <a:bodyPr>
            <a:normAutofit/>
          </a:bodyPr>
          <a:lstStyle>
            <a:lvl1pPr marL="0" indent="0">
              <a:buNone/>
              <a:defRPr sz="1092"/>
            </a:lvl1pPr>
          </a:lstStyle>
          <a:p>
            <a:pPr lvl="0"/>
            <a:r>
              <a:rPr lang="nb-NO"/>
              <a:t>Klikk for å redigere tekststiler i malen</a:t>
            </a:r>
          </a:p>
        </p:txBody>
      </p:sp>
      <p:sp>
        <p:nvSpPr>
          <p:cNvPr id="10" name="TekstSylinder 9"/>
          <p:cNvSpPr txBox="1"/>
          <p:nvPr userDrawn="1"/>
        </p:nvSpPr>
        <p:spPr>
          <a:xfrm>
            <a:off x="321793" y="4688141"/>
            <a:ext cx="2045311" cy="202208"/>
          </a:xfrm>
          <a:prstGeom prst="rect">
            <a:avLst/>
          </a:prstGeom>
          <a:noFill/>
        </p:spPr>
        <p:txBody>
          <a:bodyPr wrap="square" lIns="33817" tIns="16909" rIns="33817" bIns="16909" rtlCol="0">
            <a:spAutoFit/>
          </a:bodyPr>
          <a:lstStyle/>
          <a:p>
            <a:r>
              <a:rPr lang="nb-NO" sz="1092" b="1"/>
              <a:t>Skatteetaten.no</a:t>
            </a:r>
          </a:p>
        </p:txBody>
      </p:sp>
      <p:sp>
        <p:nvSpPr>
          <p:cNvPr id="8" name="Rektangel 7"/>
          <p:cNvSpPr/>
          <p:nvPr userDrawn="1"/>
        </p:nvSpPr>
        <p:spPr>
          <a:xfrm>
            <a:off x="4305137" y="321842"/>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
            <a:ext cx="1755652" cy="621793"/>
          </a:xfrm>
          <a:prstGeom prst="rect">
            <a:avLst/>
          </a:prstGeom>
        </p:spPr>
      </p:pic>
    </p:spTree>
    <p:extLst>
      <p:ext uri="{BB962C8B-B14F-4D97-AF65-F5344CB8AC3E}">
        <p14:creationId xmlns:p14="http://schemas.microsoft.com/office/powerpoint/2010/main" val="21011291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userDrawn="1"/>
        </p:nvSpPr>
        <p:spPr>
          <a:xfrm>
            <a:off x="0" y="1"/>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a:p>
        </p:txBody>
      </p:sp>
      <p:pic>
        <p:nvPicPr>
          <p:cNvPr id="3" name="Bil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4356" y="1621677"/>
            <a:ext cx="2736878" cy="1865222"/>
          </a:xfrm>
          <a:prstGeom prst="rect">
            <a:avLst/>
          </a:prstGeom>
        </p:spPr>
      </p:pic>
    </p:spTree>
    <p:extLst>
      <p:ext uri="{BB962C8B-B14F-4D97-AF65-F5344CB8AC3E}">
        <p14:creationId xmlns:p14="http://schemas.microsoft.com/office/powerpoint/2010/main" val="1626116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3688205"/>
            <a:ext cx="6364237" cy="1420371"/>
          </a:xfrm>
          <a:prstGeom prst="rect">
            <a:avLst/>
          </a:prstGeom>
        </p:spPr>
      </p:pic>
      <p:sp>
        <p:nvSpPr>
          <p:cNvPr id="2" name="Title 1"/>
          <p:cNvSpPr>
            <a:spLocks noGrp="1"/>
          </p:cNvSpPr>
          <p:nvPr>
            <p:ph type="title"/>
          </p:nvPr>
        </p:nvSpPr>
        <p:spPr>
          <a:xfrm>
            <a:off x="288036" y="268202"/>
            <a:ext cx="4789290" cy="346249"/>
          </a:xfrm>
        </p:spPr>
        <p:txBody>
          <a:bodyPr wrap="square">
            <a:normAutofit/>
          </a:bodyPr>
          <a:lstStyle>
            <a:lvl1pPr>
              <a:defRPr sz="2483"/>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1B64C1CA-9320-4112-886C-AAF9BAD3F488}" type="datetime1">
              <a:rPr lang="nb-NO" smtClean="0"/>
              <a:t>19.10.2022</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33781701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ekst og bild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1341002"/>
            <a:ext cx="3796676" cy="3495989"/>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5" name="Date Placeholder 4"/>
          <p:cNvSpPr>
            <a:spLocks noGrp="1"/>
          </p:cNvSpPr>
          <p:nvPr>
            <p:ph type="dt" sz="half" idx="10"/>
          </p:nvPr>
        </p:nvSpPr>
        <p:spPr/>
        <p:txBody>
          <a:bodyPr/>
          <a:lstStyle/>
          <a:p>
            <a:fld id="{DDAC5CCC-DC88-4883-904A-262AEBD18467}" type="datetime1">
              <a:rPr lang="nb-NO" smtClean="0"/>
              <a:t>19.10.2022</a:t>
            </a:fld>
            <a:endParaRPr lang="nb-NO" dirty="0"/>
          </a:p>
        </p:txBody>
      </p:sp>
      <p:sp>
        <p:nvSpPr>
          <p:cNvPr id="6" name="Footer Placeholder 5"/>
          <p:cNvSpPr>
            <a:spLocks noGrp="1"/>
          </p:cNvSpPr>
          <p:nvPr>
            <p:ph type="ftr" sz="quarter" idx="11"/>
          </p:nvPr>
        </p:nvSpPr>
        <p:spPr/>
        <p:txBody>
          <a:bodyPr/>
          <a:lstStyle/>
          <a:p>
            <a:endParaRPr lang="nb-NO" dirty="0"/>
          </a:p>
        </p:txBody>
      </p:sp>
      <p:sp>
        <p:nvSpPr>
          <p:cNvPr id="7" name="Slide Number Placeholder 6"/>
          <p:cNvSpPr>
            <a:spLocks noGrp="1"/>
          </p:cNvSpPr>
          <p:nvPr>
            <p:ph type="sldNum" sz="quarter" idx="12"/>
          </p:nvPr>
        </p:nvSpPr>
        <p:spPr/>
        <p:txBody>
          <a:bodyPr/>
          <a:lstStyle/>
          <a:p>
            <a:fld id="{D8865200-363A-4A27-BFE2-9D2920C8E885}" type="slidenum">
              <a:rPr lang="nb-NO" smtClean="0"/>
              <a:t>‹#›</a:t>
            </a:fld>
            <a:endParaRPr lang="nb-NO" dirty="0"/>
          </a:p>
        </p:txBody>
      </p:sp>
      <p:sp>
        <p:nvSpPr>
          <p:cNvPr id="8" name="Plassholder for bilde 7"/>
          <p:cNvSpPr>
            <a:spLocks noGrp="1"/>
          </p:cNvSpPr>
          <p:nvPr>
            <p:ph type="pic" sz="quarter" idx="13" hasCustomPrompt="1"/>
          </p:nvPr>
        </p:nvSpPr>
        <p:spPr>
          <a:xfrm>
            <a:off x="4718342" y="1341002"/>
            <a:ext cx="4118656" cy="3495989"/>
          </a:xfrm>
          <a:prstGeom prst="rect">
            <a:avLst/>
          </a:prstGeom>
          <a:solidFill>
            <a:schemeClr val="bg2"/>
          </a:solidFill>
        </p:spPr>
        <p:txBody>
          <a:bodyPr lIns="0" tIns="0" rIns="0" bIns="670365" anchor="ctr" anchorCtr="1"/>
          <a:lstStyle>
            <a:lvl1pPr marL="0" indent="0">
              <a:buNone/>
              <a:defRPr/>
            </a:lvl1pPr>
          </a:lstStyle>
          <a:p>
            <a:r>
              <a:rPr lang="nb-NO" dirty="0"/>
              <a:t>Trykk for å endre bilde</a:t>
            </a:r>
          </a:p>
        </p:txBody>
      </p:sp>
    </p:spTree>
    <p:extLst>
      <p:ext uri="{BB962C8B-B14F-4D97-AF65-F5344CB8AC3E}">
        <p14:creationId xmlns:p14="http://schemas.microsoft.com/office/powerpoint/2010/main" val="7436200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0" y="2138898"/>
            <a:ext cx="7658373" cy="623248"/>
          </a:xfrm>
        </p:spPr>
        <p:txBody>
          <a:bodyPr wrap="square" anchor="b" anchorCtr="0">
            <a:normAutofit/>
          </a:bodyPr>
          <a:lstStyle>
            <a:lvl1pPr algn="l">
              <a:defRPr sz="4500"/>
            </a:lvl1pPr>
          </a:lstStyle>
          <a:p>
            <a:r>
              <a:rPr lang="nb-NO"/>
              <a:t>Klikk for å redigere tittelstil</a:t>
            </a:r>
            <a:endParaRPr lang="en-US"/>
          </a:p>
        </p:txBody>
      </p:sp>
      <p:sp>
        <p:nvSpPr>
          <p:cNvPr id="3" name="Subtitle 2"/>
          <p:cNvSpPr>
            <a:spLocks noGrp="1"/>
          </p:cNvSpPr>
          <p:nvPr>
            <p:ph type="subTitle" idx="1"/>
          </p:nvPr>
        </p:nvSpPr>
        <p:spPr>
          <a:xfrm>
            <a:off x="324041" y="2888749"/>
            <a:ext cx="6584760" cy="346249"/>
          </a:xfrm>
        </p:spPr>
        <p:txBody>
          <a:bodyPr wrap="square">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
        <p:nvSpPr>
          <p:cNvPr id="9" name="Date Placeholder 3"/>
          <p:cNvSpPr>
            <a:spLocks noGrp="1"/>
          </p:cNvSpPr>
          <p:nvPr>
            <p:ph type="dt" sz="half" idx="10"/>
          </p:nvPr>
        </p:nvSpPr>
        <p:spPr>
          <a:xfrm>
            <a:off x="7462838" y="268201"/>
            <a:ext cx="1340263" cy="153888"/>
          </a:xfrm>
        </p:spPr>
        <p:txBody>
          <a:bodyPr>
            <a:spAutoFit/>
          </a:bodyPr>
          <a:lstStyle>
            <a:lvl1pPr algn="r">
              <a:defRPr sz="1000"/>
            </a:lvl1pPr>
          </a:lstStyle>
          <a:p>
            <a:fld id="{4ECF339B-DE26-4CB1-847D-D0F793D508DD}" type="datetime1">
              <a:rPr lang="nb-NO" smtClean="0"/>
              <a:t>19.10.2022</a:t>
            </a:fld>
            <a:endParaRPr lang="nb-NO"/>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1426831569"/>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914955"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0C27853C-4794-44B2-A8FB-82E8C67B7A42}" type="datetime1">
              <a:rPr lang="nb-NO" smtClean="0"/>
              <a:t>19.10.2022</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5418437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0" y="4444110"/>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500"/>
            </a:lvl1pPr>
          </a:lstStyle>
          <a:p>
            <a:r>
              <a:rPr lang="nb-NO"/>
              <a:t>Klikk for å redigere tittelstil</a:t>
            </a:r>
            <a:endParaRPr lang="en-US"/>
          </a:p>
        </p:txBody>
      </p:sp>
      <p:sp>
        <p:nvSpPr>
          <p:cNvPr id="4" name="Date Placeholder 3"/>
          <p:cNvSpPr>
            <a:spLocks noGrp="1"/>
          </p:cNvSpPr>
          <p:nvPr>
            <p:ph type="dt" sz="half" idx="10"/>
          </p:nvPr>
        </p:nvSpPr>
        <p:spPr>
          <a:xfrm>
            <a:off x="7462838" y="268201"/>
            <a:ext cx="1340263" cy="153888"/>
          </a:xfrm>
        </p:spPr>
        <p:txBody>
          <a:bodyPr>
            <a:spAutoFit/>
          </a:bodyPr>
          <a:lstStyle>
            <a:lvl1pPr algn="r">
              <a:defRPr sz="1000"/>
            </a:lvl1pPr>
          </a:lstStyle>
          <a:p>
            <a:fld id="{E6DEC9C7-18CC-48A8-856E-8B8C0B6382E9}" type="datetime1">
              <a:rPr lang="nb-NO" smtClean="0"/>
              <a:t>19.10.2022</a:t>
            </a:fld>
            <a:endParaRPr lang="nb-NO"/>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3" name="Subtitle 2"/>
          <p:cNvSpPr>
            <a:spLocks noGrp="1"/>
          </p:cNvSpPr>
          <p:nvPr>
            <p:ph type="subTitle" idx="1"/>
          </p:nvPr>
        </p:nvSpPr>
        <p:spPr>
          <a:xfrm>
            <a:off x="324040" y="2391877"/>
            <a:ext cx="8331224" cy="346249"/>
          </a:xfrm>
        </p:spPr>
        <p:txBody>
          <a:bodyPr>
            <a:normAutofit/>
          </a:bodyPr>
          <a:lstStyle>
            <a:lvl1pPr marL="0" indent="0" algn="l">
              <a:buNone/>
              <a:defRPr sz="2500" b="1"/>
            </a:lvl1pPr>
            <a:lvl2pPr marL="340545" indent="0" algn="ctr">
              <a:buNone/>
              <a:defRPr sz="1500"/>
            </a:lvl2pPr>
            <a:lvl3pPr marL="681091" indent="0" algn="ctr">
              <a:buNone/>
              <a:defRPr sz="1300"/>
            </a:lvl3pPr>
            <a:lvl4pPr marL="1021636" indent="0" algn="ctr">
              <a:buNone/>
              <a:defRPr sz="1200"/>
            </a:lvl4pPr>
            <a:lvl5pPr marL="1362183" indent="0" algn="ctr">
              <a:buNone/>
              <a:defRPr sz="1200"/>
            </a:lvl5pPr>
            <a:lvl6pPr marL="1702727" indent="0" algn="ctr">
              <a:buNone/>
              <a:defRPr sz="1200"/>
            </a:lvl6pPr>
            <a:lvl7pPr marL="2043272" indent="0" algn="ctr">
              <a:buNone/>
              <a:defRPr sz="1200"/>
            </a:lvl7pPr>
            <a:lvl8pPr marL="2383818" indent="0" algn="ctr">
              <a:buNone/>
              <a:defRPr sz="1200"/>
            </a:lvl8pPr>
            <a:lvl9pPr marL="2724363" indent="0" algn="ctr">
              <a:buNone/>
              <a:defRPr sz="1200"/>
            </a:lvl9pPr>
          </a:lstStyle>
          <a:p>
            <a:r>
              <a:rPr lang="nb-NO"/>
              <a:t>Klikk for å redigere undertittelstil i malen</a:t>
            </a:r>
            <a:endParaRPr lang="en-US"/>
          </a:p>
        </p:txBody>
      </p:sp>
    </p:spTree>
    <p:extLst>
      <p:ext uri="{BB962C8B-B14F-4D97-AF65-F5344CB8AC3E}">
        <p14:creationId xmlns:p14="http://schemas.microsoft.com/office/powerpoint/2010/main" val="1629642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79" y="1473432"/>
            <a:ext cx="4024733" cy="1869743"/>
          </a:xfrm>
        </p:spPr>
        <p:txBody>
          <a:bodyPr wrap="square">
            <a:normAutofit/>
          </a:bodyPr>
          <a:lstStyle>
            <a:lvl1pPr>
              <a:defRPr sz="4500"/>
            </a:lvl1pPr>
          </a:lstStyle>
          <a:p>
            <a:r>
              <a:rPr lang="nb-NO"/>
              <a:t>Klikk for å redigere tittelstil</a:t>
            </a:r>
          </a:p>
        </p:txBody>
      </p:sp>
      <p:pic>
        <p:nvPicPr>
          <p:cNvPr id="4" name="Bilde 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4" y="4456302"/>
            <a:ext cx="9144019" cy="652273"/>
          </a:xfrm>
          <a:prstGeom prst="rect">
            <a:avLst/>
          </a:prstGeom>
        </p:spPr>
      </p:pic>
      <p:sp>
        <p:nvSpPr>
          <p:cNvPr id="12" name="Date Placeholder 3"/>
          <p:cNvSpPr>
            <a:spLocks noGrp="1"/>
          </p:cNvSpPr>
          <p:nvPr>
            <p:ph type="dt" sz="half" idx="10"/>
          </p:nvPr>
        </p:nvSpPr>
        <p:spPr>
          <a:xfrm>
            <a:off x="7462838" y="268201"/>
            <a:ext cx="1340263" cy="153888"/>
          </a:xfrm>
        </p:spPr>
        <p:txBody>
          <a:bodyPr>
            <a:spAutoFit/>
          </a:bodyPr>
          <a:lstStyle>
            <a:lvl1pPr algn="r">
              <a:defRPr sz="1000"/>
            </a:lvl1pPr>
          </a:lstStyle>
          <a:p>
            <a:fld id="{B89DD950-73F7-4004-B10D-E4A2EA37D48F}" type="datetime1">
              <a:rPr lang="nb-NO" smtClean="0"/>
              <a:t>19.10.2022</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0"/>
            <a:ext cx="3952800" cy="2970371"/>
          </a:xfrm>
          <a:prstGeom prst="rect">
            <a:avLst/>
          </a:prstGeom>
          <a:solidFill>
            <a:schemeClr val="bg2"/>
          </a:solidFill>
        </p:spPr>
        <p:txBody>
          <a:bodyPr lIns="0" tIns="0" rIns="0" bIns="670365"/>
          <a:lstStyle/>
          <a:p>
            <a:r>
              <a:rPr lang="nb-NO"/>
              <a:t>Klikk ikonet for å legge til et bilde</a:t>
            </a:r>
          </a:p>
        </p:txBody>
      </p:sp>
    </p:spTree>
    <p:extLst>
      <p:ext uri="{BB962C8B-B14F-4D97-AF65-F5344CB8AC3E}">
        <p14:creationId xmlns:p14="http://schemas.microsoft.com/office/powerpoint/2010/main" val="28155084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0" y="2655183"/>
            <a:ext cx="3730785" cy="987421"/>
          </a:xfrm>
        </p:spPr>
        <p:txBody>
          <a:bodyPr>
            <a:normAutofit/>
          </a:bodyPr>
          <a:lstStyle>
            <a:lvl1pPr>
              <a:defRPr sz="3400"/>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6"/>
            <a:ext cx="3488884" cy="661455"/>
          </a:xfrm>
        </p:spPr>
        <p:txBody>
          <a:bodyPr>
            <a:normAutofit/>
          </a:bodyPr>
          <a:lstStyle>
            <a:lvl1pPr marL="0" indent="0">
              <a:buNone/>
              <a:defRPr sz="1100"/>
            </a:lvl1pPr>
          </a:lstStyle>
          <a:p>
            <a:pPr lvl="0"/>
            <a:r>
              <a:rPr lang="nb-NO"/>
              <a:t>Rediger tekststiler i malen</a:t>
            </a:r>
          </a:p>
        </p:txBody>
      </p:sp>
      <p:sp>
        <p:nvSpPr>
          <p:cNvPr id="10" name="TekstSylinder 9"/>
          <p:cNvSpPr txBox="1"/>
          <p:nvPr/>
        </p:nvSpPr>
        <p:spPr>
          <a:xfrm>
            <a:off x="321793" y="4688140"/>
            <a:ext cx="2045311" cy="206307"/>
          </a:xfrm>
          <a:prstGeom prst="rect">
            <a:avLst/>
          </a:prstGeom>
          <a:noFill/>
        </p:spPr>
        <p:txBody>
          <a:bodyPr wrap="square" lIns="34054" tIns="17027" rIns="34054" bIns="17027" rtlCol="0">
            <a:spAutoFit/>
          </a:bodyPr>
          <a:lstStyle/>
          <a:p>
            <a:r>
              <a:rPr lang="nb-NO" sz="1100" b="1"/>
              <a:t>Skatteetaten.no</a:t>
            </a:r>
          </a:p>
        </p:txBody>
      </p:sp>
      <p:sp>
        <p:nvSpPr>
          <p:cNvPr id="8" name="Rektangel 7"/>
          <p:cNvSpPr/>
          <p:nvPr/>
        </p:nvSpPr>
        <p:spPr>
          <a:xfrm>
            <a:off x="4305136" y="321841"/>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12" name="Bild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0"/>
            <a:ext cx="1755652" cy="621793"/>
          </a:xfrm>
          <a:prstGeom prst="rect">
            <a:avLst/>
          </a:prstGeom>
        </p:spPr>
      </p:pic>
    </p:spTree>
    <p:extLst>
      <p:ext uri="{BB962C8B-B14F-4D97-AF65-F5344CB8AC3E}">
        <p14:creationId xmlns:p14="http://schemas.microsoft.com/office/powerpoint/2010/main" val="1835638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p:nvSpPr>
        <p:spPr>
          <a:xfrm>
            <a:off x="0" y="0"/>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3" name="Bild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4355" y="1621676"/>
            <a:ext cx="2736878" cy="1865222"/>
          </a:xfrm>
          <a:prstGeom prst="rect">
            <a:avLst/>
          </a:prstGeom>
        </p:spPr>
      </p:pic>
    </p:spTree>
    <p:extLst>
      <p:ext uri="{BB962C8B-B14F-4D97-AF65-F5344CB8AC3E}">
        <p14:creationId xmlns:p14="http://schemas.microsoft.com/office/powerpoint/2010/main" val="26684089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0" y="2655183"/>
            <a:ext cx="3730785" cy="987421"/>
          </a:xfrm>
        </p:spPr>
        <p:txBody>
          <a:bodyPr>
            <a:normAutofit/>
          </a:bodyPr>
          <a:lstStyle>
            <a:lvl1pPr>
              <a:defRPr sz="3400"/>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6"/>
            <a:ext cx="3488884" cy="661455"/>
          </a:xfrm>
        </p:spPr>
        <p:txBody>
          <a:bodyPr>
            <a:normAutofit/>
          </a:bodyPr>
          <a:lstStyle>
            <a:lvl1pPr marL="0" indent="0">
              <a:buNone/>
              <a:defRPr sz="1100"/>
            </a:lvl1pPr>
          </a:lstStyle>
          <a:p>
            <a:pPr lvl="0"/>
            <a:r>
              <a:rPr lang="nb-NO"/>
              <a:t>Rediger tekststiler i malen</a:t>
            </a:r>
          </a:p>
        </p:txBody>
      </p:sp>
      <p:sp>
        <p:nvSpPr>
          <p:cNvPr id="10" name="TekstSylinder 9"/>
          <p:cNvSpPr txBox="1"/>
          <p:nvPr userDrawn="1"/>
        </p:nvSpPr>
        <p:spPr>
          <a:xfrm>
            <a:off x="321793" y="4688140"/>
            <a:ext cx="2045311" cy="206307"/>
          </a:xfrm>
          <a:prstGeom prst="rect">
            <a:avLst/>
          </a:prstGeom>
          <a:noFill/>
        </p:spPr>
        <p:txBody>
          <a:bodyPr wrap="square" lIns="34054" tIns="17027" rIns="34054" bIns="17027" rtlCol="0">
            <a:spAutoFit/>
          </a:bodyPr>
          <a:lstStyle/>
          <a:p>
            <a:r>
              <a:rPr lang="nb-NO" sz="1100" b="1"/>
              <a:t>Skatteetaten.no</a:t>
            </a:r>
          </a:p>
        </p:txBody>
      </p:sp>
      <p:sp>
        <p:nvSpPr>
          <p:cNvPr id="8" name="Rektangel 7"/>
          <p:cNvSpPr/>
          <p:nvPr userDrawn="1"/>
        </p:nvSpPr>
        <p:spPr>
          <a:xfrm>
            <a:off x="4305136" y="321841"/>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755652" cy="621793"/>
          </a:xfrm>
          <a:prstGeom prst="rect">
            <a:avLst/>
          </a:prstGeom>
        </p:spPr>
      </p:pic>
    </p:spTree>
    <p:extLst>
      <p:ext uri="{BB962C8B-B14F-4D97-AF65-F5344CB8AC3E}">
        <p14:creationId xmlns:p14="http://schemas.microsoft.com/office/powerpoint/2010/main" val="358694070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0" y="3688204"/>
            <a:ext cx="6364237" cy="1420371"/>
          </a:xfrm>
          <a:prstGeom prst="rect">
            <a:avLst/>
          </a:prstGeom>
        </p:spPr>
      </p:pic>
      <p:sp>
        <p:nvSpPr>
          <p:cNvPr id="2" name="Title 1"/>
          <p:cNvSpPr>
            <a:spLocks noGrp="1"/>
          </p:cNvSpPr>
          <p:nvPr>
            <p:ph type="title"/>
          </p:nvPr>
        </p:nvSpPr>
        <p:spPr>
          <a:xfrm>
            <a:off x="288036" y="268201"/>
            <a:ext cx="4789290" cy="346249"/>
          </a:xfrm>
        </p:spPr>
        <p:txBody>
          <a:bodyPr wrap="square">
            <a:normAutofit/>
          </a:bodyPr>
          <a:lstStyle>
            <a:lvl1pPr>
              <a:defRPr sz="2500"/>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8" y="268201"/>
            <a:ext cx="1340263" cy="153888"/>
          </a:xfrm>
        </p:spPr>
        <p:txBody>
          <a:bodyPr>
            <a:spAutoFit/>
          </a:bodyPr>
          <a:lstStyle>
            <a:lvl1pPr algn="r">
              <a:defRPr sz="1000"/>
            </a:lvl1pPr>
          </a:lstStyle>
          <a:p>
            <a:fld id="{1B64C1CA-9320-4112-886C-AAF9BAD3F488}" type="datetime1">
              <a:rPr lang="nb-NO" smtClean="0"/>
              <a:t>19.10.2022</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pic>
        <p:nvPicPr>
          <p:cNvPr id="14" name="Bilde 13"/>
          <p:cNvPicPr>
            <a:picLocks noChangeAspect="1"/>
          </p:cNvPicPr>
          <p:nvPr/>
        </p:nvPicPr>
        <p:blipFill rotWithShape="1">
          <a:blip r:embed="rId3">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40991814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Forside">
    <p:bg>
      <p:bgPr>
        <a:blipFill>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24041" y="2138898"/>
            <a:ext cx="7658373" cy="623248"/>
          </a:xfrm>
        </p:spPr>
        <p:txBody>
          <a:bodyPr wrap="square" anchor="b" anchorCtr="0">
            <a:normAutofit/>
          </a:bodyPr>
          <a:lstStyle>
            <a:lvl1pPr algn="l">
              <a:defRPr sz="4469"/>
            </a:lvl1pPr>
          </a:lstStyle>
          <a:p>
            <a:r>
              <a:rPr lang="nb-NO"/>
              <a:t>Klikk for å redigere tittelstil</a:t>
            </a:r>
            <a:endParaRPr lang="en-US" dirty="0"/>
          </a:p>
        </p:txBody>
      </p:sp>
      <p:sp>
        <p:nvSpPr>
          <p:cNvPr id="3" name="Subtitle 2"/>
          <p:cNvSpPr>
            <a:spLocks noGrp="1"/>
          </p:cNvSpPr>
          <p:nvPr>
            <p:ph type="subTitle" idx="1"/>
          </p:nvPr>
        </p:nvSpPr>
        <p:spPr>
          <a:xfrm>
            <a:off x="324041" y="2888750"/>
            <a:ext cx="6584760" cy="346249"/>
          </a:xfrm>
        </p:spPr>
        <p:txBody>
          <a:bodyPr wrap="square">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dirty="0"/>
          </a:p>
        </p:txBody>
      </p:sp>
      <p:sp>
        <p:nvSpPr>
          <p:cNvPr id="9" name="Date Placeholder 3"/>
          <p:cNvSpPr>
            <a:spLocks noGrp="1"/>
          </p:cNvSpPr>
          <p:nvPr>
            <p:ph type="dt" sz="half" idx="10"/>
          </p:nvPr>
        </p:nvSpPr>
        <p:spPr>
          <a:xfrm>
            <a:off x="7462839" y="268201"/>
            <a:ext cx="1340263" cy="153888"/>
          </a:xfrm>
        </p:spPr>
        <p:txBody>
          <a:bodyPr>
            <a:spAutoFit/>
          </a:bodyPr>
          <a:lstStyle>
            <a:lvl1pPr algn="r">
              <a:defRPr sz="993"/>
            </a:lvl1pPr>
          </a:lstStyle>
          <a:p>
            <a:fld id="{4ECF339B-DE26-4CB1-847D-D0F793D508DD}" type="datetime1">
              <a:rPr lang="nb-NO" smtClean="0"/>
              <a:t>19.10.2022</a:t>
            </a:fld>
            <a:endParaRPr lang="nb-NO" dirty="0"/>
          </a:p>
        </p:txBody>
      </p:sp>
      <p:sp>
        <p:nvSpPr>
          <p:cNvPr id="10"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11"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Tree>
    <p:extLst>
      <p:ext uri="{BB962C8B-B14F-4D97-AF65-F5344CB8AC3E}">
        <p14:creationId xmlns:p14="http://schemas.microsoft.com/office/powerpoint/2010/main" val="2625026812"/>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6"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a:p>
        </p:txBody>
      </p:sp>
      <p:sp>
        <p:nvSpPr>
          <p:cNvPr id="3" name="Content Placeholder 2"/>
          <p:cNvSpPr>
            <a:spLocks noGrp="1"/>
          </p:cNvSpPr>
          <p:nvPr>
            <p:ph idx="1"/>
          </p:nvPr>
        </p:nvSpPr>
        <p:spPr>
          <a:xfrm>
            <a:off x="288036" y="1981200"/>
            <a:ext cx="8371046" cy="277139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0C27853C-4794-44B2-A8FB-82E8C67B7A42}" type="datetime1">
              <a:rPr lang="nb-NO" smtClean="0"/>
              <a:t>19.10.2022</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Tree>
    <p:extLst>
      <p:ext uri="{BB962C8B-B14F-4D97-AF65-F5344CB8AC3E}">
        <p14:creationId xmlns:p14="http://schemas.microsoft.com/office/powerpoint/2010/main" val="23203378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1_Tekst">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14956" y="1969129"/>
            <a:ext cx="4230633" cy="3139446"/>
          </a:xfrm>
          <a:prstGeom prst="rect">
            <a:avLst/>
          </a:prstGeom>
        </p:spPr>
      </p:pic>
      <p:sp>
        <p:nvSpPr>
          <p:cNvPr id="2" name="Title 1"/>
          <p:cNvSpPr>
            <a:spLocks noGrp="1"/>
          </p:cNvSpPr>
          <p:nvPr>
            <p:ph type="title"/>
          </p:nvPr>
        </p:nvSpPr>
        <p:spPr>
          <a:xfrm>
            <a:off x="288036" y="1264108"/>
            <a:ext cx="8371046" cy="512448"/>
          </a:xfrm>
        </p:spPr>
        <p:txBody>
          <a:bodyPr wrap="square">
            <a:normAutofit/>
          </a:bodyPr>
          <a:lstStyle/>
          <a:p>
            <a:r>
              <a:rPr lang="nb-NO"/>
              <a:t>Klikk for å redigere tittelstil</a:t>
            </a:r>
            <a:endParaRPr lang="en-US" dirty="0"/>
          </a:p>
        </p:txBody>
      </p:sp>
      <p:sp>
        <p:nvSpPr>
          <p:cNvPr id="3" name="Content Placeholder 2"/>
          <p:cNvSpPr>
            <a:spLocks noGrp="1"/>
          </p:cNvSpPr>
          <p:nvPr>
            <p:ph idx="1"/>
          </p:nvPr>
        </p:nvSpPr>
        <p:spPr>
          <a:xfrm>
            <a:off x="288036" y="1981200"/>
            <a:ext cx="8371046" cy="277139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0C27853C-4794-44B2-A8FB-82E8C67B7A42}" type="datetime1">
              <a:rPr lang="nb-NO" smtClean="0"/>
              <a:t>19.10.2022</a:t>
            </a:fld>
            <a:endParaRPr lang="nb-NO" dirty="0"/>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Tree>
    <p:extLst>
      <p:ext uri="{BB962C8B-B14F-4D97-AF65-F5344CB8AC3E}">
        <p14:creationId xmlns:p14="http://schemas.microsoft.com/office/powerpoint/2010/main" val="22231612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Mellomtittel">
    <p:bg>
      <p:bgPr>
        <a:solidFill>
          <a:schemeClr val="bg1"/>
        </a:solidFill>
        <a:effectLst/>
      </p:bgPr>
    </p:bg>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4444111"/>
            <a:ext cx="9144019" cy="664465"/>
          </a:xfrm>
          <a:prstGeom prst="rect">
            <a:avLst/>
          </a:prstGeom>
        </p:spPr>
      </p:pic>
      <p:sp>
        <p:nvSpPr>
          <p:cNvPr id="2" name="Title 1"/>
          <p:cNvSpPr>
            <a:spLocks noGrp="1"/>
          </p:cNvSpPr>
          <p:nvPr>
            <p:ph type="ctrTitle"/>
          </p:nvPr>
        </p:nvSpPr>
        <p:spPr>
          <a:xfrm>
            <a:off x="324040" y="1554698"/>
            <a:ext cx="8331224" cy="623248"/>
          </a:xfrm>
        </p:spPr>
        <p:txBody>
          <a:bodyPr anchor="t" anchorCtr="0">
            <a:normAutofit/>
          </a:bodyPr>
          <a:lstStyle>
            <a:lvl1pPr algn="l">
              <a:defRPr sz="4469"/>
            </a:lvl1pPr>
          </a:lstStyle>
          <a:p>
            <a:r>
              <a:rPr lang="nb-NO"/>
              <a:t>Klikk for å redigere tittelstil</a:t>
            </a:r>
            <a:endParaRPr lang="en-US" dirty="0"/>
          </a:p>
        </p:txBody>
      </p:sp>
      <p:sp>
        <p:nvSpPr>
          <p:cNvPr id="4" name="Date Placeholder 3"/>
          <p:cNvSpPr>
            <a:spLocks noGrp="1"/>
          </p:cNvSpPr>
          <p:nvPr>
            <p:ph type="dt" sz="half" idx="10"/>
          </p:nvPr>
        </p:nvSpPr>
        <p:spPr>
          <a:xfrm>
            <a:off x="7462839" y="268201"/>
            <a:ext cx="1340263" cy="153888"/>
          </a:xfrm>
        </p:spPr>
        <p:txBody>
          <a:bodyPr>
            <a:spAutoFit/>
          </a:bodyPr>
          <a:lstStyle>
            <a:lvl1pPr algn="r">
              <a:defRPr sz="993"/>
            </a:lvl1pPr>
          </a:lstStyle>
          <a:p>
            <a:fld id="{E6DEC9C7-18CC-48A8-856E-8B8C0B6382E9}" type="datetime1">
              <a:rPr lang="nb-NO" smtClean="0"/>
              <a:t>19.10.2022</a:t>
            </a:fld>
            <a:endParaRPr lang="nb-NO" dirty="0"/>
          </a:p>
        </p:txBody>
      </p:sp>
      <p:sp>
        <p:nvSpPr>
          <p:cNvPr id="5"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6"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
        <p:nvSpPr>
          <p:cNvPr id="3" name="Subtitle 2"/>
          <p:cNvSpPr>
            <a:spLocks noGrp="1"/>
          </p:cNvSpPr>
          <p:nvPr>
            <p:ph type="subTitle" idx="1"/>
          </p:nvPr>
        </p:nvSpPr>
        <p:spPr>
          <a:xfrm>
            <a:off x="324040" y="2391878"/>
            <a:ext cx="8331224" cy="346249"/>
          </a:xfrm>
        </p:spPr>
        <p:txBody>
          <a:bodyPr>
            <a:normAutofit/>
          </a:bodyPr>
          <a:lstStyle>
            <a:lvl1pPr marL="0" indent="0" algn="l">
              <a:buNone/>
              <a:defRPr sz="2483" b="1"/>
            </a:lvl1pPr>
            <a:lvl2pPr marL="338170" indent="0" algn="ctr">
              <a:buNone/>
              <a:defRPr sz="1490"/>
            </a:lvl2pPr>
            <a:lvl3pPr marL="676341" indent="0" algn="ctr">
              <a:buNone/>
              <a:defRPr sz="1291"/>
            </a:lvl3pPr>
            <a:lvl4pPr marL="1014511" indent="0" algn="ctr">
              <a:buNone/>
              <a:defRPr sz="1192"/>
            </a:lvl4pPr>
            <a:lvl5pPr marL="1352683" indent="0" algn="ctr">
              <a:buNone/>
              <a:defRPr sz="1192"/>
            </a:lvl5pPr>
            <a:lvl6pPr marL="1690852" indent="0" algn="ctr">
              <a:buNone/>
              <a:defRPr sz="1192"/>
            </a:lvl6pPr>
            <a:lvl7pPr marL="2029023" indent="0" algn="ctr">
              <a:buNone/>
              <a:defRPr sz="1192"/>
            </a:lvl7pPr>
            <a:lvl8pPr marL="2367194" indent="0" algn="ctr">
              <a:buNone/>
              <a:defRPr sz="1192"/>
            </a:lvl8pPr>
            <a:lvl9pPr marL="2705364" indent="0" algn="ctr">
              <a:buNone/>
              <a:defRPr sz="1192"/>
            </a:lvl9pPr>
          </a:lstStyle>
          <a:p>
            <a:r>
              <a:rPr lang="nb-NO"/>
              <a:t>Klikk for å redigere undertittelstil i malen</a:t>
            </a:r>
            <a:endParaRPr lang="en-US" dirty="0"/>
          </a:p>
        </p:txBody>
      </p:sp>
    </p:spTree>
    <p:extLst>
      <p:ext uri="{BB962C8B-B14F-4D97-AF65-F5344CB8AC3E}">
        <p14:creationId xmlns:p14="http://schemas.microsoft.com/office/powerpoint/2010/main" val="620695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80" y="1473433"/>
            <a:ext cx="4024733" cy="1869743"/>
          </a:xfrm>
        </p:spPr>
        <p:txBody>
          <a:bodyPr wrap="square">
            <a:normAutofit/>
          </a:bodyPr>
          <a:lstStyle>
            <a:lvl1pPr>
              <a:defRPr sz="4469"/>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5" y="4456303"/>
            <a:ext cx="9144019" cy="652273"/>
          </a:xfrm>
          <a:prstGeom prst="rect">
            <a:avLst/>
          </a:prstGeom>
        </p:spPr>
      </p:pic>
      <p:sp>
        <p:nvSpPr>
          <p:cNvPr id="12" name="Date Placeholder 3"/>
          <p:cNvSpPr>
            <a:spLocks noGrp="1"/>
          </p:cNvSpPr>
          <p:nvPr>
            <p:ph type="dt" sz="half" idx="10"/>
          </p:nvPr>
        </p:nvSpPr>
        <p:spPr>
          <a:xfrm>
            <a:off x="7462839" y="268201"/>
            <a:ext cx="1340263" cy="153888"/>
          </a:xfrm>
        </p:spPr>
        <p:txBody>
          <a:bodyPr>
            <a:spAutoFit/>
          </a:bodyPr>
          <a:lstStyle>
            <a:lvl1pPr algn="r">
              <a:defRPr sz="993"/>
            </a:lvl1pPr>
          </a:lstStyle>
          <a:p>
            <a:fld id="{B89DD950-73F7-4004-B10D-E4A2EA37D48F}" type="datetime1">
              <a:rPr lang="nb-NO" smtClean="0"/>
              <a:t>19.10.2022</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1"/>
            <a:ext cx="3952800" cy="2970371"/>
          </a:xfrm>
          <a:prstGeom prst="rect">
            <a:avLst/>
          </a:prstGeom>
          <a:solidFill>
            <a:schemeClr val="bg2"/>
          </a:solidFill>
        </p:spPr>
        <p:txBody>
          <a:bodyPr lIns="0" tIns="0" rIns="0" bIns="670365"/>
          <a:lstStyle/>
          <a:p>
            <a:r>
              <a:rPr lang="nb-NO"/>
              <a:t>Klikk på ikonet for å legge til et bilde</a:t>
            </a:r>
          </a:p>
        </p:txBody>
      </p:sp>
    </p:spTree>
    <p:extLst>
      <p:ext uri="{BB962C8B-B14F-4D97-AF65-F5344CB8AC3E}">
        <p14:creationId xmlns:p14="http://schemas.microsoft.com/office/powerpoint/2010/main" val="41481207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1" y="2655184"/>
            <a:ext cx="3730785" cy="987421"/>
          </a:xfrm>
        </p:spPr>
        <p:txBody>
          <a:bodyPr>
            <a:normAutofit/>
          </a:bodyPr>
          <a:lstStyle>
            <a:lvl1pPr>
              <a:defRPr sz="3377"/>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7"/>
            <a:ext cx="3488884" cy="661455"/>
          </a:xfrm>
        </p:spPr>
        <p:txBody>
          <a:bodyPr>
            <a:normAutofit/>
          </a:bodyPr>
          <a:lstStyle>
            <a:lvl1pPr marL="0" indent="0">
              <a:buNone/>
              <a:defRPr sz="1092"/>
            </a:lvl1pPr>
          </a:lstStyle>
          <a:p>
            <a:pPr lvl="0"/>
            <a:r>
              <a:rPr lang="nb-NO"/>
              <a:t>Klikk for å redigere tekststiler i malen</a:t>
            </a:r>
          </a:p>
        </p:txBody>
      </p:sp>
      <p:sp>
        <p:nvSpPr>
          <p:cNvPr id="10" name="TekstSylinder 9"/>
          <p:cNvSpPr txBox="1"/>
          <p:nvPr userDrawn="1"/>
        </p:nvSpPr>
        <p:spPr>
          <a:xfrm>
            <a:off x="321793" y="4688141"/>
            <a:ext cx="2045311" cy="202208"/>
          </a:xfrm>
          <a:prstGeom prst="rect">
            <a:avLst/>
          </a:prstGeom>
          <a:noFill/>
        </p:spPr>
        <p:txBody>
          <a:bodyPr wrap="square" lIns="33817" tIns="16909" rIns="33817" bIns="16909" rtlCol="0">
            <a:spAutoFit/>
          </a:bodyPr>
          <a:lstStyle/>
          <a:p>
            <a:r>
              <a:rPr lang="nb-NO" sz="1092" b="1"/>
              <a:t>Skatteetaten.no</a:t>
            </a:r>
          </a:p>
        </p:txBody>
      </p:sp>
      <p:sp>
        <p:nvSpPr>
          <p:cNvPr id="8" name="Rektangel 7"/>
          <p:cNvSpPr/>
          <p:nvPr userDrawn="1"/>
        </p:nvSpPr>
        <p:spPr>
          <a:xfrm>
            <a:off x="4305137" y="321842"/>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
            <a:ext cx="1755652" cy="621793"/>
          </a:xfrm>
          <a:prstGeom prst="rect">
            <a:avLst/>
          </a:prstGeom>
        </p:spPr>
      </p:pic>
    </p:spTree>
    <p:extLst>
      <p:ext uri="{BB962C8B-B14F-4D97-AF65-F5344CB8AC3E}">
        <p14:creationId xmlns:p14="http://schemas.microsoft.com/office/powerpoint/2010/main" val="24102160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80" y="1473433"/>
            <a:ext cx="4024733" cy="1869743"/>
          </a:xfrm>
        </p:spPr>
        <p:txBody>
          <a:bodyPr wrap="square">
            <a:normAutofit/>
          </a:bodyPr>
          <a:lstStyle>
            <a:lvl1pPr>
              <a:defRPr sz="4469"/>
            </a:lvl1pPr>
          </a:lstStyle>
          <a:p>
            <a:r>
              <a:rPr lang="nb-NO"/>
              <a:t>Klikk for å redigere tittelstil</a:t>
            </a:r>
            <a:endParaRPr lang="nb-NO" dirty="0"/>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5" y="4456303"/>
            <a:ext cx="9144019" cy="652273"/>
          </a:xfrm>
          <a:prstGeom prst="rect">
            <a:avLst/>
          </a:prstGeom>
        </p:spPr>
      </p:pic>
      <p:sp>
        <p:nvSpPr>
          <p:cNvPr id="12" name="Date Placeholder 3"/>
          <p:cNvSpPr>
            <a:spLocks noGrp="1"/>
          </p:cNvSpPr>
          <p:nvPr>
            <p:ph type="dt" sz="half" idx="10"/>
          </p:nvPr>
        </p:nvSpPr>
        <p:spPr>
          <a:xfrm>
            <a:off x="7462839" y="268201"/>
            <a:ext cx="1340263" cy="153888"/>
          </a:xfrm>
        </p:spPr>
        <p:txBody>
          <a:bodyPr>
            <a:spAutoFit/>
          </a:bodyPr>
          <a:lstStyle>
            <a:lvl1pPr algn="r">
              <a:defRPr sz="993"/>
            </a:lvl1pPr>
          </a:lstStyle>
          <a:p>
            <a:fld id="{B89DD950-73F7-4004-B10D-E4A2EA37D48F}" type="datetime1">
              <a:rPr lang="nb-NO" smtClean="0"/>
              <a:t>19.10.2022</a:t>
            </a:fld>
            <a:endParaRPr lang="nb-NO" dirty="0"/>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sp>
        <p:nvSpPr>
          <p:cNvPr id="15" name="Plassholder for bilde 14"/>
          <p:cNvSpPr>
            <a:spLocks noGrp="1"/>
          </p:cNvSpPr>
          <p:nvPr>
            <p:ph type="pic" sz="quarter" idx="15"/>
          </p:nvPr>
        </p:nvSpPr>
        <p:spPr>
          <a:xfrm>
            <a:off x="4781398" y="1440181"/>
            <a:ext cx="3952800" cy="2970371"/>
          </a:xfrm>
          <a:prstGeom prst="rect">
            <a:avLst/>
          </a:prstGeom>
          <a:solidFill>
            <a:schemeClr val="bg2"/>
          </a:solidFill>
        </p:spPr>
        <p:txBody>
          <a:bodyPr lIns="0" tIns="0" rIns="0" bIns="670365"/>
          <a:lstStyle/>
          <a:p>
            <a:r>
              <a:rPr lang="nb-NO"/>
              <a:t>Klikk ikonet for å legge til et bilde</a:t>
            </a:r>
            <a:endParaRPr lang="nb-NO" dirty="0"/>
          </a:p>
        </p:txBody>
      </p:sp>
    </p:spTree>
    <p:extLst>
      <p:ext uri="{BB962C8B-B14F-4D97-AF65-F5344CB8AC3E}">
        <p14:creationId xmlns:p14="http://schemas.microsoft.com/office/powerpoint/2010/main" val="11328350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1" y="2655184"/>
            <a:ext cx="3730785" cy="987421"/>
          </a:xfrm>
        </p:spPr>
        <p:txBody>
          <a:bodyPr>
            <a:normAutofit/>
          </a:bodyPr>
          <a:lstStyle>
            <a:lvl1pPr>
              <a:defRPr sz="3377"/>
            </a:lvl1pPr>
          </a:lstStyle>
          <a:p>
            <a:r>
              <a:rPr lang="nb-NO"/>
              <a:t>Klikk for å redigere tittelstil</a:t>
            </a:r>
            <a:endParaRPr lang="en-US" dirty="0"/>
          </a:p>
        </p:txBody>
      </p:sp>
      <p:sp>
        <p:nvSpPr>
          <p:cNvPr id="7" name="Plassholder for tekst 6"/>
          <p:cNvSpPr>
            <a:spLocks noGrp="1"/>
          </p:cNvSpPr>
          <p:nvPr>
            <p:ph type="body" sz="quarter" idx="13"/>
          </p:nvPr>
        </p:nvSpPr>
        <p:spPr>
          <a:xfrm>
            <a:off x="321791" y="3945227"/>
            <a:ext cx="3488884" cy="661455"/>
          </a:xfrm>
        </p:spPr>
        <p:txBody>
          <a:bodyPr>
            <a:normAutofit/>
          </a:bodyPr>
          <a:lstStyle>
            <a:lvl1pPr marL="0" indent="0">
              <a:buNone/>
              <a:defRPr sz="1092"/>
            </a:lvl1pPr>
          </a:lstStyle>
          <a:p>
            <a:pPr lvl="0"/>
            <a:r>
              <a:rPr lang="nb-NO"/>
              <a:t>Rediger tekststiler i malen</a:t>
            </a:r>
          </a:p>
        </p:txBody>
      </p:sp>
      <p:sp>
        <p:nvSpPr>
          <p:cNvPr id="10" name="TekstSylinder 9"/>
          <p:cNvSpPr txBox="1"/>
          <p:nvPr userDrawn="1"/>
        </p:nvSpPr>
        <p:spPr>
          <a:xfrm>
            <a:off x="321793" y="4688141"/>
            <a:ext cx="2045311" cy="202208"/>
          </a:xfrm>
          <a:prstGeom prst="rect">
            <a:avLst/>
          </a:prstGeom>
          <a:noFill/>
        </p:spPr>
        <p:txBody>
          <a:bodyPr wrap="square" lIns="33817" tIns="16909" rIns="33817" bIns="16909" rtlCol="0">
            <a:spAutoFit/>
          </a:bodyPr>
          <a:lstStyle/>
          <a:p>
            <a:r>
              <a:rPr lang="nb-NO" sz="1092" b="1" dirty="0"/>
              <a:t>Skatteetaten.no</a:t>
            </a:r>
          </a:p>
        </p:txBody>
      </p:sp>
      <p:sp>
        <p:nvSpPr>
          <p:cNvPr id="8" name="Rektangel 7"/>
          <p:cNvSpPr/>
          <p:nvPr userDrawn="1"/>
        </p:nvSpPr>
        <p:spPr>
          <a:xfrm>
            <a:off x="4305137" y="321842"/>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dirty="0"/>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
            <a:ext cx="1755652" cy="621793"/>
          </a:xfrm>
          <a:prstGeom prst="rect">
            <a:avLst/>
          </a:prstGeom>
        </p:spPr>
      </p:pic>
    </p:spTree>
    <p:extLst>
      <p:ext uri="{BB962C8B-B14F-4D97-AF65-F5344CB8AC3E}">
        <p14:creationId xmlns:p14="http://schemas.microsoft.com/office/powerpoint/2010/main" val="20672018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userDrawn="1"/>
        </p:nvSpPr>
        <p:spPr>
          <a:xfrm>
            <a:off x="0" y="1"/>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792" tIns="45395" rIns="90792" bIns="45395" rtlCol="0" anchor="ctr"/>
          <a:lstStyle/>
          <a:p>
            <a:pPr algn="ctr"/>
            <a:endParaRPr lang="nb-NO" sz="1788" dirty="0"/>
          </a:p>
        </p:txBody>
      </p:sp>
      <p:pic>
        <p:nvPicPr>
          <p:cNvPr id="3" name="Bil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4356" y="1621677"/>
            <a:ext cx="2736878" cy="1865222"/>
          </a:xfrm>
          <a:prstGeom prst="rect">
            <a:avLst/>
          </a:prstGeom>
        </p:spPr>
      </p:pic>
    </p:spTree>
    <p:extLst>
      <p:ext uri="{BB962C8B-B14F-4D97-AF65-F5344CB8AC3E}">
        <p14:creationId xmlns:p14="http://schemas.microsoft.com/office/powerpoint/2010/main" val="33440770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a:xfrm>
            <a:off x="321979" y="1473432"/>
            <a:ext cx="4024733" cy="1869743"/>
          </a:xfrm>
        </p:spPr>
        <p:txBody>
          <a:bodyPr wrap="square">
            <a:normAutofit/>
          </a:bodyPr>
          <a:lstStyle>
            <a:lvl1pPr>
              <a:defRPr sz="4500"/>
            </a:lvl1pPr>
          </a:lstStyle>
          <a:p>
            <a:r>
              <a:rPr lang="nb-NO"/>
              <a:t>Klikk for å redigere tittelstil</a:t>
            </a:r>
          </a:p>
        </p:txBody>
      </p:sp>
      <p:pic>
        <p:nvPicPr>
          <p:cNvPr id="4" name="Bild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84" y="4456302"/>
            <a:ext cx="9144019" cy="652273"/>
          </a:xfrm>
          <a:prstGeom prst="rect">
            <a:avLst/>
          </a:prstGeom>
        </p:spPr>
      </p:pic>
      <p:sp>
        <p:nvSpPr>
          <p:cNvPr id="12" name="Date Placeholder 3"/>
          <p:cNvSpPr>
            <a:spLocks noGrp="1"/>
          </p:cNvSpPr>
          <p:nvPr>
            <p:ph type="dt" sz="half" idx="10"/>
          </p:nvPr>
        </p:nvSpPr>
        <p:spPr>
          <a:xfrm>
            <a:off x="7462838" y="268201"/>
            <a:ext cx="1340263" cy="153888"/>
          </a:xfrm>
        </p:spPr>
        <p:txBody>
          <a:bodyPr>
            <a:spAutoFit/>
          </a:bodyPr>
          <a:lstStyle>
            <a:lvl1pPr algn="r">
              <a:defRPr sz="1000"/>
            </a:lvl1pPr>
          </a:lstStyle>
          <a:p>
            <a:fld id="{B89DD950-73F7-4004-B10D-E4A2EA37D48F}" type="datetime1">
              <a:rPr lang="nb-NO" smtClean="0"/>
              <a:t>19.10.2022</a:t>
            </a:fld>
            <a:endParaRPr lang="nb-NO"/>
          </a:p>
        </p:txBody>
      </p:sp>
      <p:sp>
        <p:nvSpPr>
          <p:cNvPr id="13" name="Footer Placeholder 4"/>
          <p:cNvSpPr>
            <a:spLocks noGrp="1"/>
          </p:cNvSpPr>
          <p:nvPr>
            <p:ph type="ftr" sz="quarter" idx="11"/>
          </p:nvPr>
        </p:nvSpPr>
        <p:spPr>
          <a:xfrm>
            <a:off x="5713414" y="268201"/>
            <a:ext cx="1609898" cy="153888"/>
          </a:xfrm>
        </p:spPr>
        <p:txBody>
          <a:bodyPr>
            <a:spAutoFit/>
          </a:bodyPr>
          <a:lstStyle>
            <a:lvl1pPr>
              <a:defRPr sz="1000"/>
            </a:lvl1pPr>
          </a:lstStyle>
          <a:p>
            <a:endParaRPr lang="nb-NO"/>
          </a:p>
        </p:txBody>
      </p:sp>
      <p:sp>
        <p:nvSpPr>
          <p:cNvPr id="14" name="Slide Number Placeholder 5"/>
          <p:cNvSpPr>
            <a:spLocks noGrp="1"/>
          </p:cNvSpPr>
          <p:nvPr>
            <p:ph type="sldNum" sz="quarter" idx="12"/>
          </p:nvPr>
        </p:nvSpPr>
        <p:spPr>
          <a:xfrm>
            <a:off x="5305572" y="268201"/>
            <a:ext cx="268316" cy="153888"/>
          </a:xfrm>
        </p:spPr>
        <p:txBody>
          <a:bodyPr>
            <a:spAutoFit/>
          </a:bodyPr>
          <a:lstStyle>
            <a:lvl1pPr>
              <a:defRPr sz="1000"/>
            </a:lvl1pPr>
          </a:lstStyle>
          <a:p>
            <a:fld id="{D8865200-363A-4A27-BFE2-9D2920C8E885}" type="slidenum">
              <a:rPr lang="nb-NO" smtClean="0"/>
              <a:pPr/>
              <a:t>‹#›</a:t>
            </a:fld>
            <a:endParaRPr lang="nb-NO"/>
          </a:p>
        </p:txBody>
      </p:sp>
      <p:sp>
        <p:nvSpPr>
          <p:cNvPr id="15" name="Plassholder for bilde 14"/>
          <p:cNvSpPr>
            <a:spLocks noGrp="1"/>
          </p:cNvSpPr>
          <p:nvPr>
            <p:ph type="pic" sz="quarter" idx="15"/>
          </p:nvPr>
        </p:nvSpPr>
        <p:spPr>
          <a:xfrm>
            <a:off x="4781398" y="1440180"/>
            <a:ext cx="3952800" cy="2970371"/>
          </a:xfrm>
          <a:prstGeom prst="rect">
            <a:avLst/>
          </a:prstGeom>
          <a:solidFill>
            <a:schemeClr val="bg2"/>
          </a:solidFill>
        </p:spPr>
        <p:txBody>
          <a:bodyPr lIns="0" tIns="0" rIns="0" bIns="670365"/>
          <a:lstStyle/>
          <a:p>
            <a:r>
              <a:rPr lang="nb-NO"/>
              <a:t>Klikk på ikonet for å legge til et bilde</a:t>
            </a:r>
          </a:p>
        </p:txBody>
      </p:sp>
    </p:spTree>
    <p:extLst>
      <p:ext uri="{BB962C8B-B14F-4D97-AF65-F5344CB8AC3E}">
        <p14:creationId xmlns:p14="http://schemas.microsoft.com/office/powerpoint/2010/main" val="39342816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obj" preserve="1">
  <p:cSld name="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3688205"/>
            <a:ext cx="6364237" cy="1420371"/>
          </a:xfrm>
          <a:prstGeom prst="rect">
            <a:avLst/>
          </a:prstGeom>
        </p:spPr>
      </p:pic>
      <p:sp>
        <p:nvSpPr>
          <p:cNvPr id="2" name="Title 1"/>
          <p:cNvSpPr>
            <a:spLocks noGrp="1"/>
          </p:cNvSpPr>
          <p:nvPr>
            <p:ph type="title"/>
          </p:nvPr>
        </p:nvSpPr>
        <p:spPr>
          <a:xfrm>
            <a:off x="288036" y="268202"/>
            <a:ext cx="4789290" cy="346249"/>
          </a:xfrm>
        </p:spPr>
        <p:txBody>
          <a:bodyPr wrap="square">
            <a:normAutofit/>
          </a:bodyPr>
          <a:lstStyle>
            <a:lvl1pPr>
              <a:defRPr sz="2483"/>
            </a:lvl1pPr>
          </a:lstStyle>
          <a:p>
            <a:r>
              <a:rPr lang="nb-NO"/>
              <a:t>Klikk for å redigere tittelstil</a:t>
            </a:r>
            <a:endParaRPr lang="en-US"/>
          </a:p>
        </p:txBody>
      </p:sp>
      <p:sp>
        <p:nvSpPr>
          <p:cNvPr id="3" name="Content Placeholder 2"/>
          <p:cNvSpPr>
            <a:spLocks noGrp="1"/>
          </p:cNvSpPr>
          <p:nvPr>
            <p:ph idx="1"/>
          </p:nvPr>
        </p:nvSpPr>
        <p:spPr>
          <a:xfrm>
            <a:off x="936117" y="817302"/>
            <a:ext cx="7020878" cy="3647256"/>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1B64C1CA-9320-4112-886C-AAF9BAD3F488}" type="datetime1">
              <a:rPr lang="nb-NO" smtClean="0"/>
              <a:t>19.10.2022</a:t>
            </a:fld>
            <a:endParaRPr lang="nb-NO"/>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a:p>
        </p:txBody>
      </p:sp>
      <p:pic>
        <p:nvPicPr>
          <p:cNvPr id="14" name="Bild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40901443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10"/>
          </p:nvPr>
        </p:nvSpPr>
        <p:spPr/>
        <p:txBody>
          <a:bodyPr/>
          <a:lstStyle/>
          <a:p>
            <a:fld id="{12173DBC-4668-4C86-BB6C-D39D054CCB24}"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15605317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Only">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a:p>
        </p:txBody>
      </p:sp>
      <p:sp>
        <p:nvSpPr>
          <p:cNvPr id="3" name="Date Placeholder 2"/>
          <p:cNvSpPr>
            <a:spLocks noGrp="1"/>
          </p:cNvSpPr>
          <p:nvPr>
            <p:ph type="dt" sz="half" idx="10"/>
          </p:nvPr>
        </p:nvSpPr>
        <p:spPr/>
        <p:txBody>
          <a:bodyPr/>
          <a:lstStyle/>
          <a:p>
            <a:fld id="{7B6A9958-587B-4A8F-AC94-6255560209F3}" type="datetime1">
              <a:rPr lang="nb-NO" smtClean="0"/>
              <a:t>19.10.2022</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D8865200-363A-4A27-BFE2-9D2920C8E885}" type="slidenum">
              <a:rPr lang="nb-NO" smtClean="0"/>
              <a:t>‹#›</a:t>
            </a:fld>
            <a:endParaRPr lang="nb-NO"/>
          </a:p>
        </p:txBody>
      </p:sp>
    </p:spTree>
    <p:extLst>
      <p:ext uri="{BB962C8B-B14F-4D97-AF65-F5344CB8AC3E}">
        <p14:creationId xmlns:p14="http://schemas.microsoft.com/office/powerpoint/2010/main" val="12095286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obj" preserve="1">
  <p:cSld name="1_Dokumentmal">
    <p:spTree>
      <p:nvGrpSpPr>
        <p:cNvPr id="1" name=""/>
        <p:cNvGrpSpPr/>
        <p:nvPr/>
      </p:nvGrpSpPr>
      <p:grpSpPr>
        <a:xfrm>
          <a:off x="0" y="0"/>
          <a:ext cx="0" cy="0"/>
          <a:chOff x="0" y="0"/>
          <a:chExt cx="0" cy="0"/>
        </a:xfrm>
      </p:grpSpPr>
      <p:pic>
        <p:nvPicPr>
          <p:cNvPr id="10" name="Bild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 y="3688205"/>
            <a:ext cx="6364237" cy="1420371"/>
          </a:xfrm>
          <a:prstGeom prst="rect">
            <a:avLst/>
          </a:prstGeom>
        </p:spPr>
      </p:pic>
      <p:sp>
        <p:nvSpPr>
          <p:cNvPr id="2" name="Title 1"/>
          <p:cNvSpPr>
            <a:spLocks noGrp="1"/>
          </p:cNvSpPr>
          <p:nvPr>
            <p:ph type="title"/>
          </p:nvPr>
        </p:nvSpPr>
        <p:spPr>
          <a:xfrm>
            <a:off x="288036" y="268202"/>
            <a:ext cx="4789290" cy="346249"/>
          </a:xfrm>
        </p:spPr>
        <p:txBody>
          <a:bodyPr wrap="square">
            <a:normAutofit/>
          </a:bodyPr>
          <a:lstStyle>
            <a:lvl1pPr>
              <a:defRPr sz="2483"/>
            </a:lvl1pPr>
          </a:lstStyle>
          <a:p>
            <a:r>
              <a:rPr lang="nb-NO"/>
              <a:t>Klikk for å redigere tittelstil</a:t>
            </a:r>
            <a:endParaRPr lang="en-US" dirty="0"/>
          </a:p>
        </p:txBody>
      </p:sp>
      <p:sp>
        <p:nvSpPr>
          <p:cNvPr id="3" name="Content Placeholder 2"/>
          <p:cNvSpPr>
            <a:spLocks noGrp="1"/>
          </p:cNvSpPr>
          <p:nvPr>
            <p:ph idx="1"/>
          </p:nvPr>
        </p:nvSpPr>
        <p:spPr>
          <a:xfrm>
            <a:off x="936117" y="817302"/>
            <a:ext cx="7020878" cy="3647256"/>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3"/>
          <p:cNvSpPr>
            <a:spLocks noGrp="1"/>
          </p:cNvSpPr>
          <p:nvPr>
            <p:ph type="dt" sz="half" idx="10"/>
          </p:nvPr>
        </p:nvSpPr>
        <p:spPr>
          <a:xfrm>
            <a:off x="7462839" y="268201"/>
            <a:ext cx="1340263" cy="153888"/>
          </a:xfrm>
        </p:spPr>
        <p:txBody>
          <a:bodyPr>
            <a:spAutoFit/>
          </a:bodyPr>
          <a:lstStyle>
            <a:lvl1pPr algn="r">
              <a:defRPr sz="993"/>
            </a:lvl1pPr>
          </a:lstStyle>
          <a:p>
            <a:fld id="{1B64C1CA-9320-4112-886C-AAF9BAD3F488}" type="datetime1">
              <a:rPr lang="nb-NO" smtClean="0"/>
              <a:t>19.10.2022</a:t>
            </a:fld>
            <a:endParaRPr lang="nb-NO" dirty="0"/>
          </a:p>
        </p:txBody>
      </p:sp>
      <p:sp>
        <p:nvSpPr>
          <p:cNvPr id="8" name="Footer Placeholder 4"/>
          <p:cNvSpPr>
            <a:spLocks noGrp="1"/>
          </p:cNvSpPr>
          <p:nvPr>
            <p:ph type="ftr" sz="quarter" idx="11"/>
          </p:nvPr>
        </p:nvSpPr>
        <p:spPr>
          <a:xfrm>
            <a:off x="5713414" y="268201"/>
            <a:ext cx="1609898" cy="153888"/>
          </a:xfrm>
        </p:spPr>
        <p:txBody>
          <a:bodyPr>
            <a:spAutoFit/>
          </a:bodyPr>
          <a:lstStyle>
            <a:lvl1pPr>
              <a:defRPr sz="993"/>
            </a:lvl1pPr>
          </a:lstStyle>
          <a:p>
            <a:endParaRPr lang="nb-NO" dirty="0"/>
          </a:p>
        </p:txBody>
      </p:sp>
      <p:sp>
        <p:nvSpPr>
          <p:cNvPr id="9" name="Slide Number Placeholder 5"/>
          <p:cNvSpPr>
            <a:spLocks noGrp="1"/>
          </p:cNvSpPr>
          <p:nvPr>
            <p:ph type="sldNum" sz="quarter" idx="12"/>
          </p:nvPr>
        </p:nvSpPr>
        <p:spPr>
          <a:xfrm>
            <a:off x="5305572" y="268201"/>
            <a:ext cx="268316" cy="153888"/>
          </a:xfrm>
        </p:spPr>
        <p:txBody>
          <a:bodyPr>
            <a:spAutoFit/>
          </a:bodyPr>
          <a:lstStyle>
            <a:lvl1pPr>
              <a:defRPr sz="993"/>
            </a:lvl1pPr>
          </a:lstStyle>
          <a:p>
            <a:fld id="{D8865200-363A-4A27-BFE2-9D2920C8E885}" type="slidenum">
              <a:rPr lang="nb-NO" smtClean="0"/>
              <a:pPr/>
              <a:t>‹#›</a:t>
            </a:fld>
            <a:endParaRPr lang="nb-NO" dirty="0"/>
          </a:p>
        </p:txBody>
      </p:sp>
      <p:pic>
        <p:nvPicPr>
          <p:cNvPr id="14" name="Bilde 13"/>
          <p:cNvPicPr>
            <a:picLocks noChangeAspect="1"/>
          </p:cNvPicPr>
          <p:nvPr userDrawn="1"/>
        </p:nvPicPr>
        <p:blipFill rotWithShape="1">
          <a:blip r:embed="rId3" cstate="print">
            <a:extLst>
              <a:ext uri="{28A0092B-C50C-407E-A947-70E740481C1C}">
                <a14:useLocalDpi xmlns:a14="http://schemas.microsoft.com/office/drawing/2010/main" val="0"/>
              </a:ext>
            </a:extLst>
          </a:blip>
          <a:srcRect b="14203"/>
          <a:stretch/>
        </p:blipFill>
        <p:spPr>
          <a:xfrm>
            <a:off x="8309839" y="4266533"/>
            <a:ext cx="543600" cy="563884"/>
          </a:xfrm>
          <a:prstGeom prst="rect">
            <a:avLst/>
          </a:prstGeom>
        </p:spPr>
      </p:pic>
    </p:spTree>
    <p:extLst>
      <p:ext uri="{BB962C8B-B14F-4D97-AF65-F5344CB8AC3E}">
        <p14:creationId xmlns:p14="http://schemas.microsoft.com/office/powerpoint/2010/main" val="41301797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Klikk for å redigere tittelstil</a:t>
            </a:r>
            <a:endParaRPr lang="en-US" dirty="0"/>
          </a:p>
        </p:txBody>
      </p:sp>
      <p:sp>
        <p:nvSpPr>
          <p:cNvPr id="3" name="Content Placeholder 2"/>
          <p:cNvSpPr>
            <a:spLocks noGrp="1"/>
          </p:cNvSpPr>
          <p:nvPr>
            <p:ph idx="1"/>
          </p:nvPr>
        </p:nvSpPr>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10"/>
          </p:nvPr>
        </p:nvSpPr>
        <p:spPr/>
        <p:txBody>
          <a:bodyPr/>
          <a:lstStyle/>
          <a:p>
            <a:fld id="{64EBF9E4-967E-4BCD-89CF-2C76776E7D00}" type="datetime4">
              <a:rPr lang="nb-NO" smtClean="0">
                <a:solidFill>
                  <a:prstClr val="black"/>
                </a:solidFill>
              </a:rPr>
              <a:pPr/>
              <a:t>19. oktober 2022</a:t>
            </a:fld>
            <a:endParaRPr lang="nb-NO">
              <a:solidFill>
                <a:prstClr val="black"/>
              </a:solidFill>
            </a:endParaRPr>
          </a:p>
        </p:txBody>
      </p:sp>
      <p:sp>
        <p:nvSpPr>
          <p:cNvPr id="5" name="Footer Placeholder 4"/>
          <p:cNvSpPr>
            <a:spLocks noGrp="1"/>
          </p:cNvSpPr>
          <p:nvPr>
            <p:ph type="ftr" sz="quarter" idx="11"/>
          </p:nvPr>
        </p:nvSpPr>
        <p:spPr/>
        <p:txBody>
          <a:bodyPr/>
          <a:lstStyle/>
          <a:p>
            <a:endParaRPr lang="nb-NO">
              <a:solidFill>
                <a:prstClr val="black"/>
              </a:solidFill>
            </a:endParaRPr>
          </a:p>
        </p:txBody>
      </p:sp>
      <p:sp>
        <p:nvSpPr>
          <p:cNvPr id="6" name="Slide Number Placeholder 5"/>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41150726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nnhold uten tittel">
    <p:spTree>
      <p:nvGrpSpPr>
        <p:cNvPr id="1" name=""/>
        <p:cNvGrpSpPr/>
        <p:nvPr/>
      </p:nvGrpSpPr>
      <p:grpSpPr>
        <a:xfrm>
          <a:off x="0" y="0"/>
          <a:ext cx="0" cy="0"/>
          <a:chOff x="0" y="0"/>
          <a:chExt cx="0" cy="0"/>
        </a:xfrm>
      </p:grpSpPr>
      <p:sp>
        <p:nvSpPr>
          <p:cNvPr id="7" name="Content Placeholder 3"/>
          <p:cNvSpPr>
            <a:spLocks noGrp="1"/>
          </p:cNvSpPr>
          <p:nvPr>
            <p:ph sz="half" idx="2"/>
          </p:nvPr>
        </p:nvSpPr>
        <p:spPr>
          <a:xfrm>
            <a:off x="321980" y="1362459"/>
            <a:ext cx="8515018" cy="3474533"/>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10"/>
          </p:nvPr>
        </p:nvSpPr>
        <p:spPr/>
        <p:txBody>
          <a:bodyPr/>
          <a:lstStyle/>
          <a:p>
            <a:fld id="{1A1F10B7-A01E-430E-A625-DB4259FCF2CA}" type="datetime4">
              <a:rPr lang="nb-NO" smtClean="0">
                <a:solidFill>
                  <a:prstClr val="black"/>
                </a:solidFill>
              </a:rPr>
              <a:pPr/>
              <a:t>19. oktober 2022</a:t>
            </a:fld>
            <a:endParaRPr lang="nb-NO">
              <a:solidFill>
                <a:prstClr val="black"/>
              </a:solidFill>
            </a:endParaRPr>
          </a:p>
        </p:txBody>
      </p:sp>
      <p:sp>
        <p:nvSpPr>
          <p:cNvPr id="5" name="Footer Placeholder 4"/>
          <p:cNvSpPr>
            <a:spLocks noGrp="1"/>
          </p:cNvSpPr>
          <p:nvPr>
            <p:ph type="ftr" sz="quarter" idx="11"/>
          </p:nvPr>
        </p:nvSpPr>
        <p:spPr/>
        <p:txBody>
          <a:bodyPr/>
          <a:lstStyle/>
          <a:p>
            <a:endParaRPr lang="nb-NO">
              <a:solidFill>
                <a:prstClr val="black"/>
              </a:solidFill>
            </a:endParaRPr>
          </a:p>
        </p:txBody>
      </p:sp>
      <p:sp>
        <p:nvSpPr>
          <p:cNvPr id="6" name="Slide Number Placeholder 5"/>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3668417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 innhold med tittel">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321980" y="2743688"/>
            <a:ext cx="3796676" cy="2093302"/>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5" name="Date Placeholder 4"/>
          <p:cNvSpPr>
            <a:spLocks noGrp="1"/>
          </p:cNvSpPr>
          <p:nvPr>
            <p:ph type="dt" sz="half" idx="10"/>
          </p:nvPr>
        </p:nvSpPr>
        <p:spPr/>
        <p:txBody>
          <a:bodyPr/>
          <a:lstStyle/>
          <a:p>
            <a:fld id="{7A95B750-15F4-451A-8667-7ADED38B05BE}" type="datetime4">
              <a:rPr lang="nb-NO" smtClean="0">
                <a:solidFill>
                  <a:prstClr val="black"/>
                </a:solidFill>
              </a:rPr>
              <a:pPr/>
              <a:t>19. oktober 2022</a:t>
            </a:fld>
            <a:endParaRPr lang="nb-NO">
              <a:solidFill>
                <a:prstClr val="black"/>
              </a:solidFill>
            </a:endParaRPr>
          </a:p>
        </p:txBody>
      </p:sp>
      <p:sp>
        <p:nvSpPr>
          <p:cNvPr id="6" name="Footer Placeholder 5"/>
          <p:cNvSpPr>
            <a:spLocks noGrp="1"/>
          </p:cNvSpPr>
          <p:nvPr>
            <p:ph type="ftr" sz="quarter" idx="11"/>
          </p:nvPr>
        </p:nvSpPr>
        <p:spPr/>
        <p:txBody>
          <a:bodyPr/>
          <a:lstStyle/>
          <a:p>
            <a:endParaRPr lang="nb-NO">
              <a:solidFill>
                <a:prstClr val="black"/>
              </a:solidFill>
            </a:endParaRPr>
          </a:p>
        </p:txBody>
      </p:sp>
      <p:sp>
        <p:nvSpPr>
          <p:cNvPr id="7" name="Slide Number Placeholder 6"/>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
        <p:nvSpPr>
          <p:cNvPr id="2" name="Tittel 1"/>
          <p:cNvSpPr>
            <a:spLocks noGrp="1"/>
          </p:cNvSpPr>
          <p:nvPr>
            <p:ph type="title"/>
          </p:nvPr>
        </p:nvSpPr>
        <p:spPr>
          <a:xfrm>
            <a:off x="321980" y="1296192"/>
            <a:ext cx="3796676" cy="987421"/>
          </a:xfrm>
        </p:spPr>
        <p:txBody>
          <a:bodyPr/>
          <a:lstStyle/>
          <a:p>
            <a:r>
              <a:rPr lang="nb-NO" dirty="0"/>
              <a:t>Klikk for å redigere tittelstil</a:t>
            </a:r>
          </a:p>
        </p:txBody>
      </p:sp>
      <p:sp>
        <p:nvSpPr>
          <p:cNvPr id="3" name="Plassholder for innhold 2"/>
          <p:cNvSpPr>
            <a:spLocks noGrp="1"/>
          </p:cNvSpPr>
          <p:nvPr>
            <p:ph sz="quarter" idx="14"/>
          </p:nvPr>
        </p:nvSpPr>
        <p:spPr>
          <a:xfrm>
            <a:off x="4718342" y="1341002"/>
            <a:ext cx="4118656" cy="3495989"/>
          </a:xfrm>
          <a:prstGeom prst="rect">
            <a:avLst/>
          </a:prstGeom>
        </p:spPr>
        <p:txBody>
          <a:bodyPr lIns="0" tIns="0" rIns="0" bIns="670365"/>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310966455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o innhold uten tittel">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D1E7C2D4-C0D1-4D31-A9BF-AF1C4576BE51}" type="datetime4">
              <a:rPr lang="nb-NO" smtClean="0">
                <a:solidFill>
                  <a:prstClr val="black"/>
                </a:solidFill>
              </a:rPr>
              <a:pPr/>
              <a:t>19. oktober 2022</a:t>
            </a:fld>
            <a:endParaRPr lang="nb-NO">
              <a:solidFill>
                <a:prstClr val="black"/>
              </a:solidFill>
            </a:endParaRPr>
          </a:p>
        </p:txBody>
      </p:sp>
      <p:sp>
        <p:nvSpPr>
          <p:cNvPr id="6" name="Footer Placeholder 5"/>
          <p:cNvSpPr>
            <a:spLocks noGrp="1"/>
          </p:cNvSpPr>
          <p:nvPr>
            <p:ph type="ftr" sz="quarter" idx="11"/>
          </p:nvPr>
        </p:nvSpPr>
        <p:spPr/>
        <p:txBody>
          <a:bodyPr/>
          <a:lstStyle/>
          <a:p>
            <a:endParaRPr lang="nb-NO">
              <a:solidFill>
                <a:prstClr val="black"/>
              </a:solidFill>
            </a:endParaRPr>
          </a:p>
        </p:txBody>
      </p:sp>
      <p:sp>
        <p:nvSpPr>
          <p:cNvPr id="7" name="Slide Number Placeholder 6"/>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
        <p:nvSpPr>
          <p:cNvPr id="4" name="Plassholder for innhold 3"/>
          <p:cNvSpPr>
            <a:spLocks noGrp="1"/>
          </p:cNvSpPr>
          <p:nvPr>
            <p:ph sz="quarter" idx="16"/>
          </p:nvPr>
        </p:nvSpPr>
        <p:spPr>
          <a:xfrm>
            <a:off x="321979" y="1362459"/>
            <a:ext cx="4118656" cy="3474533"/>
          </a:xfrm>
          <a:prstGeom prst="rect">
            <a:avLst/>
          </a:prstGeom>
        </p:spPr>
        <p:txBody>
          <a:bodyPr lIns="0" tIns="0" rIns="0" bIns="670365"/>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8" name="Plassholder for innhold 7"/>
          <p:cNvSpPr>
            <a:spLocks noGrp="1"/>
          </p:cNvSpPr>
          <p:nvPr>
            <p:ph sz="quarter" idx="17"/>
          </p:nvPr>
        </p:nvSpPr>
        <p:spPr>
          <a:xfrm>
            <a:off x="4718342" y="1362459"/>
            <a:ext cx="4118656" cy="3474533"/>
          </a:xfrm>
          <a:prstGeom prst="rect">
            <a:avLst/>
          </a:prstGeo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015328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Klikk for å redigere tittelstil</a:t>
            </a:r>
            <a:endParaRPr lang="en-US" dirty="0"/>
          </a:p>
        </p:txBody>
      </p:sp>
      <p:sp>
        <p:nvSpPr>
          <p:cNvPr id="3" name="Content Placeholder 2"/>
          <p:cNvSpPr>
            <a:spLocks noGrp="1"/>
          </p:cNvSpPr>
          <p:nvPr>
            <p:ph sz="half" idx="1"/>
          </p:nvPr>
        </p:nvSpPr>
        <p:spPr>
          <a:xfrm>
            <a:off x="321979" y="2743688"/>
            <a:ext cx="4118656" cy="2093302"/>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Content Placeholder 3"/>
          <p:cNvSpPr>
            <a:spLocks noGrp="1"/>
          </p:cNvSpPr>
          <p:nvPr>
            <p:ph sz="half" idx="2"/>
          </p:nvPr>
        </p:nvSpPr>
        <p:spPr>
          <a:xfrm>
            <a:off x="4718342" y="2743688"/>
            <a:ext cx="4118656" cy="209330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Date Placeholder 4"/>
          <p:cNvSpPr>
            <a:spLocks noGrp="1"/>
          </p:cNvSpPr>
          <p:nvPr>
            <p:ph type="dt" sz="half" idx="10"/>
          </p:nvPr>
        </p:nvSpPr>
        <p:spPr/>
        <p:txBody>
          <a:bodyPr/>
          <a:lstStyle/>
          <a:p>
            <a:fld id="{83B4AC39-CEE6-4345-B516-4A917885BCFF}" type="datetime4">
              <a:rPr lang="nb-NO" smtClean="0">
                <a:solidFill>
                  <a:prstClr val="black"/>
                </a:solidFill>
              </a:rPr>
              <a:pPr/>
              <a:t>19. oktober 2022</a:t>
            </a:fld>
            <a:endParaRPr lang="nb-NO">
              <a:solidFill>
                <a:prstClr val="black"/>
              </a:solidFill>
            </a:endParaRPr>
          </a:p>
        </p:txBody>
      </p:sp>
      <p:sp>
        <p:nvSpPr>
          <p:cNvPr id="6" name="Footer Placeholder 5"/>
          <p:cNvSpPr>
            <a:spLocks noGrp="1"/>
          </p:cNvSpPr>
          <p:nvPr>
            <p:ph type="ftr" sz="quarter" idx="11"/>
          </p:nvPr>
        </p:nvSpPr>
        <p:spPr/>
        <p:txBody>
          <a:bodyPr/>
          <a:lstStyle/>
          <a:p>
            <a:endParaRPr lang="nb-NO">
              <a:solidFill>
                <a:prstClr val="black"/>
              </a:solidFill>
            </a:endParaRPr>
          </a:p>
        </p:txBody>
      </p:sp>
      <p:sp>
        <p:nvSpPr>
          <p:cNvPr id="7" name="Slide Number Placeholder 6"/>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11803081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979" y="2283614"/>
            <a:ext cx="4118656" cy="613739"/>
          </a:xfrm>
        </p:spPr>
        <p:txBody>
          <a:bodyPr anchor="b"/>
          <a:lstStyle>
            <a:lvl1pPr marL="0" indent="0">
              <a:buNone/>
              <a:defRPr sz="1788" b="1"/>
            </a:lvl1pPr>
            <a:lvl2pPr marL="338170" indent="0">
              <a:buNone/>
              <a:defRPr sz="1490" b="1"/>
            </a:lvl2pPr>
            <a:lvl3pPr marL="676341" indent="0">
              <a:buNone/>
              <a:defRPr sz="1291" b="1"/>
            </a:lvl3pPr>
            <a:lvl4pPr marL="1014511" indent="0">
              <a:buNone/>
              <a:defRPr sz="1192" b="1"/>
            </a:lvl4pPr>
            <a:lvl5pPr marL="1352683" indent="0">
              <a:buNone/>
              <a:defRPr sz="1192" b="1"/>
            </a:lvl5pPr>
            <a:lvl6pPr marL="1690852" indent="0">
              <a:buNone/>
              <a:defRPr sz="1192" b="1"/>
            </a:lvl6pPr>
            <a:lvl7pPr marL="2029023" indent="0">
              <a:buNone/>
              <a:defRPr sz="1192" b="1"/>
            </a:lvl7pPr>
            <a:lvl8pPr marL="2367194" indent="0">
              <a:buNone/>
              <a:defRPr sz="1192" b="1"/>
            </a:lvl8pPr>
            <a:lvl9pPr marL="2705364" indent="0">
              <a:buNone/>
              <a:defRPr sz="1192" b="1"/>
            </a:lvl9pPr>
          </a:lstStyle>
          <a:p>
            <a:pPr lvl="0"/>
            <a:r>
              <a:rPr lang="nb-NO"/>
              <a:t>Klikk for å redigere tekststiler i malen</a:t>
            </a:r>
          </a:p>
        </p:txBody>
      </p:sp>
      <p:sp>
        <p:nvSpPr>
          <p:cNvPr id="5" name="Text Placeholder 4"/>
          <p:cNvSpPr>
            <a:spLocks noGrp="1"/>
          </p:cNvSpPr>
          <p:nvPr>
            <p:ph type="body" sz="quarter" idx="3"/>
          </p:nvPr>
        </p:nvSpPr>
        <p:spPr>
          <a:xfrm>
            <a:off x="4718342" y="2283614"/>
            <a:ext cx="4118656" cy="613739"/>
          </a:xfrm>
        </p:spPr>
        <p:txBody>
          <a:bodyPr anchor="b"/>
          <a:lstStyle>
            <a:lvl1pPr marL="0" indent="0">
              <a:buNone/>
              <a:defRPr sz="1788" b="1"/>
            </a:lvl1pPr>
            <a:lvl2pPr marL="338170" indent="0">
              <a:buNone/>
              <a:defRPr sz="1490" b="1"/>
            </a:lvl2pPr>
            <a:lvl3pPr marL="676341" indent="0">
              <a:buNone/>
              <a:defRPr sz="1291" b="1"/>
            </a:lvl3pPr>
            <a:lvl4pPr marL="1014511" indent="0">
              <a:buNone/>
              <a:defRPr sz="1192" b="1"/>
            </a:lvl4pPr>
            <a:lvl5pPr marL="1352683" indent="0">
              <a:buNone/>
              <a:defRPr sz="1192" b="1"/>
            </a:lvl5pPr>
            <a:lvl6pPr marL="1690852" indent="0">
              <a:buNone/>
              <a:defRPr sz="1192" b="1"/>
            </a:lvl6pPr>
            <a:lvl7pPr marL="2029023" indent="0">
              <a:buNone/>
              <a:defRPr sz="1192" b="1"/>
            </a:lvl7pPr>
            <a:lvl8pPr marL="2367194" indent="0">
              <a:buNone/>
              <a:defRPr sz="1192" b="1"/>
            </a:lvl8pPr>
            <a:lvl9pPr marL="2705364" indent="0">
              <a:buNone/>
              <a:defRPr sz="1192" b="1"/>
            </a:lvl9pPr>
          </a:lstStyle>
          <a:p>
            <a:pPr lvl="0"/>
            <a:r>
              <a:rPr lang="nb-NO"/>
              <a:t>Klikk for å redigere tekststiler i malen</a:t>
            </a:r>
          </a:p>
        </p:txBody>
      </p:sp>
      <p:sp>
        <p:nvSpPr>
          <p:cNvPr id="7" name="Date Placeholder 6"/>
          <p:cNvSpPr>
            <a:spLocks noGrp="1"/>
          </p:cNvSpPr>
          <p:nvPr>
            <p:ph type="dt" sz="half" idx="10"/>
          </p:nvPr>
        </p:nvSpPr>
        <p:spPr/>
        <p:txBody>
          <a:bodyPr/>
          <a:lstStyle/>
          <a:p>
            <a:fld id="{CD4C6AC1-5CCA-48F7-A4E0-62DBFB15A2A5}" type="datetime4">
              <a:rPr lang="nb-NO" smtClean="0">
                <a:solidFill>
                  <a:prstClr val="black"/>
                </a:solidFill>
              </a:rPr>
              <a:pPr/>
              <a:t>19. oktober 2022</a:t>
            </a:fld>
            <a:endParaRPr lang="nb-NO">
              <a:solidFill>
                <a:prstClr val="black"/>
              </a:solidFill>
            </a:endParaRPr>
          </a:p>
        </p:txBody>
      </p:sp>
      <p:sp>
        <p:nvSpPr>
          <p:cNvPr id="8" name="Footer Placeholder 7"/>
          <p:cNvSpPr>
            <a:spLocks noGrp="1"/>
          </p:cNvSpPr>
          <p:nvPr>
            <p:ph type="ftr" sz="quarter" idx="11"/>
          </p:nvPr>
        </p:nvSpPr>
        <p:spPr/>
        <p:txBody>
          <a:bodyPr/>
          <a:lstStyle/>
          <a:p>
            <a:endParaRPr lang="nb-NO">
              <a:solidFill>
                <a:prstClr val="black"/>
              </a:solidFill>
            </a:endParaRPr>
          </a:p>
        </p:txBody>
      </p:sp>
      <p:sp>
        <p:nvSpPr>
          <p:cNvPr id="9" name="Slide Number Placeholder 8"/>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
        <p:nvSpPr>
          <p:cNvPr id="10" name="Tittel 9"/>
          <p:cNvSpPr>
            <a:spLocks noGrp="1"/>
          </p:cNvSpPr>
          <p:nvPr>
            <p:ph type="title"/>
          </p:nvPr>
        </p:nvSpPr>
        <p:spPr/>
        <p:txBody>
          <a:bodyPr/>
          <a:lstStyle/>
          <a:p>
            <a:r>
              <a:rPr lang="nb-NO"/>
              <a:t>Klikk for å redigere tittelstil</a:t>
            </a:r>
          </a:p>
        </p:txBody>
      </p:sp>
      <p:sp>
        <p:nvSpPr>
          <p:cNvPr id="11" name="Content Placeholder 2"/>
          <p:cNvSpPr>
            <a:spLocks noGrp="1"/>
          </p:cNvSpPr>
          <p:nvPr>
            <p:ph sz="half" idx="13"/>
          </p:nvPr>
        </p:nvSpPr>
        <p:spPr>
          <a:xfrm>
            <a:off x="321979" y="2897351"/>
            <a:ext cx="4118656" cy="1939641"/>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12" name="Content Placeholder 2"/>
          <p:cNvSpPr>
            <a:spLocks noGrp="1"/>
          </p:cNvSpPr>
          <p:nvPr>
            <p:ph sz="half" idx="14"/>
          </p:nvPr>
        </p:nvSpPr>
        <p:spPr>
          <a:xfrm>
            <a:off x="4718342" y="2897351"/>
            <a:ext cx="4118656" cy="1939641"/>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Tree>
    <p:extLst>
      <p:ext uri="{BB962C8B-B14F-4D97-AF65-F5344CB8AC3E}">
        <p14:creationId xmlns:p14="http://schemas.microsoft.com/office/powerpoint/2010/main" val="678573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ontaktinformasjon">
    <p:spTree>
      <p:nvGrpSpPr>
        <p:cNvPr id="1" name=""/>
        <p:cNvGrpSpPr/>
        <p:nvPr/>
      </p:nvGrpSpPr>
      <p:grpSpPr>
        <a:xfrm>
          <a:off x="0" y="0"/>
          <a:ext cx="0" cy="0"/>
          <a:chOff x="0" y="0"/>
          <a:chExt cx="0" cy="0"/>
        </a:xfrm>
      </p:grpSpPr>
      <p:sp>
        <p:nvSpPr>
          <p:cNvPr id="2" name="Title 1"/>
          <p:cNvSpPr>
            <a:spLocks noGrp="1"/>
          </p:cNvSpPr>
          <p:nvPr>
            <p:ph type="title"/>
          </p:nvPr>
        </p:nvSpPr>
        <p:spPr>
          <a:xfrm>
            <a:off x="321980" y="2655183"/>
            <a:ext cx="3730785" cy="987421"/>
          </a:xfrm>
        </p:spPr>
        <p:txBody>
          <a:bodyPr>
            <a:normAutofit/>
          </a:bodyPr>
          <a:lstStyle>
            <a:lvl1pPr>
              <a:defRPr sz="3400"/>
            </a:lvl1pPr>
          </a:lstStyle>
          <a:p>
            <a:r>
              <a:rPr lang="nb-NO"/>
              <a:t>Klikk for å redigere tittelstil</a:t>
            </a:r>
            <a:endParaRPr lang="en-US"/>
          </a:p>
        </p:txBody>
      </p:sp>
      <p:sp>
        <p:nvSpPr>
          <p:cNvPr id="7" name="Plassholder for tekst 6"/>
          <p:cNvSpPr>
            <a:spLocks noGrp="1"/>
          </p:cNvSpPr>
          <p:nvPr>
            <p:ph type="body" sz="quarter" idx="13"/>
          </p:nvPr>
        </p:nvSpPr>
        <p:spPr>
          <a:xfrm>
            <a:off x="321791" y="3945226"/>
            <a:ext cx="3488884" cy="661455"/>
          </a:xfrm>
        </p:spPr>
        <p:txBody>
          <a:bodyPr>
            <a:normAutofit/>
          </a:bodyPr>
          <a:lstStyle>
            <a:lvl1pPr marL="0" indent="0">
              <a:buNone/>
              <a:defRPr sz="1100"/>
            </a:lvl1pPr>
          </a:lstStyle>
          <a:p>
            <a:pPr lvl="0"/>
            <a:r>
              <a:rPr lang="nb-NO"/>
              <a:t>Klikk for å redigere tekststiler i malen</a:t>
            </a:r>
          </a:p>
        </p:txBody>
      </p:sp>
      <p:sp>
        <p:nvSpPr>
          <p:cNvPr id="10" name="TekstSylinder 9"/>
          <p:cNvSpPr txBox="1"/>
          <p:nvPr userDrawn="1"/>
        </p:nvSpPr>
        <p:spPr>
          <a:xfrm>
            <a:off x="321793" y="4688140"/>
            <a:ext cx="2045311" cy="206307"/>
          </a:xfrm>
          <a:prstGeom prst="rect">
            <a:avLst/>
          </a:prstGeom>
          <a:noFill/>
        </p:spPr>
        <p:txBody>
          <a:bodyPr wrap="square" lIns="34054" tIns="17027" rIns="34054" bIns="17027" rtlCol="0">
            <a:spAutoFit/>
          </a:bodyPr>
          <a:lstStyle/>
          <a:p>
            <a:r>
              <a:rPr lang="nb-NO" sz="1100" b="1"/>
              <a:t>Skatteetaten.no</a:t>
            </a:r>
          </a:p>
        </p:txBody>
      </p:sp>
      <p:sp>
        <p:nvSpPr>
          <p:cNvPr id="8" name="Rektangel 7"/>
          <p:cNvSpPr/>
          <p:nvPr userDrawn="1"/>
        </p:nvSpPr>
        <p:spPr>
          <a:xfrm>
            <a:off x="4305136" y="321841"/>
            <a:ext cx="4520565" cy="45186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12" name="Bild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6979" y="1615643"/>
            <a:ext cx="2736878" cy="1865222"/>
          </a:xfrm>
          <a:prstGeom prst="rect">
            <a:avLst/>
          </a:prstGeom>
        </p:spPr>
      </p:pic>
      <p:pic>
        <p:nvPicPr>
          <p:cNvPr id="9" name="Bilde 8"/>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0"/>
            <a:ext cx="1755652" cy="621793"/>
          </a:xfrm>
          <a:prstGeom prst="rect">
            <a:avLst/>
          </a:prstGeom>
        </p:spPr>
      </p:pic>
    </p:spTree>
    <p:extLst>
      <p:ext uri="{BB962C8B-B14F-4D97-AF65-F5344CB8AC3E}">
        <p14:creationId xmlns:p14="http://schemas.microsoft.com/office/powerpoint/2010/main" val="41131092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Date Placeholder 2"/>
          <p:cNvSpPr>
            <a:spLocks noGrp="1"/>
          </p:cNvSpPr>
          <p:nvPr>
            <p:ph type="dt" sz="half" idx="10"/>
          </p:nvPr>
        </p:nvSpPr>
        <p:spPr/>
        <p:txBody>
          <a:bodyPr/>
          <a:lstStyle/>
          <a:p>
            <a:fld id="{B03621AB-EDF4-4B8E-9175-EE5DBDAF6E38}" type="datetime4">
              <a:rPr lang="nb-NO" smtClean="0">
                <a:solidFill>
                  <a:prstClr val="black"/>
                </a:solidFill>
              </a:rPr>
              <a:pPr/>
              <a:t>19. oktober 2022</a:t>
            </a:fld>
            <a:endParaRPr lang="nb-NO">
              <a:solidFill>
                <a:prstClr val="black"/>
              </a:solidFill>
            </a:endParaRPr>
          </a:p>
        </p:txBody>
      </p:sp>
      <p:sp>
        <p:nvSpPr>
          <p:cNvPr id="4" name="Footer Placeholder 3"/>
          <p:cNvSpPr>
            <a:spLocks noGrp="1"/>
          </p:cNvSpPr>
          <p:nvPr>
            <p:ph type="ftr" sz="quarter" idx="11"/>
          </p:nvPr>
        </p:nvSpPr>
        <p:spPr/>
        <p:txBody>
          <a:bodyPr/>
          <a:lstStyle/>
          <a:p>
            <a:endParaRPr lang="nb-NO">
              <a:solidFill>
                <a:prstClr val="black"/>
              </a:solidFill>
            </a:endParaRPr>
          </a:p>
        </p:txBody>
      </p:sp>
      <p:sp>
        <p:nvSpPr>
          <p:cNvPr id="5" name="Slide Number Placeholder 4"/>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05789976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Åpen">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4F53B31-0FC5-4E73-8637-6109FB6ACC86}" type="datetime4">
              <a:rPr lang="nb-NO" smtClean="0">
                <a:solidFill>
                  <a:prstClr val="black"/>
                </a:solidFill>
              </a:rPr>
              <a:pPr/>
              <a:t>19. oktober 2022</a:t>
            </a:fld>
            <a:endParaRPr lang="nb-NO">
              <a:solidFill>
                <a:prstClr val="black"/>
              </a:solidFill>
            </a:endParaRPr>
          </a:p>
        </p:txBody>
      </p:sp>
      <p:sp>
        <p:nvSpPr>
          <p:cNvPr id="3" name="Footer Placeholder 2"/>
          <p:cNvSpPr>
            <a:spLocks noGrp="1"/>
          </p:cNvSpPr>
          <p:nvPr>
            <p:ph type="ftr" sz="quarter" idx="11"/>
          </p:nvPr>
        </p:nvSpPr>
        <p:spPr/>
        <p:txBody>
          <a:bodyPr/>
          <a:lstStyle/>
          <a:p>
            <a:endParaRPr lang="nb-NO">
              <a:solidFill>
                <a:prstClr val="black"/>
              </a:solidFill>
            </a:endParaRPr>
          </a:p>
        </p:txBody>
      </p:sp>
      <p:sp>
        <p:nvSpPr>
          <p:cNvPr id="4" name="Slide Number Placeholder 3"/>
          <p:cNvSpPr>
            <a:spLocks noGrp="1"/>
          </p:cNvSpPr>
          <p:nvPr>
            <p:ph type="sldNum" sz="quarter" idx="12"/>
          </p:nvPr>
        </p:nvSpPr>
        <p:spPr/>
        <p:txBody>
          <a:bodyPr/>
          <a:lstStyle/>
          <a:p>
            <a:fld id="{D8865200-363A-4A27-BFE2-9D2920C8E885}" type="slidenum">
              <a:rPr lang="nb-NO" smtClean="0">
                <a:solidFill>
                  <a:prstClr val="black"/>
                </a:solidFill>
              </a:rPr>
              <a:pPr/>
              <a:t>‹#›</a:t>
            </a:fld>
            <a:endParaRPr lang="nb-NO">
              <a:solidFill>
                <a:prstClr val="black"/>
              </a:solidFill>
            </a:endParaRPr>
          </a:p>
        </p:txBody>
      </p:sp>
    </p:spTree>
    <p:extLst>
      <p:ext uri="{BB962C8B-B14F-4D97-AF65-F5344CB8AC3E}">
        <p14:creationId xmlns:p14="http://schemas.microsoft.com/office/powerpoint/2010/main" val="206097303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143199" y="836056"/>
            <a:ext cx="6859191" cy="1778541"/>
          </a:xfrm>
        </p:spPr>
        <p:txBody>
          <a:bodyPr anchor="b"/>
          <a:lstStyle>
            <a:lvl1pPr algn="ctr">
              <a:defRPr sz="4469"/>
            </a:lvl1pPr>
          </a:lstStyle>
          <a:p>
            <a:r>
              <a:rPr lang="nb-NO"/>
              <a:t>Klikk for å redigere tittelstil</a:t>
            </a:r>
          </a:p>
        </p:txBody>
      </p:sp>
      <p:sp>
        <p:nvSpPr>
          <p:cNvPr id="3" name="Undertittel 2"/>
          <p:cNvSpPr>
            <a:spLocks noGrp="1"/>
          </p:cNvSpPr>
          <p:nvPr>
            <p:ph type="subTitle" idx="1"/>
          </p:nvPr>
        </p:nvSpPr>
        <p:spPr>
          <a:xfrm>
            <a:off x="1143199" y="2683185"/>
            <a:ext cx="6859191" cy="1233389"/>
          </a:xfrm>
        </p:spPr>
        <p:txBody>
          <a:bodyPr/>
          <a:lstStyle>
            <a:lvl1pPr marL="0" indent="0" algn="ctr">
              <a:buNone/>
              <a:defRPr sz="1788"/>
            </a:lvl1pPr>
            <a:lvl2pPr marL="340568" indent="0" algn="ctr">
              <a:buNone/>
              <a:defRPr sz="1490"/>
            </a:lvl2pPr>
            <a:lvl3pPr marL="681137" indent="0" algn="ctr">
              <a:buNone/>
              <a:defRPr sz="1341"/>
            </a:lvl3pPr>
            <a:lvl4pPr marL="1021705" indent="0" algn="ctr">
              <a:buNone/>
              <a:defRPr sz="1192"/>
            </a:lvl4pPr>
            <a:lvl5pPr marL="1362273" indent="0" algn="ctr">
              <a:buNone/>
              <a:defRPr sz="1192"/>
            </a:lvl5pPr>
            <a:lvl6pPr marL="1702841" indent="0" algn="ctr">
              <a:buNone/>
              <a:defRPr sz="1192"/>
            </a:lvl6pPr>
            <a:lvl7pPr marL="2043410" indent="0" algn="ctr">
              <a:buNone/>
              <a:defRPr sz="1192"/>
            </a:lvl7pPr>
            <a:lvl8pPr marL="2383978" indent="0" algn="ctr">
              <a:buNone/>
              <a:defRPr sz="1192"/>
            </a:lvl8pPr>
            <a:lvl9pPr marL="2724546" indent="0" algn="ctr">
              <a:buNone/>
              <a:defRPr sz="1192"/>
            </a:lvl9pPr>
          </a:lstStyle>
          <a:p>
            <a:r>
              <a:rPr lang="nb-NO"/>
              <a:t>Klikk for å redigere undertittelstil i malen</a:t>
            </a:r>
          </a:p>
        </p:txBody>
      </p:sp>
      <p:sp>
        <p:nvSpPr>
          <p:cNvPr id="4" name="Plassholder for dato 3"/>
          <p:cNvSpPr>
            <a:spLocks noGrp="1"/>
          </p:cNvSpPr>
          <p:nvPr>
            <p:ph type="dt" sz="half" idx="10"/>
          </p:nvPr>
        </p:nvSpPr>
        <p:spPr/>
        <p:txBody>
          <a:bodyPr/>
          <a:lstStyle/>
          <a:p>
            <a:fld id="{03C899A0-9405-4D6E-A312-0C12ECFB2396}" type="datetimeFigureOut">
              <a:rPr lang="nb-NO" smtClean="0"/>
              <a:t>19.10.2022</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073484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03C899A0-9405-4D6E-A312-0C12ECFB2396}" type="datetimeFigureOut">
              <a:rPr lang="nb-NO" smtClean="0"/>
              <a:t>19.10.2022</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2740302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623996" y="1273597"/>
            <a:ext cx="7888070" cy="2125025"/>
          </a:xfrm>
        </p:spPr>
        <p:txBody>
          <a:bodyPr anchor="b"/>
          <a:lstStyle>
            <a:lvl1pPr>
              <a:defRPr sz="4469"/>
            </a:lvl1pPr>
          </a:lstStyle>
          <a:p>
            <a:r>
              <a:rPr lang="nb-NO"/>
              <a:t>Klikk for å redigere tittelstil</a:t>
            </a:r>
          </a:p>
        </p:txBody>
      </p:sp>
      <p:sp>
        <p:nvSpPr>
          <p:cNvPr id="3" name="Plassholder for tekst 2"/>
          <p:cNvSpPr>
            <a:spLocks noGrp="1"/>
          </p:cNvSpPr>
          <p:nvPr>
            <p:ph type="body" idx="1"/>
          </p:nvPr>
        </p:nvSpPr>
        <p:spPr>
          <a:xfrm>
            <a:off x="623996" y="3418726"/>
            <a:ext cx="7888070" cy="1117500"/>
          </a:xfrm>
        </p:spPr>
        <p:txBody>
          <a:bodyPr/>
          <a:lstStyle>
            <a:lvl1pPr marL="0" indent="0">
              <a:buNone/>
              <a:defRPr sz="1788">
                <a:solidFill>
                  <a:schemeClr val="tx1">
                    <a:tint val="75000"/>
                  </a:schemeClr>
                </a:solidFill>
              </a:defRPr>
            </a:lvl1pPr>
            <a:lvl2pPr marL="340568" indent="0">
              <a:buNone/>
              <a:defRPr sz="1490">
                <a:solidFill>
                  <a:schemeClr val="tx1">
                    <a:tint val="75000"/>
                  </a:schemeClr>
                </a:solidFill>
              </a:defRPr>
            </a:lvl2pPr>
            <a:lvl3pPr marL="681137" indent="0">
              <a:buNone/>
              <a:defRPr sz="1341">
                <a:solidFill>
                  <a:schemeClr val="tx1">
                    <a:tint val="75000"/>
                  </a:schemeClr>
                </a:solidFill>
              </a:defRPr>
            </a:lvl3pPr>
            <a:lvl4pPr marL="1021705" indent="0">
              <a:buNone/>
              <a:defRPr sz="1192">
                <a:solidFill>
                  <a:schemeClr val="tx1">
                    <a:tint val="75000"/>
                  </a:schemeClr>
                </a:solidFill>
              </a:defRPr>
            </a:lvl4pPr>
            <a:lvl5pPr marL="1362273" indent="0">
              <a:buNone/>
              <a:defRPr sz="1192">
                <a:solidFill>
                  <a:schemeClr val="tx1">
                    <a:tint val="75000"/>
                  </a:schemeClr>
                </a:solidFill>
              </a:defRPr>
            </a:lvl5pPr>
            <a:lvl6pPr marL="1702841" indent="0">
              <a:buNone/>
              <a:defRPr sz="1192">
                <a:solidFill>
                  <a:schemeClr val="tx1">
                    <a:tint val="75000"/>
                  </a:schemeClr>
                </a:solidFill>
              </a:defRPr>
            </a:lvl6pPr>
            <a:lvl7pPr marL="2043410" indent="0">
              <a:buNone/>
              <a:defRPr sz="1192">
                <a:solidFill>
                  <a:schemeClr val="tx1">
                    <a:tint val="75000"/>
                  </a:schemeClr>
                </a:solidFill>
              </a:defRPr>
            </a:lvl7pPr>
            <a:lvl8pPr marL="2383978" indent="0">
              <a:buNone/>
              <a:defRPr sz="1192">
                <a:solidFill>
                  <a:schemeClr val="tx1">
                    <a:tint val="75000"/>
                  </a:schemeClr>
                </a:solidFill>
              </a:defRPr>
            </a:lvl8pPr>
            <a:lvl9pPr marL="2724546" indent="0">
              <a:buNone/>
              <a:defRPr sz="1192">
                <a:solidFill>
                  <a:schemeClr val="tx1">
                    <a:tint val="75000"/>
                  </a:schemeClr>
                </a:solidFill>
              </a:defRPr>
            </a:lvl9pPr>
          </a:lstStyle>
          <a:p>
            <a:pPr lvl="0"/>
            <a:r>
              <a:rPr lang="nb-NO"/>
              <a:t>Rediger tekststiler i malen</a:t>
            </a:r>
          </a:p>
        </p:txBody>
      </p:sp>
      <p:sp>
        <p:nvSpPr>
          <p:cNvPr id="4" name="Plassholder for dato 3"/>
          <p:cNvSpPr>
            <a:spLocks noGrp="1"/>
          </p:cNvSpPr>
          <p:nvPr>
            <p:ph type="dt" sz="half" idx="10"/>
          </p:nvPr>
        </p:nvSpPr>
        <p:spPr/>
        <p:txBody>
          <a:bodyPr/>
          <a:lstStyle/>
          <a:p>
            <a:fld id="{03C899A0-9405-4D6E-A312-0C12ECFB2396}" type="datetimeFigureOut">
              <a:rPr lang="nb-NO" smtClean="0"/>
              <a:t>19.10.2022</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2966458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28759" y="1359922"/>
            <a:ext cx="3886875" cy="324134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29954" y="1359922"/>
            <a:ext cx="3886875" cy="3241344"/>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p:cNvSpPr>
            <a:spLocks noGrp="1"/>
          </p:cNvSpPr>
          <p:nvPr>
            <p:ph type="dt" sz="half" idx="10"/>
          </p:nvPr>
        </p:nvSpPr>
        <p:spPr/>
        <p:txBody>
          <a:bodyPr/>
          <a:lstStyle/>
          <a:p>
            <a:fld id="{03C899A0-9405-4D6E-A312-0C12ECFB2396}" type="datetimeFigureOut">
              <a:rPr lang="nb-NO" smtClean="0"/>
              <a:t>19.10.2022</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4037433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629950" y="271985"/>
            <a:ext cx="7888070" cy="987422"/>
          </a:xfrm>
        </p:spPr>
        <p:txBody>
          <a:bodyPr/>
          <a:lstStyle/>
          <a:p>
            <a:r>
              <a:rPr lang="nb-NO"/>
              <a:t>Klikk for å redigere tittelstil</a:t>
            </a:r>
          </a:p>
        </p:txBody>
      </p:sp>
      <p:sp>
        <p:nvSpPr>
          <p:cNvPr id="3" name="Plassholder for tekst 2"/>
          <p:cNvSpPr>
            <a:spLocks noGrp="1"/>
          </p:cNvSpPr>
          <p:nvPr>
            <p:ph type="body" idx="1"/>
          </p:nvPr>
        </p:nvSpPr>
        <p:spPr>
          <a:xfrm>
            <a:off x="629951" y="1252311"/>
            <a:ext cx="3869012" cy="613738"/>
          </a:xfrm>
        </p:spPr>
        <p:txBody>
          <a:bodyPr anchor="b"/>
          <a:lstStyle>
            <a:lvl1pPr marL="0" indent="0">
              <a:buNone/>
              <a:defRPr sz="1788" b="1"/>
            </a:lvl1pPr>
            <a:lvl2pPr marL="340568" indent="0">
              <a:buNone/>
              <a:defRPr sz="1490" b="1"/>
            </a:lvl2pPr>
            <a:lvl3pPr marL="681137" indent="0">
              <a:buNone/>
              <a:defRPr sz="1341" b="1"/>
            </a:lvl3pPr>
            <a:lvl4pPr marL="1021705" indent="0">
              <a:buNone/>
              <a:defRPr sz="1192" b="1"/>
            </a:lvl4pPr>
            <a:lvl5pPr marL="1362273" indent="0">
              <a:buNone/>
              <a:defRPr sz="1192" b="1"/>
            </a:lvl5pPr>
            <a:lvl6pPr marL="1702841" indent="0">
              <a:buNone/>
              <a:defRPr sz="1192" b="1"/>
            </a:lvl6pPr>
            <a:lvl7pPr marL="2043410" indent="0">
              <a:buNone/>
              <a:defRPr sz="1192" b="1"/>
            </a:lvl7pPr>
            <a:lvl8pPr marL="2383978" indent="0">
              <a:buNone/>
              <a:defRPr sz="1192" b="1"/>
            </a:lvl8pPr>
            <a:lvl9pPr marL="2724546" indent="0">
              <a:buNone/>
              <a:defRPr sz="1192" b="1"/>
            </a:lvl9pPr>
          </a:lstStyle>
          <a:p>
            <a:pPr lvl="0"/>
            <a:r>
              <a:rPr lang="nb-NO"/>
              <a:t>Rediger tekststiler i malen</a:t>
            </a:r>
          </a:p>
        </p:txBody>
      </p:sp>
      <p:sp>
        <p:nvSpPr>
          <p:cNvPr id="4" name="Plassholder for innhold 3"/>
          <p:cNvSpPr>
            <a:spLocks noGrp="1"/>
          </p:cNvSpPr>
          <p:nvPr>
            <p:ph sz="half" idx="2"/>
          </p:nvPr>
        </p:nvSpPr>
        <p:spPr>
          <a:xfrm>
            <a:off x="629951" y="1866049"/>
            <a:ext cx="3869012" cy="2744677"/>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4629954" y="1252311"/>
            <a:ext cx="3888066" cy="613738"/>
          </a:xfrm>
        </p:spPr>
        <p:txBody>
          <a:bodyPr anchor="b"/>
          <a:lstStyle>
            <a:lvl1pPr marL="0" indent="0">
              <a:buNone/>
              <a:defRPr sz="1788" b="1"/>
            </a:lvl1pPr>
            <a:lvl2pPr marL="340568" indent="0">
              <a:buNone/>
              <a:defRPr sz="1490" b="1"/>
            </a:lvl2pPr>
            <a:lvl3pPr marL="681137" indent="0">
              <a:buNone/>
              <a:defRPr sz="1341" b="1"/>
            </a:lvl3pPr>
            <a:lvl4pPr marL="1021705" indent="0">
              <a:buNone/>
              <a:defRPr sz="1192" b="1"/>
            </a:lvl4pPr>
            <a:lvl5pPr marL="1362273" indent="0">
              <a:buNone/>
              <a:defRPr sz="1192" b="1"/>
            </a:lvl5pPr>
            <a:lvl6pPr marL="1702841" indent="0">
              <a:buNone/>
              <a:defRPr sz="1192" b="1"/>
            </a:lvl6pPr>
            <a:lvl7pPr marL="2043410" indent="0">
              <a:buNone/>
              <a:defRPr sz="1192" b="1"/>
            </a:lvl7pPr>
            <a:lvl8pPr marL="2383978" indent="0">
              <a:buNone/>
              <a:defRPr sz="1192" b="1"/>
            </a:lvl8pPr>
            <a:lvl9pPr marL="2724546" indent="0">
              <a:buNone/>
              <a:defRPr sz="1192" b="1"/>
            </a:lvl9pPr>
          </a:lstStyle>
          <a:p>
            <a:pPr lvl="0"/>
            <a:r>
              <a:rPr lang="nb-NO"/>
              <a:t>Rediger tekststiler i malen</a:t>
            </a:r>
          </a:p>
        </p:txBody>
      </p:sp>
      <p:sp>
        <p:nvSpPr>
          <p:cNvPr id="6" name="Plassholder for innhold 5"/>
          <p:cNvSpPr>
            <a:spLocks noGrp="1"/>
          </p:cNvSpPr>
          <p:nvPr>
            <p:ph sz="quarter" idx="4"/>
          </p:nvPr>
        </p:nvSpPr>
        <p:spPr>
          <a:xfrm>
            <a:off x="4629954" y="1866049"/>
            <a:ext cx="3888066" cy="2744677"/>
          </a:xfr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p:cNvSpPr>
            <a:spLocks noGrp="1"/>
          </p:cNvSpPr>
          <p:nvPr>
            <p:ph type="dt" sz="half" idx="10"/>
          </p:nvPr>
        </p:nvSpPr>
        <p:spPr/>
        <p:txBody>
          <a:bodyPr/>
          <a:lstStyle/>
          <a:p>
            <a:fld id="{03C899A0-9405-4D6E-A312-0C12ECFB2396}" type="datetimeFigureOut">
              <a:rPr lang="nb-NO" smtClean="0"/>
              <a:t>19.10.2022</a:t>
            </a:fld>
            <a:endParaRPr lang="nb-NO"/>
          </a:p>
        </p:txBody>
      </p:sp>
      <p:sp>
        <p:nvSpPr>
          <p:cNvPr id="8" name="Plassholder for bunntekst 7"/>
          <p:cNvSpPr>
            <a:spLocks noGrp="1"/>
          </p:cNvSpPr>
          <p:nvPr>
            <p:ph type="ftr" sz="quarter" idx="11"/>
          </p:nvPr>
        </p:nvSpPr>
        <p:spPr/>
        <p:txBody>
          <a:bodyPr/>
          <a:lstStyle/>
          <a:p>
            <a:endParaRPr lang="nb-NO"/>
          </a:p>
        </p:txBody>
      </p:sp>
      <p:sp>
        <p:nvSpPr>
          <p:cNvPr id="9" name="Plassholder for lysbildenummer 8"/>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04738055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dato 2"/>
          <p:cNvSpPr>
            <a:spLocks noGrp="1"/>
          </p:cNvSpPr>
          <p:nvPr>
            <p:ph type="dt" sz="half" idx="10"/>
          </p:nvPr>
        </p:nvSpPr>
        <p:spPr/>
        <p:txBody>
          <a:bodyPr/>
          <a:lstStyle/>
          <a:p>
            <a:fld id="{03C899A0-9405-4D6E-A312-0C12ECFB2396}" type="datetimeFigureOut">
              <a:rPr lang="nb-NO" smtClean="0"/>
              <a:t>19.10.2022</a:t>
            </a:fld>
            <a:endParaRPr lang="nb-NO"/>
          </a:p>
        </p:txBody>
      </p:sp>
      <p:sp>
        <p:nvSpPr>
          <p:cNvPr id="4" name="Plassholder for bunntekst 3"/>
          <p:cNvSpPr>
            <a:spLocks noGrp="1"/>
          </p:cNvSpPr>
          <p:nvPr>
            <p:ph type="ftr" sz="quarter" idx="11"/>
          </p:nvPr>
        </p:nvSpPr>
        <p:spPr/>
        <p:txBody>
          <a:bodyPr/>
          <a:lstStyle/>
          <a:p>
            <a:endParaRPr lang="nb-NO"/>
          </a:p>
        </p:txBody>
      </p:sp>
      <p:sp>
        <p:nvSpPr>
          <p:cNvPr id="5" name="Plassholder for lysbildenummer 4"/>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7834084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03C899A0-9405-4D6E-A312-0C12ECFB2396}" type="datetimeFigureOut">
              <a:rPr lang="nb-NO" smtClean="0"/>
              <a:t>19.10.2022</a:t>
            </a:fld>
            <a:endParaRPr lang="nb-NO"/>
          </a:p>
        </p:txBody>
      </p:sp>
      <p:sp>
        <p:nvSpPr>
          <p:cNvPr id="3" name="Plassholder for bunntekst 2"/>
          <p:cNvSpPr>
            <a:spLocks noGrp="1"/>
          </p:cNvSpPr>
          <p:nvPr>
            <p:ph type="ftr" sz="quarter" idx="11"/>
          </p:nvPr>
        </p:nvSpPr>
        <p:spPr/>
        <p:txBody>
          <a:bodyPr/>
          <a:lstStyle/>
          <a:p>
            <a:endParaRPr lang="nb-NO"/>
          </a:p>
        </p:txBody>
      </p:sp>
      <p:sp>
        <p:nvSpPr>
          <p:cNvPr id="4" name="Plassholder for lysbildenummer 3"/>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259625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29951" y="340572"/>
            <a:ext cx="2949690" cy="1192001"/>
          </a:xfrm>
        </p:spPr>
        <p:txBody>
          <a:bodyPr anchor="b"/>
          <a:lstStyle>
            <a:lvl1pPr>
              <a:defRPr sz="2384"/>
            </a:lvl1pPr>
          </a:lstStyle>
          <a:p>
            <a:r>
              <a:rPr lang="nb-NO"/>
              <a:t>Klikk for å redigere tittelstil</a:t>
            </a:r>
          </a:p>
        </p:txBody>
      </p:sp>
      <p:sp>
        <p:nvSpPr>
          <p:cNvPr id="3" name="Plassholder for innhold 2"/>
          <p:cNvSpPr>
            <a:spLocks noGrp="1"/>
          </p:cNvSpPr>
          <p:nvPr>
            <p:ph idx="1"/>
          </p:nvPr>
        </p:nvSpPr>
        <p:spPr>
          <a:xfrm>
            <a:off x="3888066" y="735541"/>
            <a:ext cx="4629954" cy="3630399"/>
          </a:xfrm>
        </p:spPr>
        <p:txBody>
          <a:bodyPr/>
          <a:lstStyle>
            <a:lvl1pPr>
              <a:defRPr sz="2384"/>
            </a:lvl1pPr>
            <a:lvl2pPr>
              <a:defRPr sz="2086"/>
            </a:lvl2pPr>
            <a:lvl3pPr>
              <a:defRPr sz="1788"/>
            </a:lvl3pPr>
            <a:lvl4pPr>
              <a:defRPr sz="1490"/>
            </a:lvl4pPr>
            <a:lvl5pPr>
              <a:defRPr sz="1490"/>
            </a:lvl5pPr>
            <a:lvl6pPr>
              <a:defRPr sz="1490"/>
            </a:lvl6pPr>
            <a:lvl7pPr>
              <a:defRPr sz="1490"/>
            </a:lvl7pPr>
            <a:lvl8pPr>
              <a:defRPr sz="1490"/>
            </a:lvl8pPr>
            <a:lvl9pPr>
              <a:defRPr sz="1490"/>
            </a:lvl9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29951" y="1532573"/>
            <a:ext cx="2949690" cy="2839280"/>
          </a:xfrm>
        </p:spPr>
        <p:txBody>
          <a:bodyPr/>
          <a:lstStyle>
            <a:lvl1pPr marL="0" indent="0">
              <a:buNone/>
              <a:defRPr sz="1192"/>
            </a:lvl1pPr>
            <a:lvl2pPr marL="340568" indent="0">
              <a:buNone/>
              <a:defRPr sz="1043"/>
            </a:lvl2pPr>
            <a:lvl3pPr marL="681137" indent="0">
              <a:buNone/>
              <a:defRPr sz="894"/>
            </a:lvl3pPr>
            <a:lvl4pPr marL="1021705" indent="0">
              <a:buNone/>
              <a:defRPr sz="745"/>
            </a:lvl4pPr>
            <a:lvl5pPr marL="1362273" indent="0">
              <a:buNone/>
              <a:defRPr sz="745"/>
            </a:lvl5pPr>
            <a:lvl6pPr marL="1702841" indent="0">
              <a:buNone/>
              <a:defRPr sz="745"/>
            </a:lvl6pPr>
            <a:lvl7pPr marL="2043410" indent="0">
              <a:buNone/>
              <a:defRPr sz="745"/>
            </a:lvl7pPr>
            <a:lvl8pPr marL="2383978" indent="0">
              <a:buNone/>
              <a:defRPr sz="745"/>
            </a:lvl8pPr>
            <a:lvl9pPr marL="2724546" indent="0">
              <a:buNone/>
              <a:defRPr sz="745"/>
            </a:lvl9pPr>
          </a:lstStyle>
          <a:p>
            <a:pPr lvl="0"/>
            <a:r>
              <a:rPr lang="nb-NO"/>
              <a:t>Rediger tekststiler i malen</a:t>
            </a:r>
          </a:p>
        </p:txBody>
      </p:sp>
      <p:sp>
        <p:nvSpPr>
          <p:cNvPr id="5" name="Plassholder for dato 4"/>
          <p:cNvSpPr>
            <a:spLocks noGrp="1"/>
          </p:cNvSpPr>
          <p:nvPr>
            <p:ph type="dt" sz="half" idx="10"/>
          </p:nvPr>
        </p:nvSpPr>
        <p:spPr/>
        <p:txBody>
          <a:bodyPr/>
          <a:lstStyle/>
          <a:p>
            <a:fld id="{03C899A0-9405-4D6E-A312-0C12ECFB2396}" type="datetimeFigureOut">
              <a:rPr lang="nb-NO" smtClean="0"/>
              <a:t>19.10.2022</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18445878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Avslutning">
    <p:spTree>
      <p:nvGrpSpPr>
        <p:cNvPr id="1" name=""/>
        <p:cNvGrpSpPr/>
        <p:nvPr/>
      </p:nvGrpSpPr>
      <p:grpSpPr>
        <a:xfrm>
          <a:off x="0" y="0"/>
          <a:ext cx="0" cy="0"/>
          <a:chOff x="0" y="0"/>
          <a:chExt cx="0" cy="0"/>
        </a:xfrm>
      </p:grpSpPr>
      <p:sp>
        <p:nvSpPr>
          <p:cNvPr id="2" name="Rektangel 1"/>
          <p:cNvSpPr/>
          <p:nvPr userDrawn="1"/>
        </p:nvSpPr>
        <p:spPr>
          <a:xfrm>
            <a:off x="0" y="0"/>
            <a:ext cx="9145588" cy="51085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a:endParaRPr lang="nb-NO"/>
          </a:p>
        </p:txBody>
      </p:sp>
      <p:pic>
        <p:nvPicPr>
          <p:cNvPr id="3" name="Bil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04355" y="1621676"/>
            <a:ext cx="2736878" cy="1865222"/>
          </a:xfrm>
          <a:prstGeom prst="rect">
            <a:avLst/>
          </a:prstGeom>
        </p:spPr>
      </p:pic>
    </p:spTree>
    <p:extLst>
      <p:ext uri="{BB962C8B-B14F-4D97-AF65-F5344CB8AC3E}">
        <p14:creationId xmlns:p14="http://schemas.microsoft.com/office/powerpoint/2010/main" val="29216739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29951" y="340572"/>
            <a:ext cx="2949690" cy="1192001"/>
          </a:xfrm>
        </p:spPr>
        <p:txBody>
          <a:bodyPr anchor="b"/>
          <a:lstStyle>
            <a:lvl1pPr>
              <a:defRPr sz="2384"/>
            </a:lvl1pPr>
          </a:lstStyle>
          <a:p>
            <a:r>
              <a:rPr lang="nb-NO"/>
              <a:t>Klikk for å redigere tittelstil</a:t>
            </a:r>
          </a:p>
        </p:txBody>
      </p:sp>
      <p:sp>
        <p:nvSpPr>
          <p:cNvPr id="3" name="Plassholder for bilde 2"/>
          <p:cNvSpPr>
            <a:spLocks noGrp="1"/>
          </p:cNvSpPr>
          <p:nvPr>
            <p:ph type="pic" idx="1"/>
          </p:nvPr>
        </p:nvSpPr>
        <p:spPr>
          <a:xfrm>
            <a:off x="3888066" y="735541"/>
            <a:ext cx="4629954" cy="3630399"/>
          </a:xfrm>
        </p:spPr>
        <p:txBody>
          <a:bodyPr/>
          <a:lstStyle>
            <a:lvl1pPr marL="0" indent="0">
              <a:buNone/>
              <a:defRPr sz="2384"/>
            </a:lvl1pPr>
            <a:lvl2pPr marL="340568" indent="0">
              <a:buNone/>
              <a:defRPr sz="2086"/>
            </a:lvl2pPr>
            <a:lvl3pPr marL="681137" indent="0">
              <a:buNone/>
              <a:defRPr sz="1788"/>
            </a:lvl3pPr>
            <a:lvl4pPr marL="1021705" indent="0">
              <a:buNone/>
              <a:defRPr sz="1490"/>
            </a:lvl4pPr>
            <a:lvl5pPr marL="1362273" indent="0">
              <a:buNone/>
              <a:defRPr sz="1490"/>
            </a:lvl5pPr>
            <a:lvl6pPr marL="1702841" indent="0">
              <a:buNone/>
              <a:defRPr sz="1490"/>
            </a:lvl6pPr>
            <a:lvl7pPr marL="2043410" indent="0">
              <a:buNone/>
              <a:defRPr sz="1490"/>
            </a:lvl7pPr>
            <a:lvl8pPr marL="2383978" indent="0">
              <a:buNone/>
              <a:defRPr sz="1490"/>
            </a:lvl8pPr>
            <a:lvl9pPr marL="2724546" indent="0">
              <a:buNone/>
              <a:defRPr sz="1490"/>
            </a:lvl9pPr>
          </a:lstStyle>
          <a:p>
            <a:endParaRPr lang="nb-NO"/>
          </a:p>
        </p:txBody>
      </p:sp>
      <p:sp>
        <p:nvSpPr>
          <p:cNvPr id="4" name="Plassholder for tekst 3"/>
          <p:cNvSpPr>
            <a:spLocks noGrp="1"/>
          </p:cNvSpPr>
          <p:nvPr>
            <p:ph type="body" sz="half" idx="2"/>
          </p:nvPr>
        </p:nvSpPr>
        <p:spPr>
          <a:xfrm>
            <a:off x="629951" y="1532573"/>
            <a:ext cx="2949690" cy="2839280"/>
          </a:xfrm>
        </p:spPr>
        <p:txBody>
          <a:bodyPr/>
          <a:lstStyle>
            <a:lvl1pPr marL="0" indent="0">
              <a:buNone/>
              <a:defRPr sz="1192"/>
            </a:lvl1pPr>
            <a:lvl2pPr marL="340568" indent="0">
              <a:buNone/>
              <a:defRPr sz="1043"/>
            </a:lvl2pPr>
            <a:lvl3pPr marL="681137" indent="0">
              <a:buNone/>
              <a:defRPr sz="894"/>
            </a:lvl3pPr>
            <a:lvl4pPr marL="1021705" indent="0">
              <a:buNone/>
              <a:defRPr sz="745"/>
            </a:lvl4pPr>
            <a:lvl5pPr marL="1362273" indent="0">
              <a:buNone/>
              <a:defRPr sz="745"/>
            </a:lvl5pPr>
            <a:lvl6pPr marL="1702841" indent="0">
              <a:buNone/>
              <a:defRPr sz="745"/>
            </a:lvl6pPr>
            <a:lvl7pPr marL="2043410" indent="0">
              <a:buNone/>
              <a:defRPr sz="745"/>
            </a:lvl7pPr>
            <a:lvl8pPr marL="2383978" indent="0">
              <a:buNone/>
              <a:defRPr sz="745"/>
            </a:lvl8pPr>
            <a:lvl9pPr marL="2724546" indent="0">
              <a:buNone/>
              <a:defRPr sz="745"/>
            </a:lvl9pPr>
          </a:lstStyle>
          <a:p>
            <a:pPr lvl="0"/>
            <a:r>
              <a:rPr lang="nb-NO"/>
              <a:t>Rediger tekststiler i malen</a:t>
            </a:r>
          </a:p>
        </p:txBody>
      </p:sp>
      <p:sp>
        <p:nvSpPr>
          <p:cNvPr id="5" name="Plassholder for dato 4"/>
          <p:cNvSpPr>
            <a:spLocks noGrp="1"/>
          </p:cNvSpPr>
          <p:nvPr>
            <p:ph type="dt" sz="half" idx="10"/>
          </p:nvPr>
        </p:nvSpPr>
        <p:spPr/>
        <p:txBody>
          <a:bodyPr/>
          <a:lstStyle/>
          <a:p>
            <a:fld id="{03C899A0-9405-4D6E-A312-0C12ECFB2396}" type="datetimeFigureOut">
              <a:rPr lang="nb-NO" smtClean="0"/>
              <a:t>19.10.2022</a:t>
            </a:fld>
            <a:endParaRPr lang="nb-NO"/>
          </a:p>
        </p:txBody>
      </p:sp>
      <p:sp>
        <p:nvSpPr>
          <p:cNvPr id="6" name="Plassholder for bunntekst 5"/>
          <p:cNvSpPr>
            <a:spLocks noGrp="1"/>
          </p:cNvSpPr>
          <p:nvPr>
            <p:ph type="ftr" sz="quarter" idx="11"/>
          </p:nvPr>
        </p:nvSpPr>
        <p:spPr/>
        <p:txBody>
          <a:bodyPr/>
          <a:lstStyle/>
          <a:p>
            <a:endParaRPr lang="nb-NO"/>
          </a:p>
        </p:txBody>
      </p:sp>
      <p:sp>
        <p:nvSpPr>
          <p:cNvPr id="7" name="Plassholder for lysbildenummer 6"/>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33474709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03C899A0-9405-4D6E-A312-0C12ECFB2396}" type="datetimeFigureOut">
              <a:rPr lang="nb-NO" smtClean="0"/>
              <a:t>19.10.2022</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80434586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544812" y="271984"/>
            <a:ext cx="1972017" cy="4329281"/>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28759" y="271984"/>
            <a:ext cx="5801732" cy="4329281"/>
          </a:xfrm>
        </p:spPr>
        <p:txBody>
          <a:bodyPr vert="eaVert"/>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10"/>
          </p:nvPr>
        </p:nvSpPr>
        <p:spPr/>
        <p:txBody>
          <a:bodyPr/>
          <a:lstStyle/>
          <a:p>
            <a:fld id="{03C899A0-9405-4D6E-A312-0C12ECFB2396}" type="datetimeFigureOut">
              <a:rPr lang="nb-NO" smtClean="0"/>
              <a:t>19.10.2022</a:t>
            </a:fld>
            <a:endParaRPr lang="nb-NO"/>
          </a:p>
        </p:txBody>
      </p:sp>
      <p:sp>
        <p:nvSpPr>
          <p:cNvPr id="5" name="Plassholder for bunntekst 4"/>
          <p:cNvSpPr>
            <a:spLocks noGrp="1"/>
          </p:cNvSpPr>
          <p:nvPr>
            <p:ph type="ftr" sz="quarter" idx="11"/>
          </p:nvPr>
        </p:nvSpPr>
        <p:spPr/>
        <p:txBody>
          <a:bodyPr/>
          <a:lstStyle/>
          <a:p>
            <a:endParaRPr lang="nb-NO"/>
          </a:p>
        </p:txBody>
      </p:sp>
      <p:sp>
        <p:nvSpPr>
          <p:cNvPr id="6" name="Plassholder for lysbildenummer 5"/>
          <p:cNvSpPr>
            <a:spLocks noGrp="1"/>
          </p:cNvSpPr>
          <p:nvPr>
            <p:ph type="sldNum" sz="quarter" idx="12"/>
          </p:nvPr>
        </p:nvSpPr>
        <p:spPr/>
        <p:txBody>
          <a:bodyPr/>
          <a:lstStyle/>
          <a:p>
            <a:fld id="{517487A3-BC12-4C61-8879-C71838E06A57}" type="slidenum">
              <a:rPr lang="nb-NO" smtClean="0"/>
              <a:t>‹#›</a:t>
            </a:fld>
            <a:endParaRPr lang="nb-NO"/>
          </a:p>
        </p:txBody>
      </p:sp>
    </p:spTree>
    <p:extLst>
      <p:ext uri="{BB962C8B-B14F-4D97-AF65-F5344CB8AC3E}">
        <p14:creationId xmlns:p14="http://schemas.microsoft.com/office/powerpoint/2010/main" val="299579677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rgbClr val="F7E2E8"/>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FA4D945C-4F33-429E-A937-C71459CE75C0}"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3" name="Subtitle 2"/>
          <p:cNvSpPr>
            <a:spLocks noGrp="1"/>
          </p:cNvSpPr>
          <p:nvPr>
            <p:ph type="subTitle" idx="1"/>
          </p:nvPr>
        </p:nvSpPr>
        <p:spPr>
          <a:xfrm>
            <a:off x="569687" y="2404365"/>
            <a:ext cx="8014946" cy="738047"/>
          </a:xfrm>
        </p:spPr>
        <p:txBody>
          <a:bodyPr/>
          <a:lstStyle>
            <a:lvl1pPr marL="0" indent="0" algn="l">
              <a:buNone/>
              <a:defRPr sz="1788"/>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sp>
        <p:nvSpPr>
          <p:cNvPr id="9" name="Title 8">
            <a:extLst>
              <a:ext uri="{FF2B5EF4-FFF2-40B4-BE49-F238E27FC236}">
                <a16:creationId xmlns:a16="http://schemas.microsoft.com/office/drawing/2014/main" id="{FC7918D9-4AC2-4F3D-ADB1-405DF5CB58AC}"/>
              </a:ext>
            </a:extLst>
          </p:cNvPr>
          <p:cNvSpPr>
            <a:spLocks noGrp="1"/>
          </p:cNvSpPr>
          <p:nvPr>
            <p:ph type="title"/>
          </p:nvPr>
        </p:nvSpPr>
        <p:spPr>
          <a:xfrm>
            <a:off x="569688" y="1658519"/>
            <a:ext cx="8014946" cy="593910"/>
          </a:xfrm>
        </p:spPr>
        <p:txBody>
          <a:bodyPr/>
          <a:lstStyle/>
          <a:p>
            <a:r>
              <a:rPr lang="nb-NO"/>
              <a:t>Klikk for å redigere tittelstil</a:t>
            </a:r>
          </a:p>
        </p:txBody>
      </p:sp>
      <p:pic>
        <p:nvPicPr>
          <p:cNvPr id="19" name="Graphic 18">
            <a:extLst>
              <a:ext uri="{FF2B5EF4-FFF2-40B4-BE49-F238E27FC236}">
                <a16:creationId xmlns:a16="http://schemas.microsoft.com/office/drawing/2014/main" id="{11F5B37A-FD83-44A1-9355-041AF6B43F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2023" y="482059"/>
            <a:ext cx="555594" cy="670623"/>
          </a:xfrm>
          <a:prstGeom prst="rect">
            <a:avLst/>
          </a:prstGeom>
        </p:spPr>
      </p:pic>
      <p:sp>
        <p:nvSpPr>
          <p:cNvPr id="11" name="addin_colorlist" hidden="1">
            <a:extLst>
              <a:ext uri="{FF2B5EF4-FFF2-40B4-BE49-F238E27FC236}">
                <a16:creationId xmlns:a16="http://schemas.microsoft.com/office/drawing/2014/main" id="{277BAC4F-0E54-4289-8D23-AB7E980B9A4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forside_graa</a:t>
            </a:r>
          </a:p>
        </p:txBody>
      </p:sp>
      <p:sp>
        <p:nvSpPr>
          <p:cNvPr id="16" name="addin_background" hidden="1">
            <a:extLst>
              <a:ext uri="{FF2B5EF4-FFF2-40B4-BE49-F238E27FC236}">
                <a16:creationId xmlns:a16="http://schemas.microsoft.com/office/drawing/2014/main" id="{FEA41D85-5558-4C35-8F8D-FE81709640CD}"/>
              </a:ext>
            </a:extLst>
          </p:cNvPr>
          <p:cNvSpPr/>
          <p:nvPr userDrawn="1"/>
        </p:nvSpPr>
        <p:spPr>
          <a:xfrm>
            <a:off x="0"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grpSp>
        <p:nvGrpSpPr>
          <p:cNvPr id="2" name="Bakgrunn" hidden="1">
            <a:extLst>
              <a:ext uri="{FF2B5EF4-FFF2-40B4-BE49-F238E27FC236}">
                <a16:creationId xmlns:a16="http://schemas.microsoft.com/office/drawing/2014/main" id="{E7418B34-837D-48FB-A015-7810AD1E1AE0}"/>
              </a:ext>
            </a:extLst>
          </p:cNvPr>
          <p:cNvGrpSpPr/>
          <p:nvPr/>
        </p:nvGrpSpPr>
        <p:grpSpPr>
          <a:xfrm>
            <a:off x="0" y="3095654"/>
            <a:ext cx="9145588" cy="2011974"/>
            <a:chOff x="0" y="4155757"/>
            <a:chExt cx="12192000" cy="2700972"/>
          </a:xfrm>
        </p:grpSpPr>
        <p:sp>
          <p:nvSpPr>
            <p:cNvPr id="10" name="Bakgrunn">
              <a:extLst>
                <a:ext uri="{FF2B5EF4-FFF2-40B4-BE49-F238E27FC236}">
                  <a16:creationId xmlns:a16="http://schemas.microsoft.com/office/drawing/2014/main" id="{0B3491A5-5654-4EB5-A420-791211C4A52B}"/>
                </a:ext>
              </a:extLst>
            </p:cNvPr>
            <p:cNvSpPr/>
            <p:nvPr/>
          </p:nvSpPr>
          <p:spPr>
            <a:xfrm>
              <a:off x="6569710" y="4155757"/>
              <a:ext cx="5622290" cy="2168525"/>
            </a:xfrm>
            <a:custGeom>
              <a:avLst/>
              <a:gdLst>
                <a:gd name="connsiteX0" fmla="*/ 5622290 w 5622290"/>
                <a:gd name="connsiteY0" fmla="*/ 0 h 2168525"/>
                <a:gd name="connsiteX1" fmla="*/ 0 w 5622290"/>
                <a:gd name="connsiteY1" fmla="*/ 2168525 h 2168525"/>
                <a:gd name="connsiteX2" fmla="*/ 5622290 w 5622290"/>
                <a:gd name="connsiteY2" fmla="*/ 1695450 h 2168525"/>
              </a:gdLst>
              <a:ahLst/>
              <a:cxnLst>
                <a:cxn ang="0">
                  <a:pos x="connsiteX0" y="connsiteY0"/>
                </a:cxn>
                <a:cxn ang="0">
                  <a:pos x="connsiteX1" y="connsiteY1"/>
                </a:cxn>
                <a:cxn ang="0">
                  <a:pos x="connsiteX2" y="connsiteY2"/>
                </a:cxn>
              </a:cxnLst>
              <a:rect l="l" t="t" r="r" b="b"/>
              <a:pathLst>
                <a:path w="5622290" h="2168525">
                  <a:moveTo>
                    <a:pt x="5622290" y="0"/>
                  </a:moveTo>
                  <a:lnTo>
                    <a:pt x="0" y="2168525"/>
                  </a:lnTo>
                  <a:lnTo>
                    <a:pt x="5622290" y="1695450"/>
                  </a:lnTo>
                  <a:close/>
                </a:path>
              </a:pathLst>
            </a:custGeom>
            <a:solidFill>
              <a:srgbClr val="AF4C57"/>
            </a:solidFill>
            <a:ln w="6350" cap="flat">
              <a:noFill/>
              <a:prstDash val="solid"/>
              <a:miter/>
            </a:ln>
          </p:spPr>
          <p:txBody>
            <a:bodyPr rtlCol="0" anchor="ctr"/>
            <a:lstStyle/>
            <a:p>
              <a:endParaRPr lang="en-US" sz="1043"/>
            </a:p>
          </p:txBody>
        </p:sp>
        <p:sp>
          <p:nvSpPr>
            <p:cNvPr id="7" name="Bakgrunn">
              <a:extLst>
                <a:ext uri="{FF2B5EF4-FFF2-40B4-BE49-F238E27FC236}">
                  <a16:creationId xmlns:a16="http://schemas.microsoft.com/office/drawing/2014/main" id="{0E91AAC8-A440-4EA7-9D10-38F0EF5DAC85}"/>
                </a:ext>
              </a:extLst>
            </p:cNvPr>
            <p:cNvSpPr/>
            <p:nvPr/>
          </p:nvSpPr>
          <p:spPr>
            <a:xfrm>
              <a:off x="0" y="5791835"/>
              <a:ext cx="12192000" cy="1064894"/>
            </a:xfrm>
            <a:custGeom>
              <a:avLst/>
              <a:gdLst>
                <a:gd name="connsiteX0" fmla="*/ 0 w 12192000"/>
                <a:gd name="connsiteY0" fmla="*/ 1064895 h 1064894"/>
                <a:gd name="connsiteX1" fmla="*/ 12192000 w 12192000"/>
                <a:gd name="connsiteY1" fmla="*/ 1064895 h 1064894"/>
                <a:gd name="connsiteX2" fmla="*/ 12192000 w 12192000"/>
                <a:gd name="connsiteY2" fmla="*/ 944245 h 1064894"/>
                <a:gd name="connsiteX3" fmla="*/ 0 w 12192000"/>
                <a:gd name="connsiteY3" fmla="*/ 0 h 1064894"/>
              </a:gdLst>
              <a:ahLst/>
              <a:cxnLst>
                <a:cxn ang="0">
                  <a:pos x="connsiteX0" y="connsiteY0"/>
                </a:cxn>
                <a:cxn ang="0">
                  <a:pos x="connsiteX1" y="connsiteY1"/>
                </a:cxn>
                <a:cxn ang="0">
                  <a:pos x="connsiteX2" y="connsiteY2"/>
                </a:cxn>
                <a:cxn ang="0">
                  <a:pos x="connsiteX3" y="connsiteY3"/>
                </a:cxn>
              </a:cxnLst>
              <a:rect l="l" t="t" r="r" b="b"/>
              <a:pathLst>
                <a:path w="12192000" h="1064894">
                  <a:moveTo>
                    <a:pt x="0" y="1064895"/>
                  </a:moveTo>
                  <a:lnTo>
                    <a:pt x="12192000" y="1064895"/>
                  </a:lnTo>
                  <a:lnTo>
                    <a:pt x="12192000" y="944245"/>
                  </a:lnTo>
                  <a:lnTo>
                    <a:pt x="0" y="0"/>
                  </a:lnTo>
                  <a:close/>
                </a:path>
              </a:pathLst>
            </a:custGeom>
            <a:solidFill>
              <a:srgbClr val="F06B78"/>
            </a:solidFill>
            <a:ln w="6350" cap="flat">
              <a:noFill/>
              <a:prstDash val="solid"/>
              <a:miter/>
            </a:ln>
          </p:spPr>
          <p:txBody>
            <a:bodyPr rtlCol="0" anchor="ctr"/>
            <a:lstStyle/>
            <a:p>
              <a:endParaRPr lang="en-US" sz="1043"/>
            </a:p>
          </p:txBody>
        </p:sp>
        <p:sp>
          <p:nvSpPr>
            <p:cNvPr id="8" name="Bakgrunn">
              <a:extLst>
                <a:ext uri="{FF2B5EF4-FFF2-40B4-BE49-F238E27FC236}">
                  <a16:creationId xmlns:a16="http://schemas.microsoft.com/office/drawing/2014/main" id="{17318C7C-7157-4624-A94D-8E1F0029F6A6}"/>
                </a:ext>
              </a:extLst>
            </p:cNvPr>
            <p:cNvSpPr/>
            <p:nvPr/>
          </p:nvSpPr>
          <p:spPr>
            <a:xfrm>
              <a:off x="0" y="5829300"/>
              <a:ext cx="12192000" cy="1027429"/>
            </a:xfrm>
            <a:custGeom>
              <a:avLst/>
              <a:gdLst>
                <a:gd name="connsiteX0" fmla="*/ 0 w 12192000"/>
                <a:gd name="connsiteY0" fmla="*/ 1027430 h 1027429"/>
                <a:gd name="connsiteX1" fmla="*/ 12192000 w 12192000"/>
                <a:gd name="connsiteY1" fmla="*/ 1027430 h 1027429"/>
                <a:gd name="connsiteX2" fmla="*/ 12192000 w 12192000"/>
                <a:gd name="connsiteY2" fmla="*/ 0 h 1027429"/>
              </a:gdLst>
              <a:ahLst/>
              <a:cxnLst>
                <a:cxn ang="0">
                  <a:pos x="connsiteX0" y="connsiteY0"/>
                </a:cxn>
                <a:cxn ang="0">
                  <a:pos x="connsiteX1" y="connsiteY1"/>
                </a:cxn>
                <a:cxn ang="0">
                  <a:pos x="connsiteX2" y="connsiteY2"/>
                </a:cxn>
              </a:cxnLst>
              <a:rect l="l" t="t" r="r" b="b"/>
              <a:pathLst>
                <a:path w="12192000" h="1027429">
                  <a:moveTo>
                    <a:pt x="0" y="1027430"/>
                  </a:moveTo>
                  <a:lnTo>
                    <a:pt x="12192000" y="1027430"/>
                  </a:lnTo>
                  <a:lnTo>
                    <a:pt x="12192000" y="0"/>
                  </a:lnTo>
                  <a:close/>
                </a:path>
              </a:pathLst>
            </a:custGeom>
            <a:solidFill>
              <a:srgbClr val="6D2C35"/>
            </a:solidFill>
            <a:ln w="6350" cap="flat">
              <a:noFill/>
              <a:prstDash val="solid"/>
              <a:miter/>
            </a:ln>
          </p:spPr>
          <p:txBody>
            <a:bodyPr rtlCol="0" anchor="ctr"/>
            <a:lstStyle/>
            <a:p>
              <a:endParaRPr lang="en-US" sz="1043"/>
            </a:p>
          </p:txBody>
        </p:sp>
      </p:grpSp>
      <p:sp>
        <p:nvSpPr>
          <p:cNvPr id="14" name="addin_logo" hidden="1">
            <a:extLst>
              <a:ext uri="{FF2B5EF4-FFF2-40B4-BE49-F238E27FC236}">
                <a16:creationId xmlns:a16="http://schemas.microsoft.com/office/drawing/2014/main" id="{2F3C31F9-A13D-4D71-B3E1-C8FDC8D8FF59}"/>
              </a:ext>
            </a:extLst>
          </p:cNvPr>
          <p:cNvSpPr/>
          <p:nvPr userDrawn="1"/>
        </p:nvSpPr>
        <p:spPr>
          <a:xfrm>
            <a:off x="1228938"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logo</a:t>
            </a:r>
            <a:endParaRPr lang="nb-NO" sz="596"/>
          </a:p>
        </p:txBody>
      </p:sp>
      <p:pic>
        <p:nvPicPr>
          <p:cNvPr id="13" name="logo_graa" hidden="1">
            <a:extLst>
              <a:ext uri="{FF2B5EF4-FFF2-40B4-BE49-F238E27FC236}">
                <a16:creationId xmlns:a16="http://schemas.microsoft.com/office/drawing/2014/main" id="{A9F04043-878A-4023-92B0-D20DCBCB529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0" y="3078388"/>
            <a:ext cx="9145588" cy="2029240"/>
          </a:xfrm>
          <a:prstGeom prst="rect">
            <a:avLst/>
          </a:prstGeom>
        </p:spPr>
      </p:pic>
      <p:pic>
        <p:nvPicPr>
          <p:cNvPr id="21" name="logo_white" hidden="1">
            <a:extLst>
              <a:ext uri="{FF2B5EF4-FFF2-40B4-BE49-F238E27FC236}">
                <a16:creationId xmlns:a16="http://schemas.microsoft.com/office/drawing/2014/main" id="{4EB7678A-9AFF-447F-A581-196AFA8875C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 y="3095654"/>
            <a:ext cx="9153086" cy="2020645"/>
          </a:xfrm>
          <a:prstGeom prst="rect">
            <a:avLst/>
          </a:prstGeom>
        </p:spPr>
      </p:pic>
      <p:sp>
        <p:nvSpPr>
          <p:cNvPr id="15" name="Text Placeholder 14">
            <a:extLst>
              <a:ext uri="{FF2B5EF4-FFF2-40B4-BE49-F238E27FC236}">
                <a16:creationId xmlns:a16="http://schemas.microsoft.com/office/drawing/2014/main" id="{A50AE5C8-C6E6-472E-9671-13778D14331D}"/>
              </a:ext>
            </a:extLst>
          </p:cNvPr>
          <p:cNvSpPr>
            <a:spLocks noGrp="1"/>
          </p:cNvSpPr>
          <p:nvPr>
            <p:ph type="body" sz="quarter" idx="13" hasCustomPrompt="1"/>
          </p:nvPr>
        </p:nvSpPr>
        <p:spPr>
          <a:xfrm>
            <a:off x="-1" y="3095654"/>
            <a:ext cx="9153086" cy="2020645"/>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100"/>
            </a:lvl1pPr>
          </a:lstStyle>
          <a:p>
            <a:pPr lvl="0"/>
            <a:r>
              <a:rPr lang="nb-NO"/>
              <a:t> </a:t>
            </a:r>
          </a:p>
        </p:txBody>
      </p:sp>
    </p:spTree>
    <p:extLst>
      <p:ext uri="{BB962C8B-B14F-4D97-AF65-F5344CB8AC3E}">
        <p14:creationId xmlns:p14="http://schemas.microsoft.com/office/powerpoint/2010/main" val="37901214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6" y="1451132"/>
            <a:ext cx="8001488"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B506136A-E4F7-418E-AC0A-370F57318017}"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10" name="addin_colorlist" hidden="1">
            <a:extLst>
              <a:ext uri="{FF2B5EF4-FFF2-40B4-BE49-F238E27FC236}">
                <a16:creationId xmlns:a16="http://schemas.microsoft.com/office/drawing/2014/main" id="{AC01F75F-3AC5-499D-90C7-BFA236894EAA}"/>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1" name="addin_background" hidden="1">
            <a:extLst>
              <a:ext uri="{FF2B5EF4-FFF2-40B4-BE49-F238E27FC236}">
                <a16:creationId xmlns:a16="http://schemas.microsoft.com/office/drawing/2014/main" id="{4E123E27-263D-4100-9317-A8768E9499DF}"/>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141024394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tel og to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7" y="1451132"/>
            <a:ext cx="3852287"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503AE893-AFB7-4026-955E-405B34AE2019}"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9" name="Content Placeholder 2">
            <a:extLst>
              <a:ext uri="{FF2B5EF4-FFF2-40B4-BE49-F238E27FC236}">
                <a16:creationId xmlns:a16="http://schemas.microsoft.com/office/drawing/2014/main" id="{503AE412-FB90-4F94-8A62-589A40D324A1}"/>
              </a:ext>
            </a:extLst>
          </p:cNvPr>
          <p:cNvSpPr>
            <a:spLocks noGrp="1"/>
          </p:cNvSpPr>
          <p:nvPr>
            <p:ph idx="13"/>
          </p:nvPr>
        </p:nvSpPr>
        <p:spPr>
          <a:xfrm>
            <a:off x="4732346" y="1451132"/>
            <a:ext cx="3852287"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Title 6">
            <a:extLst>
              <a:ext uri="{FF2B5EF4-FFF2-40B4-BE49-F238E27FC236}">
                <a16:creationId xmlns:a16="http://schemas.microsoft.com/office/drawing/2014/main" id="{188AAF06-1E9C-4156-BD9D-AFBED75C541C}"/>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8" name="addin_colorlist" hidden="1">
            <a:extLst>
              <a:ext uri="{FF2B5EF4-FFF2-40B4-BE49-F238E27FC236}">
                <a16:creationId xmlns:a16="http://schemas.microsoft.com/office/drawing/2014/main" id="{90151B8E-D081-4152-AE3D-BEABABD388E2}"/>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1" name="addin_background" hidden="1">
            <a:extLst>
              <a:ext uri="{FF2B5EF4-FFF2-40B4-BE49-F238E27FC236}">
                <a16:creationId xmlns:a16="http://schemas.microsoft.com/office/drawing/2014/main" id="{44982541-6302-41EB-8C8D-9635C5E86EBD}"/>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28503717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tel og tre innho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6" y="1451132"/>
            <a:ext cx="2471000"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68BF2B57-35DF-4E34-8730-94D80C83787E}"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10" name="Content Placeholder 2">
            <a:extLst>
              <a:ext uri="{FF2B5EF4-FFF2-40B4-BE49-F238E27FC236}">
                <a16:creationId xmlns:a16="http://schemas.microsoft.com/office/drawing/2014/main" id="{5C050928-F8E1-443A-A15C-ABDD83E9F0AC}"/>
              </a:ext>
            </a:extLst>
          </p:cNvPr>
          <p:cNvSpPr>
            <a:spLocks noGrp="1"/>
          </p:cNvSpPr>
          <p:nvPr>
            <p:ph idx="13"/>
          </p:nvPr>
        </p:nvSpPr>
        <p:spPr>
          <a:xfrm>
            <a:off x="3337294" y="1451132"/>
            <a:ext cx="2471000"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Content Placeholder 2">
            <a:extLst>
              <a:ext uri="{FF2B5EF4-FFF2-40B4-BE49-F238E27FC236}">
                <a16:creationId xmlns:a16="http://schemas.microsoft.com/office/drawing/2014/main" id="{15699CDC-CE0C-40FD-89CA-3E7F1C1E361B}"/>
              </a:ext>
            </a:extLst>
          </p:cNvPr>
          <p:cNvSpPr>
            <a:spLocks noGrp="1"/>
          </p:cNvSpPr>
          <p:nvPr>
            <p:ph idx="14"/>
          </p:nvPr>
        </p:nvSpPr>
        <p:spPr>
          <a:xfrm>
            <a:off x="6113633" y="1451132"/>
            <a:ext cx="2471000" cy="317144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Title 6">
            <a:extLst>
              <a:ext uri="{FF2B5EF4-FFF2-40B4-BE49-F238E27FC236}">
                <a16:creationId xmlns:a16="http://schemas.microsoft.com/office/drawing/2014/main" id="{1E3E85D4-6C34-4BCC-AE4F-1743E4A84CDD}"/>
              </a:ext>
            </a:extLst>
          </p:cNvPr>
          <p:cNvSpPr>
            <a:spLocks noGrp="1"/>
          </p:cNvSpPr>
          <p:nvPr>
            <p:ph type="title"/>
          </p:nvPr>
        </p:nvSpPr>
        <p:spPr>
          <a:xfrm>
            <a:off x="569686" y="724584"/>
            <a:ext cx="8014947" cy="538974"/>
          </a:xfrm>
        </p:spPr>
        <p:txBody>
          <a:bodyPr/>
          <a:lstStyle/>
          <a:p>
            <a:r>
              <a:rPr lang="nb-NO"/>
              <a:t>Klikk for å redigere tittelstil</a:t>
            </a:r>
          </a:p>
        </p:txBody>
      </p:sp>
      <p:sp>
        <p:nvSpPr>
          <p:cNvPr id="9" name="addin_colorlist" hidden="1">
            <a:extLst>
              <a:ext uri="{FF2B5EF4-FFF2-40B4-BE49-F238E27FC236}">
                <a16:creationId xmlns:a16="http://schemas.microsoft.com/office/drawing/2014/main" id="{1165CE18-B6EB-4BC1-B8BF-0D7BBBB25B7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13" name="addin_background" hidden="1">
            <a:extLst>
              <a:ext uri="{FF2B5EF4-FFF2-40B4-BE49-F238E27FC236}">
                <a16:creationId xmlns:a16="http://schemas.microsoft.com/office/drawing/2014/main" id="{D1C9A2C9-F4AA-442E-8DA4-9329742174F3}"/>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33709496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tel, tekst og bilde">
    <p:spTree>
      <p:nvGrpSpPr>
        <p:cNvPr id="1" name=""/>
        <p:cNvGrpSpPr/>
        <p:nvPr/>
      </p:nvGrpSpPr>
      <p:grpSpPr>
        <a:xfrm>
          <a:off x="0" y="0"/>
          <a:ext cx="0" cy="0"/>
          <a:chOff x="0" y="0"/>
          <a:chExt cx="0" cy="0"/>
        </a:xfrm>
      </p:grpSpPr>
      <p:sp>
        <p:nvSpPr>
          <p:cNvPr id="3" name="Content Placeholder 2"/>
          <p:cNvSpPr>
            <a:spLocks noGrp="1"/>
          </p:cNvSpPr>
          <p:nvPr>
            <p:ph idx="1"/>
          </p:nvPr>
        </p:nvSpPr>
        <p:spPr>
          <a:xfrm>
            <a:off x="569687" y="1942404"/>
            <a:ext cx="3861557" cy="2680175"/>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0E6625F5-7C6E-455D-81CB-2BBEEEB07508}"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7" y="724584"/>
            <a:ext cx="3861557" cy="1033409"/>
          </a:xfrm>
        </p:spPr>
        <p:txBody>
          <a:bodyPr/>
          <a:lstStyle/>
          <a:p>
            <a:r>
              <a:rPr lang="nb-NO"/>
              <a:t>Klikk for å redigere tittelstil</a:t>
            </a:r>
          </a:p>
        </p:txBody>
      </p:sp>
      <p:sp>
        <p:nvSpPr>
          <p:cNvPr id="12" name="Picture Placeholder 11">
            <a:extLst>
              <a:ext uri="{FF2B5EF4-FFF2-40B4-BE49-F238E27FC236}">
                <a16:creationId xmlns:a16="http://schemas.microsoft.com/office/drawing/2014/main" id="{B830D0AE-EE6C-40F5-BD4A-567AF63327A0}"/>
              </a:ext>
            </a:extLst>
          </p:cNvPr>
          <p:cNvSpPr>
            <a:spLocks noGrp="1"/>
          </p:cNvSpPr>
          <p:nvPr>
            <p:ph type="pic" sz="quarter" idx="13"/>
          </p:nvPr>
        </p:nvSpPr>
        <p:spPr>
          <a:xfrm>
            <a:off x="4718690" y="724391"/>
            <a:ext cx="3865943" cy="3898104"/>
          </a:xfrm>
        </p:spPr>
        <p:txBody>
          <a:bodyPr/>
          <a:lstStyle>
            <a:lvl1pPr marL="0" indent="0">
              <a:buNone/>
              <a:defRPr/>
            </a:lvl1pPr>
          </a:lstStyle>
          <a:p>
            <a:r>
              <a:rPr lang="nb-NO"/>
              <a:t>Klikk på ikonet for å legge til et bilde</a:t>
            </a:r>
            <a:endParaRPr lang="en-US"/>
          </a:p>
        </p:txBody>
      </p:sp>
      <p:sp>
        <p:nvSpPr>
          <p:cNvPr id="8" name="addin_colorlist" hidden="1">
            <a:extLst>
              <a:ext uri="{FF2B5EF4-FFF2-40B4-BE49-F238E27FC236}">
                <a16:creationId xmlns:a16="http://schemas.microsoft.com/office/drawing/2014/main" id="{8A5422BC-6CB6-4918-AC77-604DB3A2152B}"/>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9" name="addin_background" hidden="1">
            <a:extLst>
              <a:ext uri="{FF2B5EF4-FFF2-40B4-BE49-F238E27FC236}">
                <a16:creationId xmlns:a16="http://schemas.microsoft.com/office/drawing/2014/main" id="{DE03BF46-0C44-47F6-BF4E-9400F66D2977}"/>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126256372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tel og undertittel">
    <p:bg>
      <p:bgPr>
        <a:solidFill>
          <a:srgbClr val="F7E2E8"/>
        </a:solidFill>
        <a:effectLst/>
      </p:bgPr>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11F5B37A-FD83-44A1-9355-041AF6B43F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52023" y="482059"/>
            <a:ext cx="555594" cy="670623"/>
          </a:xfrm>
          <a:prstGeom prst="rect">
            <a:avLst/>
          </a:prstGeom>
        </p:spPr>
      </p:pic>
      <p:sp>
        <p:nvSpPr>
          <p:cNvPr id="4" name="Date Placeholder 3"/>
          <p:cNvSpPr>
            <a:spLocks noGrp="1"/>
          </p:cNvSpPr>
          <p:nvPr>
            <p:ph type="dt" sz="half" idx="10"/>
          </p:nvPr>
        </p:nvSpPr>
        <p:spPr/>
        <p:txBody>
          <a:bodyPr/>
          <a:lstStyle/>
          <a:p>
            <a:fld id="{AC78E596-238B-47A7-93EA-C90E79F90AFD}"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20" name="Title 8">
            <a:extLst>
              <a:ext uri="{FF2B5EF4-FFF2-40B4-BE49-F238E27FC236}">
                <a16:creationId xmlns:a16="http://schemas.microsoft.com/office/drawing/2014/main" id="{A4FE77F8-4577-41AB-AC3E-B6BDC337F357}"/>
              </a:ext>
            </a:extLst>
          </p:cNvPr>
          <p:cNvSpPr>
            <a:spLocks noGrp="1"/>
          </p:cNvSpPr>
          <p:nvPr>
            <p:ph type="title"/>
          </p:nvPr>
        </p:nvSpPr>
        <p:spPr>
          <a:xfrm>
            <a:off x="569688" y="1658519"/>
            <a:ext cx="8014946" cy="593910"/>
          </a:xfrm>
        </p:spPr>
        <p:txBody>
          <a:bodyPr/>
          <a:lstStyle/>
          <a:p>
            <a:r>
              <a:rPr lang="nb-NO"/>
              <a:t>Klikk for å redigere tittelstil</a:t>
            </a:r>
          </a:p>
        </p:txBody>
      </p:sp>
      <p:sp>
        <p:nvSpPr>
          <p:cNvPr id="11" name="addin_colorlist" hidden="1">
            <a:extLst>
              <a:ext uri="{FF2B5EF4-FFF2-40B4-BE49-F238E27FC236}">
                <a16:creationId xmlns:a16="http://schemas.microsoft.com/office/drawing/2014/main" id="{514D5404-8837-4261-9A59-ED416985F266}"/>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a:t>forside1,red,white,forside_graa</a:t>
            </a:r>
          </a:p>
        </p:txBody>
      </p:sp>
      <p:sp>
        <p:nvSpPr>
          <p:cNvPr id="12" name="addin_background" hidden="1">
            <a:extLst>
              <a:ext uri="{FF2B5EF4-FFF2-40B4-BE49-F238E27FC236}">
                <a16:creationId xmlns:a16="http://schemas.microsoft.com/office/drawing/2014/main" id="{1B118616-B32E-494B-89BB-ACED0586DA8C}"/>
              </a:ext>
            </a:extLst>
          </p:cNvPr>
          <p:cNvSpPr/>
          <p:nvPr userDrawn="1"/>
        </p:nvSpPr>
        <p:spPr>
          <a:xfrm>
            <a:off x="0"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
        <p:nvSpPr>
          <p:cNvPr id="14" name="addin_logo" hidden="1">
            <a:extLst>
              <a:ext uri="{FF2B5EF4-FFF2-40B4-BE49-F238E27FC236}">
                <a16:creationId xmlns:a16="http://schemas.microsoft.com/office/drawing/2014/main" id="{B15A4D41-17BD-42E3-A5F3-4D65881A490A}"/>
              </a:ext>
            </a:extLst>
          </p:cNvPr>
          <p:cNvSpPr/>
          <p:nvPr userDrawn="1"/>
        </p:nvSpPr>
        <p:spPr>
          <a:xfrm>
            <a:off x="1228938" y="-831173"/>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logo</a:t>
            </a:r>
            <a:endParaRPr lang="nb-NO" sz="596"/>
          </a:p>
        </p:txBody>
      </p:sp>
      <p:pic>
        <p:nvPicPr>
          <p:cNvPr id="7" name="logo_graa" hidden="1">
            <a:extLst>
              <a:ext uri="{FF2B5EF4-FFF2-40B4-BE49-F238E27FC236}">
                <a16:creationId xmlns:a16="http://schemas.microsoft.com/office/drawing/2014/main" id="{45A7A0CF-DD21-47E5-8F63-6D01F1F5E1C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862" y="2929279"/>
            <a:ext cx="9173493" cy="2195688"/>
          </a:xfrm>
          <a:prstGeom prst="rect">
            <a:avLst/>
          </a:prstGeom>
        </p:spPr>
      </p:pic>
      <p:pic>
        <p:nvPicPr>
          <p:cNvPr id="15" name="logo_white" hidden="1">
            <a:extLst>
              <a:ext uri="{FF2B5EF4-FFF2-40B4-BE49-F238E27FC236}">
                <a16:creationId xmlns:a16="http://schemas.microsoft.com/office/drawing/2014/main" id="{D1EE5EBF-0CD7-4087-B3A8-7F22BE7B85F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0" y="2945789"/>
            <a:ext cx="9145588" cy="2189009"/>
          </a:xfrm>
          <a:prstGeom prst="rect">
            <a:avLst/>
          </a:prstGeom>
        </p:spPr>
      </p:pic>
      <p:sp>
        <p:nvSpPr>
          <p:cNvPr id="9" name="Text Placeholder 8">
            <a:extLst>
              <a:ext uri="{FF2B5EF4-FFF2-40B4-BE49-F238E27FC236}">
                <a16:creationId xmlns:a16="http://schemas.microsoft.com/office/drawing/2014/main" id="{BDEC0808-E356-4A21-8DAA-C1DACAB7296B}"/>
              </a:ext>
            </a:extLst>
          </p:cNvPr>
          <p:cNvSpPr>
            <a:spLocks noGrp="1"/>
          </p:cNvSpPr>
          <p:nvPr>
            <p:ph type="body" sz="quarter" idx="13" hasCustomPrompt="1"/>
          </p:nvPr>
        </p:nvSpPr>
        <p:spPr>
          <a:xfrm>
            <a:off x="0" y="2945789"/>
            <a:ext cx="9145588" cy="2189009"/>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100"/>
            </a:lvl1pPr>
          </a:lstStyle>
          <a:p>
            <a:pPr lvl="0"/>
            <a:r>
              <a:rPr lang="nb-NO"/>
              <a:t> </a:t>
            </a:r>
          </a:p>
        </p:txBody>
      </p:sp>
      <p:sp>
        <p:nvSpPr>
          <p:cNvPr id="3" name="Subtitle 2"/>
          <p:cNvSpPr>
            <a:spLocks noGrp="1"/>
          </p:cNvSpPr>
          <p:nvPr>
            <p:ph type="subTitle" idx="1"/>
          </p:nvPr>
        </p:nvSpPr>
        <p:spPr>
          <a:xfrm>
            <a:off x="552023" y="3897160"/>
            <a:ext cx="8032610" cy="729357"/>
          </a:xfrm>
        </p:spPr>
        <p:txBody>
          <a:bodyPr anchor="ctr"/>
          <a:lstStyle>
            <a:lvl1pPr marL="0" indent="0" algn="l">
              <a:buNone/>
              <a:defRPr sz="1788">
                <a:solidFill>
                  <a:srgbClr val="F7E2E8"/>
                </a:solidFill>
              </a:defRPr>
            </a:lvl1pPr>
            <a:lvl2pPr marL="340585" indent="0" algn="ctr">
              <a:buNone/>
              <a:defRPr sz="1490"/>
            </a:lvl2pPr>
            <a:lvl3pPr marL="681171" indent="0" algn="ctr">
              <a:buNone/>
              <a:defRPr sz="1341"/>
            </a:lvl3pPr>
            <a:lvl4pPr marL="1021756" indent="0" algn="ctr">
              <a:buNone/>
              <a:defRPr sz="1192"/>
            </a:lvl4pPr>
            <a:lvl5pPr marL="1362341" indent="0" algn="ctr">
              <a:buNone/>
              <a:defRPr sz="1192"/>
            </a:lvl5pPr>
            <a:lvl6pPr marL="1702926" indent="0" algn="ctr">
              <a:buNone/>
              <a:defRPr sz="1192"/>
            </a:lvl6pPr>
            <a:lvl7pPr marL="2043512" indent="0" algn="ctr">
              <a:buNone/>
              <a:defRPr sz="1192"/>
            </a:lvl7pPr>
            <a:lvl8pPr marL="2384097" indent="0" algn="ctr">
              <a:buNone/>
              <a:defRPr sz="1192"/>
            </a:lvl8pPr>
            <a:lvl9pPr marL="2724683" indent="0" algn="ctr">
              <a:buNone/>
              <a:defRPr sz="1192"/>
            </a:lvl9pPr>
          </a:lstStyle>
          <a:p>
            <a:r>
              <a:rPr lang="nb-NO"/>
              <a:t>Klikk for å redigere undertittelstil i malen</a:t>
            </a:r>
          </a:p>
        </p:txBody>
      </p:sp>
    </p:spTree>
    <p:extLst>
      <p:ext uri="{BB962C8B-B14F-4D97-AF65-F5344CB8AC3E}">
        <p14:creationId xmlns:p14="http://schemas.microsoft.com/office/powerpoint/2010/main" val="104140587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 og bilde">
    <p:bg>
      <p:bgPr>
        <a:solidFill>
          <a:schemeClr val="l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830D0AE-EE6C-40F5-BD4A-567AF63327A0}"/>
              </a:ext>
            </a:extLst>
          </p:cNvPr>
          <p:cNvSpPr>
            <a:spLocks noGrp="1"/>
          </p:cNvSpPr>
          <p:nvPr>
            <p:ph type="pic" sz="quarter" idx="13"/>
          </p:nvPr>
        </p:nvSpPr>
        <p:spPr>
          <a:xfrm>
            <a:off x="4569702" y="0"/>
            <a:ext cx="4575886" cy="5108501"/>
          </a:xfrm>
          <a:solidFill>
            <a:schemeClr val="bg1">
              <a:lumMod val="85000"/>
            </a:schemeClr>
          </a:solidFill>
        </p:spPr>
        <p:txBody>
          <a:bodyPr/>
          <a:lstStyle>
            <a:lvl1pPr marL="0" indent="0">
              <a:buNone/>
              <a:defRPr/>
            </a:lvl1pPr>
          </a:lstStyle>
          <a:p>
            <a:r>
              <a:rPr lang="nb-NO"/>
              <a:t>Klikk på ikonet for å legge til et bilde</a:t>
            </a:r>
            <a:endParaRPr lang="en-US"/>
          </a:p>
        </p:txBody>
      </p:sp>
      <p:sp>
        <p:nvSpPr>
          <p:cNvPr id="3" name="Content Placeholder 2"/>
          <p:cNvSpPr>
            <a:spLocks noGrp="1"/>
          </p:cNvSpPr>
          <p:nvPr>
            <p:ph idx="1"/>
          </p:nvPr>
        </p:nvSpPr>
        <p:spPr>
          <a:xfrm>
            <a:off x="569687" y="2708779"/>
            <a:ext cx="3861557" cy="1903664"/>
          </a:xfrm>
        </p:spPr>
        <p:txBody>
          <a:bodyPr/>
          <a:lstStyle>
            <a:lvl1pPr>
              <a:defRPr sz="1304"/>
            </a:lvl1pPr>
            <a:lvl2pPr>
              <a:defRPr sz="1080"/>
            </a:lvl2pPr>
            <a:lvl3pPr>
              <a:defRPr sz="1043"/>
            </a:lvl3pPr>
            <a:lvl4pPr>
              <a:defRPr sz="819"/>
            </a:lvl4pPr>
            <a:lvl5pPr>
              <a:defRPr sz="745"/>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10"/>
          </p:nvPr>
        </p:nvSpPr>
        <p:spPr/>
        <p:txBody>
          <a:bodyPr/>
          <a:lstStyle/>
          <a:p>
            <a:fld id="{C6118FF2-0A9D-4C31-97F5-2D517E0668C4}" type="datetime1">
              <a:rPr lang="nb-NO" smtClean="0"/>
              <a:t>19.10.2022</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03CFB122-701D-4C05-80E3-F767C0594D15}" type="slidenum">
              <a:rPr lang="nb-NO" smtClean="0"/>
              <a:t>‹#›</a:t>
            </a:fld>
            <a:endParaRPr lang="nb-NO"/>
          </a:p>
        </p:txBody>
      </p:sp>
      <p:sp>
        <p:nvSpPr>
          <p:cNvPr id="7" name="Title 6">
            <a:extLst>
              <a:ext uri="{FF2B5EF4-FFF2-40B4-BE49-F238E27FC236}">
                <a16:creationId xmlns:a16="http://schemas.microsoft.com/office/drawing/2014/main" id="{F94C0FD2-1208-4EAB-93B3-B10945AB5F99}"/>
              </a:ext>
            </a:extLst>
          </p:cNvPr>
          <p:cNvSpPr>
            <a:spLocks noGrp="1"/>
          </p:cNvSpPr>
          <p:nvPr>
            <p:ph type="title"/>
          </p:nvPr>
        </p:nvSpPr>
        <p:spPr>
          <a:xfrm>
            <a:off x="569687" y="724584"/>
            <a:ext cx="3861557" cy="1675213"/>
          </a:xfrm>
        </p:spPr>
        <p:txBody>
          <a:bodyPr anchor="b"/>
          <a:lstStyle>
            <a:lvl1pPr>
              <a:defRPr sz="2980"/>
            </a:lvl1pPr>
          </a:lstStyle>
          <a:p>
            <a:r>
              <a:rPr lang="nb-NO"/>
              <a:t>Klikk for å redigere tittelstil</a:t>
            </a:r>
          </a:p>
        </p:txBody>
      </p:sp>
      <p:sp>
        <p:nvSpPr>
          <p:cNvPr id="8" name="addin_colorlist" hidden="1">
            <a:extLst>
              <a:ext uri="{FF2B5EF4-FFF2-40B4-BE49-F238E27FC236}">
                <a16:creationId xmlns:a16="http://schemas.microsoft.com/office/drawing/2014/main" id="{1A1DDFDD-C819-4BE7-B634-0B84D0EF35AE}"/>
              </a:ext>
            </a:extLst>
          </p:cNvPr>
          <p:cNvSpPr/>
          <p:nvPr userDrawn="1"/>
        </p:nvSpPr>
        <p:spPr>
          <a:xfrm>
            <a:off x="1061862" y="-425764"/>
            <a:ext cx="302983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71" rtl="0" eaLnBrk="1" fontAlgn="auto" latinLnBrk="0" hangingPunct="1">
              <a:lnSpc>
                <a:spcPct val="100000"/>
              </a:lnSpc>
              <a:spcBef>
                <a:spcPts val="0"/>
              </a:spcBef>
              <a:spcAft>
                <a:spcPts val="0"/>
              </a:spcAft>
              <a:buClrTx/>
              <a:buSzTx/>
              <a:buFontTx/>
              <a:buNone/>
              <a:tabLst/>
              <a:defRPr/>
            </a:pPr>
            <a:r>
              <a:rPr lang="nb-NO" sz="596" err="1"/>
              <a:t>grey,red,blue,green,brown,white</a:t>
            </a:r>
            <a:r>
              <a:rPr lang="nb-NO" sz="596"/>
              <a:t>,</a:t>
            </a:r>
          </a:p>
        </p:txBody>
      </p:sp>
      <p:sp>
        <p:nvSpPr>
          <p:cNvPr id="9" name="addin_background" hidden="1">
            <a:extLst>
              <a:ext uri="{FF2B5EF4-FFF2-40B4-BE49-F238E27FC236}">
                <a16:creationId xmlns:a16="http://schemas.microsoft.com/office/drawing/2014/main" id="{F11130D4-DA69-47B4-9BFF-559C0414C702}"/>
              </a:ext>
            </a:extLst>
          </p:cNvPr>
          <p:cNvSpPr/>
          <p:nvPr userDrawn="1"/>
        </p:nvSpPr>
        <p:spPr>
          <a:xfrm>
            <a:off x="0" y="-425764"/>
            <a:ext cx="884066" cy="358308"/>
          </a:xfrm>
          <a:prstGeom prst="rect">
            <a:avLst/>
          </a:prstGeom>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596" err="1"/>
              <a:t>addin_background</a:t>
            </a:r>
            <a:endParaRPr lang="nb-NO" sz="596"/>
          </a:p>
        </p:txBody>
      </p:sp>
    </p:spTree>
    <p:extLst>
      <p:ext uri="{BB962C8B-B14F-4D97-AF65-F5344CB8AC3E}">
        <p14:creationId xmlns:p14="http://schemas.microsoft.com/office/powerpoint/2010/main" val="32325477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image" Target="../media/image13.png"/><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10.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image" Target="../media/image14.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10" Type="http://schemas.openxmlformats.org/officeDocument/2006/relationships/image" Target="../media/image1.jpeg"/><Relationship Id="rId4" Type="http://schemas.openxmlformats.org/officeDocument/2006/relationships/slideLayout" Target="../slideLayouts/slideLayout2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8.xml"/><Relationship Id="rId7"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10.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oleObject" Target="../embeddings/oleObject1.bin"/><Relationship Id="rId2" Type="http://schemas.openxmlformats.org/officeDocument/2006/relationships/slideLayout" Target="../slideLayouts/slideLayout33.xml"/><Relationship Id="rId16" Type="http://schemas.openxmlformats.org/officeDocument/2006/relationships/tags" Target="../tags/tag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heme" Target="../theme/theme4.xml"/><Relationship Id="rId10" Type="http://schemas.openxmlformats.org/officeDocument/2006/relationships/slideLayout" Target="../slideLayouts/slideLayout41.xml"/><Relationship Id="rId19" Type="http://schemas.openxmlformats.org/officeDocument/2006/relationships/image" Target="../media/image11.jpeg"/><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1.jpeg"/><Relationship Id="rId4" Type="http://schemas.openxmlformats.org/officeDocument/2006/relationships/slideLayout" Target="../slideLayouts/slideLayout49.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image" Target="../media/image11.jpeg"/><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5" Type="http://schemas.openxmlformats.org/officeDocument/2006/relationships/slideLayout" Target="../slideLayouts/slideLayout78.xml"/><Relationship Id="rId10" Type="http://schemas.openxmlformats.org/officeDocument/2006/relationships/image" Target="../media/image11.jpeg"/><Relationship Id="rId4" Type="http://schemas.openxmlformats.org/officeDocument/2006/relationships/slideLayout" Target="../slideLayouts/slideLayout77.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9.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205AAB6B-C8DC-467C-B8C5-F1ADB02BF221}" type="datetime1">
              <a:rPr lang="nb-NO" smtClean="0"/>
              <a:t>19.10.2022</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grpSp>
        <p:nvGrpSpPr>
          <p:cNvPr id="156" name="prosses2" hidden="1"/>
          <p:cNvGrpSpPr>
            <a:grpSpLocks noChangeAspect="1"/>
          </p:cNvGrpSpPr>
          <p:nvPr userDrawn="1"/>
        </p:nvGrpSpPr>
        <p:grpSpPr bwMode="auto">
          <a:xfrm>
            <a:off x="3326607" y="1307522"/>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grpSp>
      <p:grpSp>
        <p:nvGrpSpPr>
          <p:cNvPr id="157" name="prosses3" hidden="1"/>
          <p:cNvGrpSpPr>
            <a:grpSpLocks noChangeAspect="1"/>
          </p:cNvGrpSpPr>
          <p:nvPr userDrawn="1"/>
        </p:nvGrpSpPr>
        <p:grpSpPr bwMode="auto">
          <a:xfrm>
            <a:off x="3176985" y="1194760"/>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58" name="prosses5" hidden="1"/>
          <p:cNvGrpSpPr>
            <a:grpSpLocks noChangeAspect="1"/>
          </p:cNvGrpSpPr>
          <p:nvPr userDrawn="1"/>
        </p:nvGrpSpPr>
        <p:grpSpPr bwMode="auto">
          <a:xfrm>
            <a:off x="2987674"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grpSp>
        <p:nvGrpSpPr>
          <p:cNvPr id="159" name="prosses6" hidden="1"/>
          <p:cNvGrpSpPr>
            <a:grpSpLocks noChangeAspect="1"/>
          </p:cNvGrpSpPr>
          <p:nvPr userDrawn="1"/>
        </p:nvGrpSpPr>
        <p:grpSpPr bwMode="auto">
          <a:xfrm>
            <a:off x="2974181" y="954934"/>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1</a:t>
              </a:r>
              <a:endParaRPr lang="en-US" altLang="en-US" sz="900">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2</a:t>
              </a:r>
              <a:endParaRPr lang="en-US" altLang="en-US" sz="900">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3</a:t>
              </a:r>
              <a:endParaRPr lang="en-US" altLang="en-US" sz="900">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4</a:t>
              </a:r>
              <a:endParaRPr lang="en-US" altLang="en-US" sz="900">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5</a:t>
              </a:r>
              <a:endParaRPr lang="en-US" altLang="en-US" sz="900">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grpSp>
      <p:grpSp>
        <p:nvGrpSpPr>
          <p:cNvPr id="161" name="hus" hidden="1"/>
          <p:cNvGrpSpPr>
            <a:grpSpLocks noChangeAspect="1"/>
          </p:cNvGrpSpPr>
          <p:nvPr userDrawn="1"/>
        </p:nvGrpSpPr>
        <p:grpSpPr bwMode="auto">
          <a:xfrm>
            <a:off x="3996531" y="1927728"/>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2" name="app" hidden="1"/>
          <p:cNvGrpSpPr>
            <a:grpSpLocks noChangeAspect="1"/>
          </p:cNvGrpSpPr>
          <p:nvPr userDrawn="1"/>
        </p:nvGrpSpPr>
        <p:grpSpPr bwMode="auto">
          <a:xfrm>
            <a:off x="4197350" y="1946787"/>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3" name="person" hidden="1"/>
          <p:cNvGrpSpPr>
            <a:grpSpLocks noChangeAspect="1"/>
          </p:cNvGrpSpPr>
          <p:nvPr userDrawn="1"/>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4" name="person_slips" hidden="1"/>
          <p:cNvGrpSpPr>
            <a:grpSpLocks noChangeAspect="1"/>
          </p:cNvGrpSpPr>
          <p:nvPr userDrawn="1"/>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5" name="gruppe" hidden="1"/>
          <p:cNvGrpSpPr>
            <a:grpSpLocks noChangeAspect="1"/>
          </p:cNvGrpSpPr>
          <p:nvPr userDrawn="1"/>
        </p:nvGrpSpPr>
        <p:grpSpPr bwMode="auto">
          <a:xfrm>
            <a:off x="3754437" y="1953139"/>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66" name="pilhoyre" hidden="1"/>
          <p:cNvSpPr>
            <a:spLocks/>
          </p:cNvSpPr>
          <p:nvPr userDrawn="1"/>
        </p:nvSpPr>
        <p:spPr bwMode="auto">
          <a:xfrm>
            <a:off x="4123135" y="2319228"/>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7" name="pilvenstre" hidden="1"/>
          <p:cNvSpPr>
            <a:spLocks/>
          </p:cNvSpPr>
          <p:nvPr userDrawn="1"/>
        </p:nvSpPr>
        <p:spPr bwMode="auto">
          <a:xfrm>
            <a:off x="4123135" y="2319228"/>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8" name="pilopp" hidden="1"/>
          <p:cNvSpPr>
            <a:spLocks/>
          </p:cNvSpPr>
          <p:nvPr userDrawn="1"/>
        </p:nvSpPr>
        <p:spPr bwMode="auto">
          <a:xfrm>
            <a:off x="4339035" y="2101243"/>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9" name="pilned" hidden="1"/>
          <p:cNvSpPr>
            <a:spLocks/>
          </p:cNvSpPr>
          <p:nvPr userDrawn="1"/>
        </p:nvSpPr>
        <p:spPr bwMode="auto">
          <a:xfrm>
            <a:off x="4339035" y="2102037"/>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nvGrpSpPr>
          <p:cNvPr id="170" name="prosses4" hidden="1"/>
          <p:cNvGrpSpPr/>
          <p:nvPr userDrawn="1"/>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1</a:t>
              </a:r>
              <a:endParaRPr lang="en-GB" sz="800" b="1" cap="all"/>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2</a:t>
              </a:r>
              <a:endParaRPr lang="en-GB" sz="800" b="1" cap="all"/>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3</a:t>
              </a:r>
              <a:endParaRPr lang="en-GB" sz="800" b="1" cap="all"/>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4</a:t>
              </a:r>
              <a:endParaRPr lang="en-GB" sz="800" b="1" cap="all"/>
            </a:p>
          </p:txBody>
        </p:sp>
      </p:grpSp>
      <p:grpSp>
        <p:nvGrpSpPr>
          <p:cNvPr id="171" name="prosses1" hidden="1"/>
          <p:cNvGrpSpPr/>
          <p:nvPr userDrawn="1"/>
        </p:nvGrpSpPr>
        <p:grpSpPr>
          <a:xfrm>
            <a:off x="3213894" y="1200714"/>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7200" eaLnBrk="0" fontAlgn="base" hangingPunct="0">
                  <a:spcBef>
                    <a:spcPct val="0"/>
                  </a:spcBef>
                  <a:spcAft>
                    <a:spcPct val="0"/>
                  </a:spcAft>
                </a:pPr>
                <a:r>
                  <a:rPr lang="en-US" altLang="en-US" sz="1400" b="1">
                    <a:solidFill>
                      <a:srgbClr val="010101"/>
                    </a:solidFill>
                    <a:latin typeface="Arial" panose="020B0604020202020204" pitchFamily="34" charset="0"/>
                  </a:rPr>
                  <a:t>Tittel</a:t>
                </a:r>
                <a:endParaRPr lang="en-US" altLang="en-US" sz="900">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900">
                    <a:solidFill>
                      <a:srgbClr val="010101"/>
                    </a:solidFill>
                    <a:latin typeface="Arial" panose="020B0604020202020204" pitchFamily="34" charset="0"/>
                  </a:rPr>
                  <a:t>Hva handler dette</a:t>
                </a:r>
                <a:br>
                  <a:rPr lang="en-US" altLang="en-US" sz="900">
                    <a:solidFill>
                      <a:srgbClr val="010101"/>
                    </a:solidFill>
                    <a:latin typeface="Arial" panose="020B0604020202020204" pitchFamily="34" charset="0"/>
                  </a:rPr>
                </a:br>
                <a:r>
                  <a:rPr lang="en-US" altLang="en-US" sz="9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1</a:t>
              </a:r>
              <a:endParaRPr lang="en-GB" sz="800" b="1" cap="all">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2</a:t>
              </a:r>
              <a:endParaRPr lang="en-GB" sz="800" b="1" cap="all">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3</a:t>
              </a:r>
              <a:endParaRPr lang="en-GB" sz="800" b="1" cap="all">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4</a:t>
              </a:r>
              <a:endParaRPr lang="en-GB" sz="800" b="1" cap="all">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5</a:t>
              </a:r>
              <a:endParaRPr lang="en-GB" sz="800" b="1" cap="all">
                <a:solidFill>
                  <a:schemeClr val="bg1"/>
                </a:solidFill>
              </a:endParaRPr>
            </a:p>
          </p:txBody>
        </p:sp>
      </p:grpSp>
      <p:pic>
        <p:nvPicPr>
          <p:cNvPr id="309" name="Bilde 308"/>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288036" y="288036"/>
            <a:ext cx="543600" cy="657234"/>
          </a:xfrm>
          <a:prstGeom prst="rect">
            <a:avLst/>
          </a:prstGeom>
        </p:spPr>
      </p:pic>
      <p:grpSp>
        <p:nvGrpSpPr>
          <p:cNvPr id="7" name="Verden" hidden="1"/>
          <p:cNvGrpSpPr>
            <a:grpSpLocks noChangeAspect="1"/>
          </p:cNvGrpSpPr>
          <p:nvPr userDrawn="1"/>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6" name="Vaskeboette" hidden="1"/>
          <p:cNvGrpSpPr>
            <a:grpSpLocks noChangeAspect="1"/>
          </p:cNvGrpSpPr>
          <p:nvPr userDrawn="1"/>
        </p:nvGrpSpPr>
        <p:grpSpPr bwMode="auto">
          <a:xfrm>
            <a:off x="4102895" y="1946275"/>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27" name="UtenlandskArbeidstaker" hidden="1"/>
          <p:cNvGrpSpPr>
            <a:grpSpLocks noChangeAspect="1"/>
          </p:cNvGrpSpPr>
          <p:nvPr userDrawn="1"/>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3" name="Transportmiddel_tog" hidden="1"/>
          <p:cNvGrpSpPr>
            <a:grpSpLocks noChangeAspect="1"/>
          </p:cNvGrpSpPr>
          <p:nvPr userDrawn="1"/>
        </p:nvGrpSpPr>
        <p:grpSpPr bwMode="auto">
          <a:xfrm>
            <a:off x="4068763" y="1806575"/>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9" name="SvartArbeid" hidden="1"/>
          <p:cNvGrpSpPr>
            <a:grpSpLocks noChangeAspect="1"/>
          </p:cNvGrpSpPr>
          <p:nvPr userDrawn="1"/>
        </p:nvGrpSpPr>
        <p:grpSpPr bwMode="auto">
          <a:xfrm>
            <a:off x="4143375" y="1974850"/>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45" name="Skjema" hidden="1"/>
          <p:cNvGrpSpPr>
            <a:grpSpLocks noChangeAspect="1"/>
          </p:cNvGrpSpPr>
          <p:nvPr userDrawn="1"/>
        </p:nvGrpSpPr>
        <p:grpSpPr bwMode="auto">
          <a:xfrm>
            <a:off x="3430588"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964" name="Regnskapsfoerer" hidden="1"/>
          <p:cNvGrpSpPr>
            <a:grpSpLocks noChangeAspect="1"/>
          </p:cNvGrpSpPr>
          <p:nvPr userDrawn="1"/>
        </p:nvGrpSpPr>
        <p:grpSpPr bwMode="auto">
          <a:xfrm>
            <a:off x="4132263" y="1943100"/>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0" name="Pensjonist" hidden="1"/>
          <p:cNvGrpSpPr>
            <a:grpSpLocks noChangeAspect="1"/>
          </p:cNvGrpSpPr>
          <p:nvPr userDrawn="1"/>
        </p:nvGrpSpPr>
        <p:grpSpPr bwMode="auto">
          <a:xfrm>
            <a:off x="4133057" y="1893887"/>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6" name="Pengeoverfoering" hidden="1"/>
          <p:cNvGrpSpPr>
            <a:grpSpLocks noChangeAspect="1"/>
          </p:cNvGrpSpPr>
          <p:nvPr userDrawn="1"/>
        </p:nvGrpSpPr>
        <p:grpSpPr bwMode="auto">
          <a:xfrm>
            <a:off x="3571082" y="1752600"/>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12" name="Nettbrett" hidden="1"/>
          <p:cNvGrpSpPr>
            <a:grpSpLocks noChangeAspect="1"/>
          </p:cNvGrpSpPr>
          <p:nvPr userDrawn="1"/>
        </p:nvGrpSpPr>
        <p:grpSpPr bwMode="auto">
          <a:xfrm>
            <a:off x="3467100" y="1872456"/>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18" name="Mobil" hidden="1"/>
          <p:cNvGrpSpPr>
            <a:grpSpLocks noChangeAspect="1"/>
          </p:cNvGrpSpPr>
          <p:nvPr userDrawn="1"/>
        </p:nvGrpSpPr>
        <p:grpSpPr bwMode="auto">
          <a:xfrm>
            <a:off x="3971925" y="1579562"/>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24" name="Institusjon" hidden="1"/>
          <p:cNvGrpSpPr>
            <a:grpSpLocks noChangeAspect="1"/>
          </p:cNvGrpSpPr>
          <p:nvPr userDrawn="1"/>
        </p:nvGrpSpPr>
        <p:grpSpPr bwMode="auto">
          <a:xfrm>
            <a:off x="3409950" y="1926431"/>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52" name="Handpenger" hidden="1"/>
          <p:cNvGrpSpPr>
            <a:grpSpLocks noChangeAspect="1"/>
          </p:cNvGrpSpPr>
          <p:nvPr userDrawn="1"/>
        </p:nvGrpSpPr>
        <p:grpSpPr bwMode="auto">
          <a:xfrm>
            <a:off x="3331369" y="1750218"/>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63" name="Familie" hidden="1"/>
          <p:cNvGrpSpPr>
            <a:grpSpLocks noChangeAspect="1"/>
          </p:cNvGrpSpPr>
          <p:nvPr userDrawn="1"/>
        </p:nvGrpSpPr>
        <p:grpSpPr bwMode="auto">
          <a:xfrm>
            <a:off x="3744119" y="1870075"/>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82" name="Ektepar" hidden="1"/>
          <p:cNvGrpSpPr>
            <a:grpSpLocks noChangeAspect="1"/>
          </p:cNvGrpSpPr>
          <p:nvPr userDrawn="1"/>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91" name="Byggekloss" hidden="1"/>
          <p:cNvGrpSpPr>
            <a:grpSpLocks noChangeAspect="1"/>
          </p:cNvGrpSpPr>
          <p:nvPr userDrawn="1"/>
        </p:nvGrpSpPr>
        <p:grpSpPr bwMode="auto">
          <a:xfrm>
            <a:off x="3734594" y="2005806"/>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06" name="Baby" hidden="1"/>
          <p:cNvGrpSpPr>
            <a:grpSpLocks noChangeAspect="1"/>
          </p:cNvGrpSpPr>
          <p:nvPr userDrawn="1"/>
        </p:nvGrpSpPr>
        <p:grpSpPr bwMode="auto">
          <a:xfrm>
            <a:off x="4132263" y="1843087"/>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115" name="Utropstegn" hidden="1"/>
          <p:cNvGrpSpPr>
            <a:grpSpLocks noChangeAspect="1"/>
          </p:cNvGrpSpPr>
          <p:nvPr userDrawn="1"/>
        </p:nvGrpSpPr>
        <p:grpSpPr bwMode="auto">
          <a:xfrm>
            <a:off x="4279901"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20" name="penger" hidden="1"/>
          <p:cNvGrpSpPr>
            <a:grpSpLocks noChangeAspect="1"/>
          </p:cNvGrpSpPr>
          <p:nvPr userDrawn="1"/>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4197812034"/>
      </p:ext>
    </p:extLst>
  </p:cSld>
  <p:clrMap bg1="lt1" tx1="dk1" bg2="lt2" tx2="dk2" accent1="accent1" accent2="accent2" accent3="accent3" accent4="accent4" accent5="accent5" accent6="accent6" hlink="hlink" folHlink="folHlink"/>
  <p:sldLayoutIdLst>
    <p:sldLayoutId id="2147483663" r:id="rId1"/>
    <p:sldLayoutId id="2147483939" r:id="rId2"/>
    <p:sldLayoutId id="2147483728" r:id="rId3"/>
    <p:sldLayoutId id="2147483887" r:id="rId4"/>
    <p:sldLayoutId id="2147483940" r:id="rId5"/>
    <p:sldLayoutId id="2147483941" r:id="rId6"/>
    <p:sldLayoutId id="2147483878" r:id="rId7"/>
    <p:sldLayoutId id="2147483834" r:id="rId8"/>
    <p:sldLayoutId id="2147483888" r:id="rId9"/>
    <p:sldLayoutId id="2147483942" r:id="rId10"/>
    <p:sldLayoutId id="2147483889" r:id="rId11"/>
    <p:sldLayoutId id="2147483930" r:id="rId12"/>
    <p:sldLayoutId id="2147483987" r:id="rId13"/>
    <p:sldLayoutId id="2147483988" r:id="rId14"/>
    <p:sldLayoutId id="2147483991" r:id="rId15"/>
    <p:sldLayoutId id="2147484016" r:id="rId16"/>
    <p:sldLayoutId id="2147484017" r:id="rId17"/>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9686" y="724583"/>
            <a:ext cx="8014947" cy="486478"/>
          </a:xfrm>
          <a:prstGeom prst="rect">
            <a:avLst/>
          </a:prstGeom>
        </p:spPr>
        <p:txBody>
          <a:bodyPr vert="horz" lIns="0" tIns="0" rIns="0" bIns="0" rtlCol="0" anchor="t">
            <a:noAutofit/>
          </a:bodyPr>
          <a:lstStyle/>
          <a:p>
            <a:endParaRPr lang="nb-NO"/>
          </a:p>
        </p:txBody>
      </p:sp>
      <p:sp>
        <p:nvSpPr>
          <p:cNvPr id="3" name="Text Placeholder 2"/>
          <p:cNvSpPr>
            <a:spLocks noGrp="1"/>
          </p:cNvSpPr>
          <p:nvPr>
            <p:ph type="body" idx="1"/>
          </p:nvPr>
        </p:nvSpPr>
        <p:spPr>
          <a:xfrm>
            <a:off x="556227" y="1451132"/>
            <a:ext cx="8014947" cy="3171447"/>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Date Placeholder 3"/>
          <p:cNvSpPr>
            <a:spLocks noGrp="1"/>
          </p:cNvSpPr>
          <p:nvPr>
            <p:ph type="dt" sz="half" idx="2"/>
          </p:nvPr>
        </p:nvSpPr>
        <p:spPr>
          <a:xfrm>
            <a:off x="7756187" y="243425"/>
            <a:ext cx="828445" cy="240408"/>
          </a:xfrm>
          <a:prstGeom prst="rect">
            <a:avLst/>
          </a:prstGeom>
        </p:spPr>
        <p:txBody>
          <a:bodyPr vert="horz" lIns="0" tIns="0" rIns="0" bIns="0" rtlCol="0" anchor="ctr"/>
          <a:lstStyle>
            <a:lvl1pPr algn="r">
              <a:defRPr sz="745" b="1">
                <a:solidFill>
                  <a:schemeClr val="tx1"/>
                </a:solidFill>
              </a:defRPr>
            </a:lvl1pPr>
          </a:lstStyle>
          <a:p>
            <a:fld id="{AC318F4D-DD84-4653-9572-67BDA3EC4510}" type="datetime1">
              <a:rPr lang="nb-NO" smtClean="0"/>
              <a:t>19.10.2022</a:t>
            </a:fld>
            <a:endParaRPr lang="nb-NO"/>
          </a:p>
        </p:txBody>
      </p:sp>
      <p:sp>
        <p:nvSpPr>
          <p:cNvPr id="5" name="Footer Placeholder 4"/>
          <p:cNvSpPr>
            <a:spLocks noGrp="1"/>
          </p:cNvSpPr>
          <p:nvPr>
            <p:ph type="ftr" sz="quarter" idx="3"/>
          </p:nvPr>
        </p:nvSpPr>
        <p:spPr>
          <a:xfrm>
            <a:off x="6092459" y="243425"/>
            <a:ext cx="1391702" cy="240408"/>
          </a:xfrm>
          <a:prstGeom prst="rect">
            <a:avLst/>
          </a:prstGeom>
        </p:spPr>
        <p:txBody>
          <a:bodyPr vert="horz" lIns="0" tIns="0" rIns="0" bIns="0" rtlCol="0" anchor="ctr"/>
          <a:lstStyle>
            <a:lvl1pPr algn="l">
              <a:defRPr sz="745" b="1">
                <a:solidFill>
                  <a:schemeClr val="tx1"/>
                </a:solidFill>
              </a:defRPr>
            </a:lvl1pPr>
          </a:lstStyle>
          <a:p>
            <a:endParaRPr lang="nb-NO"/>
          </a:p>
        </p:txBody>
      </p:sp>
      <p:sp>
        <p:nvSpPr>
          <p:cNvPr id="6" name="Slide Number Placeholder 5"/>
          <p:cNvSpPr>
            <a:spLocks noGrp="1"/>
          </p:cNvSpPr>
          <p:nvPr>
            <p:ph type="sldNum" sz="quarter" idx="4"/>
          </p:nvPr>
        </p:nvSpPr>
        <p:spPr>
          <a:xfrm>
            <a:off x="5542376" y="244105"/>
            <a:ext cx="278058" cy="240408"/>
          </a:xfrm>
          <a:prstGeom prst="rect">
            <a:avLst/>
          </a:prstGeom>
        </p:spPr>
        <p:txBody>
          <a:bodyPr vert="horz" lIns="0" tIns="0" rIns="0" bIns="0" rtlCol="0" anchor="ctr"/>
          <a:lstStyle>
            <a:lvl1pPr algn="r">
              <a:defRPr sz="745" b="1">
                <a:solidFill>
                  <a:schemeClr val="tx1"/>
                </a:solidFill>
              </a:defRPr>
            </a:lvl1pPr>
          </a:lstStyle>
          <a:p>
            <a:fld id="{03CFB122-701D-4C05-80E3-F767C0594D15}" type="slidenum">
              <a:rPr lang="nb-NO" smtClean="0"/>
              <a:pPr/>
              <a:t>‹#›</a:t>
            </a:fld>
            <a:endParaRPr lang="nb-NO"/>
          </a:p>
        </p:txBody>
      </p:sp>
      <p:pic>
        <p:nvPicPr>
          <p:cNvPr id="8" name="Graphic 7">
            <a:extLst>
              <a:ext uri="{FF2B5EF4-FFF2-40B4-BE49-F238E27FC236}">
                <a16:creationId xmlns:a16="http://schemas.microsoft.com/office/drawing/2014/main" id="{8F969792-0493-4B38-8104-5F47A2B22D9D}"/>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54443" y="243425"/>
            <a:ext cx="856879" cy="241089"/>
          </a:xfrm>
          <a:prstGeom prst="rect">
            <a:avLst/>
          </a:prstGeom>
        </p:spPr>
      </p:pic>
      <p:grpSp>
        <p:nvGrpSpPr>
          <p:cNvPr id="9" name="prosses2" hidden="1">
            <a:extLst>
              <a:ext uri="{FF2B5EF4-FFF2-40B4-BE49-F238E27FC236}">
                <a16:creationId xmlns:a16="http://schemas.microsoft.com/office/drawing/2014/main" id="{977413DB-55EF-4F10-8395-EB339AC73BE3}"/>
              </a:ext>
            </a:extLst>
          </p:cNvPr>
          <p:cNvGrpSpPr>
            <a:grpSpLocks noChangeAspect="1"/>
          </p:cNvGrpSpPr>
          <p:nvPr userDrawn="1"/>
        </p:nvGrpSpPr>
        <p:grpSpPr bwMode="auto">
          <a:xfrm>
            <a:off x="2494793" y="986991"/>
            <a:ext cx="1869606" cy="1857450"/>
            <a:chOff x="1310" y="590"/>
            <a:chExt cx="3140" cy="3140"/>
          </a:xfrm>
        </p:grpSpPr>
        <p:sp>
          <p:nvSpPr>
            <p:cNvPr id="10" name="Freeform 63">
              <a:extLst>
                <a:ext uri="{FF2B5EF4-FFF2-40B4-BE49-F238E27FC236}">
                  <a16:creationId xmlns:a16="http://schemas.microsoft.com/office/drawing/2014/main" id="{283BBD9D-37BB-4C05-83F5-06A2959BE8A7}"/>
                </a:ext>
              </a:extLst>
            </p:cNvPr>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1" name="Freeform 64">
              <a:extLst>
                <a:ext uri="{FF2B5EF4-FFF2-40B4-BE49-F238E27FC236}">
                  <a16:creationId xmlns:a16="http://schemas.microsoft.com/office/drawing/2014/main" id="{DBFAEF7D-6EB7-4A7F-80AA-1FCACD7E1AB0}"/>
                </a:ext>
              </a:extLst>
            </p:cNvPr>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 name="Freeform 65">
              <a:extLst>
                <a:ext uri="{FF2B5EF4-FFF2-40B4-BE49-F238E27FC236}">
                  <a16:creationId xmlns:a16="http://schemas.microsoft.com/office/drawing/2014/main" id="{394F6A0E-51AD-4AF6-B48F-58880069CAFA}"/>
                </a:ext>
              </a:extLst>
            </p:cNvPr>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 name="Freeform 66">
              <a:extLst>
                <a:ext uri="{FF2B5EF4-FFF2-40B4-BE49-F238E27FC236}">
                  <a16:creationId xmlns:a16="http://schemas.microsoft.com/office/drawing/2014/main" id="{82C35832-9B36-45DE-B73C-D6AA80D12BF9}"/>
                </a:ext>
              </a:extLst>
            </p:cNvPr>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4" name="Freeform 67">
              <a:extLst>
                <a:ext uri="{FF2B5EF4-FFF2-40B4-BE49-F238E27FC236}">
                  <a16:creationId xmlns:a16="http://schemas.microsoft.com/office/drawing/2014/main" id="{9E1F7750-B1AA-42B9-A03A-686A2B88C068}"/>
                </a:ext>
              </a:extLst>
            </p:cNvPr>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5" name="Rectangle 68">
              <a:extLst>
                <a:ext uri="{FF2B5EF4-FFF2-40B4-BE49-F238E27FC236}">
                  <a16:creationId xmlns:a16="http://schemas.microsoft.com/office/drawing/2014/main" id="{36F8983F-A311-4E05-B7E6-C177E22FA0F3}"/>
                </a:ext>
              </a:extLst>
            </p:cNvPr>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16" name="Rectangle 69">
              <a:extLst>
                <a:ext uri="{FF2B5EF4-FFF2-40B4-BE49-F238E27FC236}">
                  <a16:creationId xmlns:a16="http://schemas.microsoft.com/office/drawing/2014/main" id="{9177CC4B-C579-4C72-B9C1-A25C2692E875}"/>
                </a:ext>
              </a:extLst>
            </p:cNvPr>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17" name="Rectangle 70">
              <a:extLst>
                <a:ext uri="{FF2B5EF4-FFF2-40B4-BE49-F238E27FC236}">
                  <a16:creationId xmlns:a16="http://schemas.microsoft.com/office/drawing/2014/main" id="{D249DFE5-5E54-4CEB-BC53-C55D5F38FF36}"/>
                </a:ext>
              </a:extLst>
            </p:cNvPr>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4</a:t>
              </a:r>
              <a:endParaRPr lang="en-US" altLang="en-US" sz="670">
                <a:latin typeface="Arial" panose="020B0604020202020204" pitchFamily="34" charset="0"/>
              </a:endParaRPr>
            </a:p>
          </p:txBody>
        </p:sp>
        <p:sp>
          <p:nvSpPr>
            <p:cNvPr id="18" name="Rectangle 71">
              <a:extLst>
                <a:ext uri="{FF2B5EF4-FFF2-40B4-BE49-F238E27FC236}">
                  <a16:creationId xmlns:a16="http://schemas.microsoft.com/office/drawing/2014/main" id="{55FF8F17-39C9-4BB8-9592-C33BFB7288CC}"/>
                </a:ext>
              </a:extLst>
            </p:cNvPr>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grpSp>
      <p:grpSp>
        <p:nvGrpSpPr>
          <p:cNvPr id="19" name="prosses3" hidden="1">
            <a:extLst>
              <a:ext uri="{FF2B5EF4-FFF2-40B4-BE49-F238E27FC236}">
                <a16:creationId xmlns:a16="http://schemas.microsoft.com/office/drawing/2014/main" id="{026FAB33-FB4F-469A-815A-5BAFD8717D0A}"/>
              </a:ext>
            </a:extLst>
          </p:cNvPr>
          <p:cNvGrpSpPr>
            <a:grpSpLocks noChangeAspect="1"/>
          </p:cNvGrpSpPr>
          <p:nvPr userDrawn="1"/>
        </p:nvGrpSpPr>
        <p:grpSpPr bwMode="auto">
          <a:xfrm>
            <a:off x="2382557" y="902994"/>
            <a:ext cx="2094077" cy="2025443"/>
            <a:chOff x="1125" y="481"/>
            <a:chExt cx="3517" cy="3424"/>
          </a:xfrm>
        </p:grpSpPr>
        <p:sp>
          <p:nvSpPr>
            <p:cNvPr id="20" name="Rectangle 75">
              <a:extLst>
                <a:ext uri="{FF2B5EF4-FFF2-40B4-BE49-F238E27FC236}">
                  <a16:creationId xmlns:a16="http://schemas.microsoft.com/office/drawing/2014/main" id="{9AB987F7-5AE5-4783-B9C7-206446E029E0}"/>
                </a:ext>
              </a:extLst>
            </p:cNvPr>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21" name="Rectangle 76">
              <a:extLst>
                <a:ext uri="{FF2B5EF4-FFF2-40B4-BE49-F238E27FC236}">
                  <a16:creationId xmlns:a16="http://schemas.microsoft.com/office/drawing/2014/main" id="{27A6F69D-CDCC-4B05-B2E1-AC61BED28599}"/>
                </a:ext>
              </a:extLst>
            </p:cNvPr>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2" name="Rectangle 78">
              <a:extLst>
                <a:ext uri="{FF2B5EF4-FFF2-40B4-BE49-F238E27FC236}">
                  <a16:creationId xmlns:a16="http://schemas.microsoft.com/office/drawing/2014/main" id="{801692D3-0BC6-4ED5-A5BB-BD2DA0B56897}"/>
                </a:ext>
              </a:extLst>
            </p:cNvPr>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23" name="Rectangle 79">
              <a:extLst>
                <a:ext uri="{FF2B5EF4-FFF2-40B4-BE49-F238E27FC236}">
                  <a16:creationId xmlns:a16="http://schemas.microsoft.com/office/drawing/2014/main" id="{7A52FE5B-0A3C-4BDB-8DE3-7782F548B913}"/>
                </a:ext>
              </a:extLst>
            </p:cNvPr>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4" name="Rectangle 81">
              <a:extLst>
                <a:ext uri="{FF2B5EF4-FFF2-40B4-BE49-F238E27FC236}">
                  <a16:creationId xmlns:a16="http://schemas.microsoft.com/office/drawing/2014/main" id="{C0B853E6-1AC7-4182-A00F-D70DE57A4F94}"/>
                </a:ext>
              </a:extLst>
            </p:cNvPr>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sp>
          <p:nvSpPr>
            <p:cNvPr id="25" name="Rectangle 82">
              <a:extLst>
                <a:ext uri="{FF2B5EF4-FFF2-40B4-BE49-F238E27FC236}">
                  <a16:creationId xmlns:a16="http://schemas.microsoft.com/office/drawing/2014/main" id="{86EAE52C-4939-4CFE-99AA-D7FE37B9784D}"/>
                </a:ext>
              </a:extLst>
            </p:cNvPr>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defRPr/>
              </a:pPr>
              <a:r>
                <a:rPr lang="en-US" altLang="en-US" sz="521">
                  <a:solidFill>
                    <a:srgbClr val="010101"/>
                  </a:solidFill>
                  <a:latin typeface="Arial" panose="020B0604020202020204" pitchFamily="34" charset="0"/>
                </a:rPr>
                <a:t>prosseshjulet om.</a:t>
              </a:r>
              <a:endParaRPr lang="en-US" altLang="en-US" sz="521">
                <a:latin typeface="Arial" panose="020B0604020202020204" pitchFamily="34" charset="0"/>
              </a:endParaRPr>
            </a:p>
          </p:txBody>
        </p:sp>
        <p:sp>
          <p:nvSpPr>
            <p:cNvPr id="26" name="Freeform 84">
              <a:extLst>
                <a:ext uri="{FF2B5EF4-FFF2-40B4-BE49-F238E27FC236}">
                  <a16:creationId xmlns:a16="http://schemas.microsoft.com/office/drawing/2014/main" id="{4B357EF9-9408-4B6F-BC0D-BF0F8DB397D5}"/>
                </a:ext>
              </a:extLst>
            </p:cNvPr>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27" name="Freeform 85">
              <a:extLst>
                <a:ext uri="{FF2B5EF4-FFF2-40B4-BE49-F238E27FC236}">
                  <a16:creationId xmlns:a16="http://schemas.microsoft.com/office/drawing/2014/main" id="{2C8EFBEB-6E94-450D-9AA4-4C46A85ACD74}"/>
                </a:ext>
              </a:extLst>
            </p:cNvPr>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28" name="Freeform 86">
              <a:extLst>
                <a:ext uri="{FF2B5EF4-FFF2-40B4-BE49-F238E27FC236}">
                  <a16:creationId xmlns:a16="http://schemas.microsoft.com/office/drawing/2014/main" id="{6CCC8EB4-8A05-4813-AC77-ACE0F25362B9}"/>
                </a:ext>
              </a:extLst>
            </p:cNvPr>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29" name="prosses5" hidden="1">
            <a:extLst>
              <a:ext uri="{FF2B5EF4-FFF2-40B4-BE49-F238E27FC236}">
                <a16:creationId xmlns:a16="http://schemas.microsoft.com/office/drawing/2014/main" id="{23D071EF-0EA7-4C52-A4FC-E820BA60E165}"/>
              </a:ext>
            </a:extLst>
          </p:cNvPr>
          <p:cNvGrpSpPr>
            <a:grpSpLocks noChangeAspect="1"/>
          </p:cNvGrpSpPr>
          <p:nvPr userDrawn="1"/>
        </p:nvGrpSpPr>
        <p:grpSpPr bwMode="auto">
          <a:xfrm>
            <a:off x="2240549" y="947357"/>
            <a:ext cx="2378094" cy="1936715"/>
            <a:chOff x="885" y="514"/>
            <a:chExt cx="3994" cy="3274"/>
          </a:xfrm>
        </p:grpSpPr>
        <p:sp>
          <p:nvSpPr>
            <p:cNvPr id="30" name="Freeform 133">
              <a:extLst>
                <a:ext uri="{FF2B5EF4-FFF2-40B4-BE49-F238E27FC236}">
                  <a16:creationId xmlns:a16="http://schemas.microsoft.com/office/drawing/2014/main" id="{B2156F3F-5052-49C8-B0A9-63FDA346413B}"/>
                </a:ext>
              </a:extLst>
            </p:cNvPr>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1" name="Freeform 134">
              <a:extLst>
                <a:ext uri="{FF2B5EF4-FFF2-40B4-BE49-F238E27FC236}">
                  <a16:creationId xmlns:a16="http://schemas.microsoft.com/office/drawing/2014/main" id="{53C8CF8A-1819-4557-A777-50AB78974EDC}"/>
                </a:ext>
              </a:extLst>
            </p:cNvPr>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2" name="Freeform 135">
              <a:extLst>
                <a:ext uri="{FF2B5EF4-FFF2-40B4-BE49-F238E27FC236}">
                  <a16:creationId xmlns:a16="http://schemas.microsoft.com/office/drawing/2014/main" id="{5E8B1608-6CC1-4279-A367-7B143DFC6904}"/>
                </a:ext>
              </a:extLst>
            </p:cNvPr>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3" name="Freeform 136">
              <a:extLst>
                <a:ext uri="{FF2B5EF4-FFF2-40B4-BE49-F238E27FC236}">
                  <a16:creationId xmlns:a16="http://schemas.microsoft.com/office/drawing/2014/main" id="{7E7662BD-44C9-46C3-A7EB-FDDBD771ECDB}"/>
                </a:ext>
              </a:extLst>
            </p:cNvPr>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34" name="Rectangle 137">
              <a:extLst>
                <a:ext uri="{FF2B5EF4-FFF2-40B4-BE49-F238E27FC236}">
                  <a16:creationId xmlns:a16="http://schemas.microsoft.com/office/drawing/2014/main" id="{51838AAE-7D34-48C6-8A6C-7C9229B24CDD}"/>
                </a:ext>
              </a:extLst>
            </p:cNvPr>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1</a:t>
              </a:r>
              <a:endParaRPr lang="en-US" altLang="en-US" sz="670">
                <a:latin typeface="Arial" panose="020B0604020202020204" pitchFamily="34" charset="0"/>
              </a:endParaRPr>
            </a:p>
          </p:txBody>
        </p:sp>
        <p:sp>
          <p:nvSpPr>
            <p:cNvPr id="35" name="Rectangle 138">
              <a:extLst>
                <a:ext uri="{FF2B5EF4-FFF2-40B4-BE49-F238E27FC236}">
                  <a16:creationId xmlns:a16="http://schemas.microsoft.com/office/drawing/2014/main" id="{F5233F26-E9EC-4675-A035-F4B9EA1009E8}"/>
                </a:ext>
              </a:extLst>
            </p:cNvPr>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36" name="Rectangle 140">
              <a:extLst>
                <a:ext uri="{FF2B5EF4-FFF2-40B4-BE49-F238E27FC236}">
                  <a16:creationId xmlns:a16="http://schemas.microsoft.com/office/drawing/2014/main" id="{15028B0E-C059-47D0-953E-A78EC34708C6}"/>
                </a:ext>
              </a:extLst>
            </p:cNvPr>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4</a:t>
              </a:r>
              <a:endParaRPr lang="en-US" altLang="en-US" sz="670">
                <a:latin typeface="Arial" panose="020B0604020202020204" pitchFamily="34" charset="0"/>
              </a:endParaRPr>
            </a:p>
          </p:txBody>
        </p:sp>
        <p:sp>
          <p:nvSpPr>
            <p:cNvPr id="37" name="Rectangle 141">
              <a:extLst>
                <a:ext uri="{FF2B5EF4-FFF2-40B4-BE49-F238E27FC236}">
                  <a16:creationId xmlns:a16="http://schemas.microsoft.com/office/drawing/2014/main" id="{68BFA8D5-B53C-4EF1-88DD-45655A65E046}"/>
                </a:ext>
              </a:extLst>
            </p:cNvPr>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38" name="Rectangle 143">
              <a:extLst>
                <a:ext uri="{FF2B5EF4-FFF2-40B4-BE49-F238E27FC236}">
                  <a16:creationId xmlns:a16="http://schemas.microsoft.com/office/drawing/2014/main" id="{B76B3380-4981-4DA0-A3CE-FE7E40069E32}"/>
                </a:ext>
              </a:extLst>
            </p:cNvPr>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2</a:t>
              </a:r>
              <a:endParaRPr lang="en-US" altLang="en-US" sz="670">
                <a:latin typeface="Arial" panose="020B0604020202020204" pitchFamily="34" charset="0"/>
              </a:endParaRPr>
            </a:p>
          </p:txBody>
        </p:sp>
        <p:sp>
          <p:nvSpPr>
            <p:cNvPr id="39" name="Rectangle 144">
              <a:extLst>
                <a:ext uri="{FF2B5EF4-FFF2-40B4-BE49-F238E27FC236}">
                  <a16:creationId xmlns:a16="http://schemas.microsoft.com/office/drawing/2014/main" id="{4CE051B2-F6F6-4FC0-A1CF-460F0889169D}"/>
                </a:ext>
              </a:extLst>
            </p:cNvPr>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sp>
          <p:nvSpPr>
            <p:cNvPr id="40" name="Rectangle 146">
              <a:extLst>
                <a:ext uri="{FF2B5EF4-FFF2-40B4-BE49-F238E27FC236}">
                  <a16:creationId xmlns:a16="http://schemas.microsoft.com/office/drawing/2014/main" id="{FF9A5D1F-F748-4C73-9EF7-AA4C86BFAB13}"/>
                </a:ext>
              </a:extLst>
            </p:cNvPr>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010101"/>
                  </a:solidFill>
                  <a:latin typeface="Arial" panose="020B0604020202020204" pitchFamily="34" charset="0"/>
                </a:rPr>
                <a:t>ARGUMENT 3</a:t>
              </a:r>
              <a:endParaRPr lang="en-US" altLang="en-US" sz="670">
                <a:latin typeface="Arial" panose="020B0604020202020204" pitchFamily="34" charset="0"/>
              </a:endParaRPr>
            </a:p>
          </p:txBody>
        </p:sp>
        <p:sp>
          <p:nvSpPr>
            <p:cNvPr id="41" name="Rectangle 147">
              <a:extLst>
                <a:ext uri="{FF2B5EF4-FFF2-40B4-BE49-F238E27FC236}">
                  <a16:creationId xmlns:a16="http://schemas.microsoft.com/office/drawing/2014/main" id="{7F6C26AC-D9CF-48E4-9B06-AD707B14475C}"/>
                </a:ext>
              </a:extLst>
            </p:cNvPr>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010101"/>
                  </a:solidFill>
                  <a:latin typeface="Arial" panose="020B0604020202020204" pitchFamily="34" charset="0"/>
                </a:rPr>
                <a:t>Hva handler dette</a:t>
              </a:r>
            </a:p>
            <a:p>
              <a:pPr defTabSz="340568" eaLnBrk="0" fontAlgn="base" hangingPunct="0">
                <a:spcBef>
                  <a:spcPct val="0"/>
                </a:spcBef>
                <a:spcAft>
                  <a:spcPct val="0"/>
                </a:spcAft>
              </a:pPr>
              <a:r>
                <a:rPr lang="en-US" altLang="en-US" sz="521">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grpSp>
      <p:grpSp>
        <p:nvGrpSpPr>
          <p:cNvPr id="42" name="prosses6" hidden="1">
            <a:extLst>
              <a:ext uri="{FF2B5EF4-FFF2-40B4-BE49-F238E27FC236}">
                <a16:creationId xmlns:a16="http://schemas.microsoft.com/office/drawing/2014/main" id="{D86429F4-5F2D-41CB-9B67-7A8293A7C642}"/>
              </a:ext>
            </a:extLst>
          </p:cNvPr>
          <p:cNvGrpSpPr>
            <a:grpSpLocks noChangeAspect="1"/>
          </p:cNvGrpSpPr>
          <p:nvPr userDrawn="1"/>
        </p:nvGrpSpPr>
        <p:grpSpPr bwMode="auto">
          <a:xfrm>
            <a:off x="2230428" y="724346"/>
            <a:ext cx="2398336" cy="2382740"/>
            <a:chOff x="865" y="145"/>
            <a:chExt cx="4028" cy="4028"/>
          </a:xfrm>
        </p:grpSpPr>
        <p:sp>
          <p:nvSpPr>
            <p:cNvPr id="43" name="Freeform 152">
              <a:extLst>
                <a:ext uri="{FF2B5EF4-FFF2-40B4-BE49-F238E27FC236}">
                  <a16:creationId xmlns:a16="http://schemas.microsoft.com/office/drawing/2014/main" id="{58AA5F5D-20BB-4F36-A639-4F4FDC1E887E}"/>
                </a:ext>
              </a:extLst>
            </p:cNvPr>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4" name="Freeform 153">
              <a:extLst>
                <a:ext uri="{FF2B5EF4-FFF2-40B4-BE49-F238E27FC236}">
                  <a16:creationId xmlns:a16="http://schemas.microsoft.com/office/drawing/2014/main" id="{02235D20-7260-4CAD-A598-5B28043DA2C1}"/>
                </a:ext>
              </a:extLst>
            </p:cNvPr>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5" name="Freeform 154">
              <a:extLst>
                <a:ext uri="{FF2B5EF4-FFF2-40B4-BE49-F238E27FC236}">
                  <a16:creationId xmlns:a16="http://schemas.microsoft.com/office/drawing/2014/main" id="{AE1D2933-27C6-408D-95E4-C396F5824EA6}"/>
                </a:ext>
              </a:extLst>
            </p:cNvPr>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6" name="Freeform 155">
              <a:extLst>
                <a:ext uri="{FF2B5EF4-FFF2-40B4-BE49-F238E27FC236}">
                  <a16:creationId xmlns:a16="http://schemas.microsoft.com/office/drawing/2014/main" id="{A3621E75-C718-4B43-B70D-BE701033FD77}"/>
                </a:ext>
              </a:extLst>
            </p:cNvPr>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7" name="Freeform 156">
              <a:extLst>
                <a:ext uri="{FF2B5EF4-FFF2-40B4-BE49-F238E27FC236}">
                  <a16:creationId xmlns:a16="http://schemas.microsoft.com/office/drawing/2014/main" id="{AB0E6350-6531-4061-958A-0D32B32DF497}"/>
                </a:ext>
              </a:extLst>
            </p:cNvPr>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48" name="Rectangle 157">
              <a:extLst>
                <a:ext uri="{FF2B5EF4-FFF2-40B4-BE49-F238E27FC236}">
                  <a16:creationId xmlns:a16="http://schemas.microsoft.com/office/drawing/2014/main" id="{3DD18812-5BB5-40E0-831D-87A6AD925EE4}"/>
                </a:ext>
              </a:extLst>
            </p:cNvPr>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1</a:t>
              </a:r>
              <a:endParaRPr lang="en-US" altLang="en-US" sz="670">
                <a:latin typeface="Arial" panose="020B0604020202020204" pitchFamily="34" charset="0"/>
              </a:endParaRPr>
            </a:p>
          </p:txBody>
        </p:sp>
        <p:sp>
          <p:nvSpPr>
            <p:cNvPr id="49" name="Rectangle 158">
              <a:extLst>
                <a:ext uri="{FF2B5EF4-FFF2-40B4-BE49-F238E27FC236}">
                  <a16:creationId xmlns:a16="http://schemas.microsoft.com/office/drawing/2014/main" id="{0FCE0184-AF6B-49A4-9C31-B66DF432050E}"/>
                </a:ext>
              </a:extLst>
            </p:cNvPr>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0" name="Rectangle 159">
              <a:extLst>
                <a:ext uri="{FF2B5EF4-FFF2-40B4-BE49-F238E27FC236}">
                  <a16:creationId xmlns:a16="http://schemas.microsoft.com/office/drawing/2014/main" id="{049CB32B-14EA-46AB-A249-FF6F8B234D11}"/>
                </a:ext>
              </a:extLst>
            </p:cNvPr>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2</a:t>
              </a:r>
              <a:endParaRPr lang="en-US" altLang="en-US" sz="670">
                <a:latin typeface="Arial" panose="020B0604020202020204" pitchFamily="34" charset="0"/>
              </a:endParaRPr>
            </a:p>
          </p:txBody>
        </p:sp>
        <p:sp>
          <p:nvSpPr>
            <p:cNvPr id="51" name="Rectangle 160">
              <a:extLst>
                <a:ext uri="{FF2B5EF4-FFF2-40B4-BE49-F238E27FC236}">
                  <a16:creationId xmlns:a16="http://schemas.microsoft.com/office/drawing/2014/main" id="{D7C93517-7C66-4C6F-8D78-B9AEA87992BE}"/>
                </a:ext>
              </a:extLst>
            </p:cNvPr>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2" name="Rectangle 161">
              <a:extLst>
                <a:ext uri="{FF2B5EF4-FFF2-40B4-BE49-F238E27FC236}">
                  <a16:creationId xmlns:a16="http://schemas.microsoft.com/office/drawing/2014/main" id="{E905A31A-A0DA-4BAD-87D0-B314FC91EFE8}"/>
                </a:ext>
              </a:extLst>
            </p:cNvPr>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3</a:t>
              </a:r>
              <a:endParaRPr lang="en-US" altLang="en-US" sz="670">
                <a:latin typeface="Arial" panose="020B0604020202020204" pitchFamily="34" charset="0"/>
              </a:endParaRPr>
            </a:p>
          </p:txBody>
        </p:sp>
        <p:sp>
          <p:nvSpPr>
            <p:cNvPr id="53" name="Rectangle 162">
              <a:extLst>
                <a:ext uri="{FF2B5EF4-FFF2-40B4-BE49-F238E27FC236}">
                  <a16:creationId xmlns:a16="http://schemas.microsoft.com/office/drawing/2014/main" id="{91DA8448-23D1-4D8E-B315-B17A283B86F7}"/>
                </a:ext>
              </a:extLst>
            </p:cNvPr>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4" name="Rectangle 163">
              <a:extLst>
                <a:ext uri="{FF2B5EF4-FFF2-40B4-BE49-F238E27FC236}">
                  <a16:creationId xmlns:a16="http://schemas.microsoft.com/office/drawing/2014/main" id="{70C0C361-210C-4B2B-92DC-D938DB269A72}"/>
                </a:ext>
              </a:extLst>
            </p:cNvPr>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4</a:t>
              </a:r>
              <a:endParaRPr lang="en-US" altLang="en-US" sz="670">
                <a:latin typeface="Arial" panose="020B0604020202020204" pitchFamily="34" charset="0"/>
              </a:endParaRPr>
            </a:p>
          </p:txBody>
        </p:sp>
        <p:sp>
          <p:nvSpPr>
            <p:cNvPr id="55" name="Rectangle 164">
              <a:extLst>
                <a:ext uri="{FF2B5EF4-FFF2-40B4-BE49-F238E27FC236}">
                  <a16:creationId xmlns:a16="http://schemas.microsoft.com/office/drawing/2014/main" id="{2B961C0D-7159-4288-884E-884E0EB081BC}"/>
                </a:ext>
              </a:extLst>
            </p:cNvPr>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sp>
          <p:nvSpPr>
            <p:cNvPr id="56" name="Rectangle 165">
              <a:extLst>
                <a:ext uri="{FF2B5EF4-FFF2-40B4-BE49-F238E27FC236}">
                  <a16:creationId xmlns:a16="http://schemas.microsoft.com/office/drawing/2014/main" id="{CEFD89DD-0A03-4967-84A5-853079BF5E8E}"/>
                </a:ext>
              </a:extLst>
            </p:cNvPr>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96" b="1">
                  <a:solidFill>
                    <a:srgbClr val="FFFFFF"/>
                  </a:solidFill>
                  <a:latin typeface="Arial" panose="020B0604020202020204" pitchFamily="34" charset="0"/>
                </a:rPr>
                <a:t>ARGUMENT 5</a:t>
              </a:r>
              <a:endParaRPr lang="en-US" altLang="en-US" sz="670">
                <a:latin typeface="Arial" panose="020B0604020202020204" pitchFamily="34" charset="0"/>
              </a:endParaRPr>
            </a:p>
          </p:txBody>
        </p:sp>
        <p:sp>
          <p:nvSpPr>
            <p:cNvPr id="57" name="Rectangle 166">
              <a:extLst>
                <a:ext uri="{FF2B5EF4-FFF2-40B4-BE49-F238E27FC236}">
                  <a16:creationId xmlns:a16="http://schemas.microsoft.com/office/drawing/2014/main" id="{971D97B0-37FA-47FC-93E5-80D281291D77}"/>
                </a:ext>
              </a:extLst>
            </p:cNvPr>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521">
                  <a:solidFill>
                    <a:srgbClr val="FFFFFF"/>
                  </a:solidFill>
                  <a:latin typeface="Arial" panose="020B0604020202020204" pitchFamily="34" charset="0"/>
                </a:rPr>
                <a:t>1 123 456</a:t>
              </a:r>
              <a:endParaRPr lang="en-US" altLang="en-US" sz="670">
                <a:latin typeface="Arial" panose="020B0604020202020204" pitchFamily="34" charset="0"/>
              </a:endParaRPr>
            </a:p>
          </p:txBody>
        </p:sp>
      </p:grpSp>
      <p:grpSp>
        <p:nvGrpSpPr>
          <p:cNvPr id="58" name="hus" hidden="1">
            <a:extLst>
              <a:ext uri="{FF2B5EF4-FFF2-40B4-BE49-F238E27FC236}">
                <a16:creationId xmlns:a16="http://schemas.microsoft.com/office/drawing/2014/main" id="{5F95BC7D-3F40-47BC-A19F-875229AC192F}"/>
              </a:ext>
            </a:extLst>
          </p:cNvPr>
          <p:cNvGrpSpPr>
            <a:grpSpLocks noChangeAspect="1"/>
          </p:cNvGrpSpPr>
          <p:nvPr userDrawn="1"/>
        </p:nvGrpSpPr>
        <p:grpSpPr bwMode="auto">
          <a:xfrm>
            <a:off x="2997323" y="1448987"/>
            <a:ext cx="864545" cy="933457"/>
            <a:chOff x="2154" y="1370"/>
            <a:chExt cx="1452" cy="1578"/>
          </a:xfrm>
        </p:grpSpPr>
        <p:sp>
          <p:nvSpPr>
            <p:cNvPr id="59" name="Freeform 189">
              <a:extLst>
                <a:ext uri="{FF2B5EF4-FFF2-40B4-BE49-F238E27FC236}">
                  <a16:creationId xmlns:a16="http://schemas.microsoft.com/office/drawing/2014/main" id="{C9BEA07F-6F88-44A1-AED4-8BE22E1C25ED}"/>
                </a:ext>
              </a:extLst>
            </p:cNvPr>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0" name="Freeform 190">
              <a:extLst>
                <a:ext uri="{FF2B5EF4-FFF2-40B4-BE49-F238E27FC236}">
                  <a16:creationId xmlns:a16="http://schemas.microsoft.com/office/drawing/2014/main" id="{D197A680-4CF3-46C4-B961-80FBF697199A}"/>
                </a:ext>
              </a:extLst>
            </p:cNvPr>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1" name="Freeform 191">
              <a:extLst>
                <a:ext uri="{FF2B5EF4-FFF2-40B4-BE49-F238E27FC236}">
                  <a16:creationId xmlns:a16="http://schemas.microsoft.com/office/drawing/2014/main" id="{09396186-0627-4FAD-97AF-0083BA9E57E1}"/>
                </a:ext>
              </a:extLst>
            </p:cNvPr>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2" name="Freeform 192">
              <a:extLst>
                <a:ext uri="{FF2B5EF4-FFF2-40B4-BE49-F238E27FC236}">
                  <a16:creationId xmlns:a16="http://schemas.microsoft.com/office/drawing/2014/main" id="{4CF27F9A-4B64-45FB-B1FF-4343D0AF64A3}"/>
                </a:ext>
              </a:extLst>
            </p:cNvPr>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3" name="Freeform 193">
              <a:extLst>
                <a:ext uri="{FF2B5EF4-FFF2-40B4-BE49-F238E27FC236}">
                  <a16:creationId xmlns:a16="http://schemas.microsoft.com/office/drawing/2014/main" id="{AD7B9730-A04D-418E-A3CF-911417C21AEA}"/>
                </a:ext>
              </a:extLst>
            </p:cNvPr>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4" name="Freeform 194">
              <a:extLst>
                <a:ext uri="{FF2B5EF4-FFF2-40B4-BE49-F238E27FC236}">
                  <a16:creationId xmlns:a16="http://schemas.microsoft.com/office/drawing/2014/main" id="{90FDE2F5-ECB2-4EE7-9075-5F643738C82A}"/>
                </a:ext>
              </a:extLst>
            </p:cNvPr>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5" name="Freeform 195">
              <a:extLst>
                <a:ext uri="{FF2B5EF4-FFF2-40B4-BE49-F238E27FC236}">
                  <a16:creationId xmlns:a16="http://schemas.microsoft.com/office/drawing/2014/main" id="{BCB8F089-D8A8-48FB-9BE5-2EA3CC344961}"/>
                </a:ext>
              </a:extLst>
            </p:cNvPr>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6" name="Freeform 196">
              <a:extLst>
                <a:ext uri="{FF2B5EF4-FFF2-40B4-BE49-F238E27FC236}">
                  <a16:creationId xmlns:a16="http://schemas.microsoft.com/office/drawing/2014/main" id="{100A2F0A-6696-4B42-B3B3-1DBE492E058D}"/>
                </a:ext>
              </a:extLst>
            </p:cNvPr>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7" name="Freeform 197">
              <a:extLst>
                <a:ext uri="{FF2B5EF4-FFF2-40B4-BE49-F238E27FC236}">
                  <a16:creationId xmlns:a16="http://schemas.microsoft.com/office/drawing/2014/main" id="{65F7B57C-078C-4538-B2EB-5CBC8465D206}"/>
                </a:ext>
              </a:extLst>
            </p:cNvPr>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8" name="Freeform 198">
              <a:extLst>
                <a:ext uri="{FF2B5EF4-FFF2-40B4-BE49-F238E27FC236}">
                  <a16:creationId xmlns:a16="http://schemas.microsoft.com/office/drawing/2014/main" id="{2A6FAAC4-7C8C-484E-AFA5-BC5CFFA8454B}"/>
                </a:ext>
              </a:extLst>
            </p:cNvPr>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69" name="Freeform 199">
              <a:extLst>
                <a:ext uri="{FF2B5EF4-FFF2-40B4-BE49-F238E27FC236}">
                  <a16:creationId xmlns:a16="http://schemas.microsoft.com/office/drawing/2014/main" id="{69C56258-BF96-4CE9-8AB8-CA55FA4E764E}"/>
                </a:ext>
              </a:extLst>
            </p:cNvPr>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0" name="Freeform 200">
              <a:extLst>
                <a:ext uri="{FF2B5EF4-FFF2-40B4-BE49-F238E27FC236}">
                  <a16:creationId xmlns:a16="http://schemas.microsoft.com/office/drawing/2014/main" id="{5A57B864-4500-42ED-915D-8F549AA61980}"/>
                </a:ext>
              </a:extLst>
            </p:cNvPr>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1" name="Freeform 201">
              <a:extLst>
                <a:ext uri="{FF2B5EF4-FFF2-40B4-BE49-F238E27FC236}">
                  <a16:creationId xmlns:a16="http://schemas.microsoft.com/office/drawing/2014/main" id="{B0B80797-FDF5-47B2-A891-66C1F3796B13}"/>
                </a:ext>
              </a:extLst>
            </p:cNvPr>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2" name="Freeform 202">
              <a:extLst>
                <a:ext uri="{FF2B5EF4-FFF2-40B4-BE49-F238E27FC236}">
                  <a16:creationId xmlns:a16="http://schemas.microsoft.com/office/drawing/2014/main" id="{6FE0E65B-400F-4E35-9949-B023E49CA427}"/>
                </a:ext>
              </a:extLst>
            </p:cNvPr>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3" name="Freeform 203">
              <a:extLst>
                <a:ext uri="{FF2B5EF4-FFF2-40B4-BE49-F238E27FC236}">
                  <a16:creationId xmlns:a16="http://schemas.microsoft.com/office/drawing/2014/main" id="{89D9F2A4-0F02-4B92-BBBD-17BDA0BB5C82}"/>
                </a:ext>
              </a:extLst>
            </p:cNvPr>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4" name="Freeform 204">
              <a:extLst>
                <a:ext uri="{FF2B5EF4-FFF2-40B4-BE49-F238E27FC236}">
                  <a16:creationId xmlns:a16="http://schemas.microsoft.com/office/drawing/2014/main" id="{33F087FB-4225-4DF2-B39D-4E5983D3538A}"/>
                </a:ext>
              </a:extLst>
            </p:cNvPr>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5" name="Freeform 205">
              <a:extLst>
                <a:ext uri="{FF2B5EF4-FFF2-40B4-BE49-F238E27FC236}">
                  <a16:creationId xmlns:a16="http://schemas.microsoft.com/office/drawing/2014/main" id="{41DD3707-C757-442A-9393-6F97ED8325B2}"/>
                </a:ext>
              </a:extLst>
            </p:cNvPr>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6" name="Freeform 206">
              <a:extLst>
                <a:ext uri="{FF2B5EF4-FFF2-40B4-BE49-F238E27FC236}">
                  <a16:creationId xmlns:a16="http://schemas.microsoft.com/office/drawing/2014/main" id="{F810381C-C236-487A-9EBB-1B0CD541324A}"/>
                </a:ext>
              </a:extLst>
            </p:cNvPr>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7" name="Freeform 207">
              <a:extLst>
                <a:ext uri="{FF2B5EF4-FFF2-40B4-BE49-F238E27FC236}">
                  <a16:creationId xmlns:a16="http://schemas.microsoft.com/office/drawing/2014/main" id="{A93A5B7E-897D-4C8D-AB04-73514D7FC824}"/>
                </a:ext>
              </a:extLst>
            </p:cNvPr>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8" name="Freeform 208">
              <a:extLst>
                <a:ext uri="{FF2B5EF4-FFF2-40B4-BE49-F238E27FC236}">
                  <a16:creationId xmlns:a16="http://schemas.microsoft.com/office/drawing/2014/main" id="{7549B0B7-6620-4261-9702-442D3065B59D}"/>
                </a:ext>
              </a:extLst>
            </p:cNvPr>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79" name="Freeform 209">
              <a:extLst>
                <a:ext uri="{FF2B5EF4-FFF2-40B4-BE49-F238E27FC236}">
                  <a16:creationId xmlns:a16="http://schemas.microsoft.com/office/drawing/2014/main" id="{DB436C2C-7724-4042-8E93-F227A0EF9343}"/>
                </a:ext>
              </a:extLst>
            </p:cNvPr>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0" name="Freeform 210">
              <a:extLst>
                <a:ext uri="{FF2B5EF4-FFF2-40B4-BE49-F238E27FC236}">
                  <a16:creationId xmlns:a16="http://schemas.microsoft.com/office/drawing/2014/main" id="{C5833F97-9BAA-4AE8-A57C-7B35ECCC6F6B}"/>
                </a:ext>
              </a:extLst>
            </p:cNvPr>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1" name="Freeform 211">
              <a:extLst>
                <a:ext uri="{FF2B5EF4-FFF2-40B4-BE49-F238E27FC236}">
                  <a16:creationId xmlns:a16="http://schemas.microsoft.com/office/drawing/2014/main" id="{DA4BAA96-38BF-456E-9B5D-E4FF1E3D82EE}"/>
                </a:ext>
              </a:extLst>
            </p:cNvPr>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82" name="app" hidden="1">
            <a:extLst>
              <a:ext uri="{FF2B5EF4-FFF2-40B4-BE49-F238E27FC236}">
                <a16:creationId xmlns:a16="http://schemas.microsoft.com/office/drawing/2014/main" id="{BFFC5B72-7E28-415E-8E1E-1CC9F2E5D916}"/>
              </a:ext>
            </a:extLst>
          </p:cNvPr>
          <p:cNvGrpSpPr>
            <a:grpSpLocks noChangeAspect="1"/>
          </p:cNvGrpSpPr>
          <p:nvPr userDrawn="1"/>
        </p:nvGrpSpPr>
        <p:grpSpPr bwMode="auto">
          <a:xfrm>
            <a:off x="3147964" y="1463184"/>
            <a:ext cx="563264" cy="905063"/>
            <a:chOff x="2407" y="1397"/>
            <a:chExt cx="946" cy="1530"/>
          </a:xfrm>
        </p:grpSpPr>
        <p:sp>
          <p:nvSpPr>
            <p:cNvPr id="83" name="Freeform 215">
              <a:extLst>
                <a:ext uri="{FF2B5EF4-FFF2-40B4-BE49-F238E27FC236}">
                  <a16:creationId xmlns:a16="http://schemas.microsoft.com/office/drawing/2014/main" id="{A709A158-27DE-4676-A8F3-81A0BC4CC033}"/>
                </a:ext>
              </a:extLst>
            </p:cNvPr>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4" name="Rectangle 216">
              <a:extLst>
                <a:ext uri="{FF2B5EF4-FFF2-40B4-BE49-F238E27FC236}">
                  <a16:creationId xmlns:a16="http://schemas.microsoft.com/office/drawing/2014/main" id="{8E95F3CB-87B6-4E38-AC65-C769FB092F09}"/>
                </a:ext>
              </a:extLst>
            </p:cNvPr>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5" name="Oval 217">
              <a:extLst>
                <a:ext uri="{FF2B5EF4-FFF2-40B4-BE49-F238E27FC236}">
                  <a16:creationId xmlns:a16="http://schemas.microsoft.com/office/drawing/2014/main" id="{22BB6FEC-8D2F-44A0-B1F7-8BD5918388DD}"/>
                </a:ext>
              </a:extLst>
            </p:cNvPr>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6" name="Freeform 218">
              <a:extLst>
                <a:ext uri="{FF2B5EF4-FFF2-40B4-BE49-F238E27FC236}">
                  <a16:creationId xmlns:a16="http://schemas.microsoft.com/office/drawing/2014/main" id="{2BEA517F-B006-46AA-A98F-A9F5DD50F453}"/>
                </a:ext>
              </a:extLst>
            </p:cNvPr>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87" name="person" hidden="1">
            <a:extLst>
              <a:ext uri="{FF2B5EF4-FFF2-40B4-BE49-F238E27FC236}">
                <a16:creationId xmlns:a16="http://schemas.microsoft.com/office/drawing/2014/main" id="{9F2E9815-684C-45F4-B59E-3B6438AFE87E}"/>
              </a:ext>
            </a:extLst>
          </p:cNvPr>
          <p:cNvGrpSpPr>
            <a:grpSpLocks noChangeAspect="1"/>
          </p:cNvGrpSpPr>
          <p:nvPr userDrawn="1"/>
        </p:nvGrpSpPr>
        <p:grpSpPr bwMode="auto">
          <a:xfrm>
            <a:off x="3140819" y="1538309"/>
            <a:ext cx="577554" cy="754812"/>
            <a:chOff x="2395" y="1524"/>
            <a:chExt cx="970" cy="1276"/>
          </a:xfrm>
        </p:grpSpPr>
        <p:sp>
          <p:nvSpPr>
            <p:cNvPr id="88" name="Freeform 222">
              <a:extLst>
                <a:ext uri="{FF2B5EF4-FFF2-40B4-BE49-F238E27FC236}">
                  <a16:creationId xmlns:a16="http://schemas.microsoft.com/office/drawing/2014/main" id="{2083B21E-E571-4FD5-8119-163AA5A5AD71}"/>
                </a:ext>
              </a:extLst>
            </p:cNvPr>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89" name="Freeform 223">
              <a:extLst>
                <a:ext uri="{FF2B5EF4-FFF2-40B4-BE49-F238E27FC236}">
                  <a16:creationId xmlns:a16="http://schemas.microsoft.com/office/drawing/2014/main" id="{D027EEA4-E8DA-430D-AC70-AD1761892B11}"/>
                </a:ext>
              </a:extLst>
            </p:cNvPr>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0" name="Oval 224">
              <a:extLst>
                <a:ext uri="{FF2B5EF4-FFF2-40B4-BE49-F238E27FC236}">
                  <a16:creationId xmlns:a16="http://schemas.microsoft.com/office/drawing/2014/main" id="{9814F232-F2DA-454F-96A8-FB6C9FDF0269}"/>
                </a:ext>
              </a:extLst>
            </p:cNvPr>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1" name="Freeform 225">
              <a:extLst>
                <a:ext uri="{FF2B5EF4-FFF2-40B4-BE49-F238E27FC236}">
                  <a16:creationId xmlns:a16="http://schemas.microsoft.com/office/drawing/2014/main" id="{D1EF96B0-76AB-4E16-AC97-EBCC0C2F97A4}"/>
                </a:ext>
              </a:extLst>
            </p:cNvPr>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92" name="person_slips" hidden="1">
            <a:extLst>
              <a:ext uri="{FF2B5EF4-FFF2-40B4-BE49-F238E27FC236}">
                <a16:creationId xmlns:a16="http://schemas.microsoft.com/office/drawing/2014/main" id="{A9C42FDB-87EE-44BF-9770-B778DF7CD1EA}"/>
              </a:ext>
            </a:extLst>
          </p:cNvPr>
          <p:cNvGrpSpPr>
            <a:grpSpLocks noChangeAspect="1"/>
          </p:cNvGrpSpPr>
          <p:nvPr userDrawn="1"/>
        </p:nvGrpSpPr>
        <p:grpSpPr bwMode="auto">
          <a:xfrm>
            <a:off x="3140521" y="1538310"/>
            <a:ext cx="578149" cy="754812"/>
            <a:chOff x="460" y="1095"/>
            <a:chExt cx="971" cy="1276"/>
          </a:xfrm>
        </p:grpSpPr>
        <p:sp>
          <p:nvSpPr>
            <p:cNvPr id="93" name="Freeform 229">
              <a:extLst>
                <a:ext uri="{FF2B5EF4-FFF2-40B4-BE49-F238E27FC236}">
                  <a16:creationId xmlns:a16="http://schemas.microsoft.com/office/drawing/2014/main" id="{BC6E2E0C-E418-400E-ABDB-6906A05BC0B9}"/>
                </a:ext>
              </a:extLst>
            </p:cNvPr>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4" name="Freeform 230">
              <a:extLst>
                <a:ext uri="{FF2B5EF4-FFF2-40B4-BE49-F238E27FC236}">
                  <a16:creationId xmlns:a16="http://schemas.microsoft.com/office/drawing/2014/main" id="{9953772A-D527-4BC6-8D1B-E8A659445B0C}"/>
                </a:ext>
              </a:extLst>
            </p:cNvPr>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5" name="Oval 231">
              <a:extLst>
                <a:ext uri="{FF2B5EF4-FFF2-40B4-BE49-F238E27FC236}">
                  <a16:creationId xmlns:a16="http://schemas.microsoft.com/office/drawing/2014/main" id="{73353779-79F5-4CE9-B721-EFA4C76A7E6C}"/>
                </a:ext>
              </a:extLst>
            </p:cNvPr>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6" name="Freeform 232">
              <a:extLst>
                <a:ext uri="{FF2B5EF4-FFF2-40B4-BE49-F238E27FC236}">
                  <a16:creationId xmlns:a16="http://schemas.microsoft.com/office/drawing/2014/main" id="{07FB7B84-4279-44B2-878E-1ACA6324C56D}"/>
                </a:ext>
              </a:extLst>
            </p:cNvPr>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97" name="Freeform 233">
              <a:extLst>
                <a:ext uri="{FF2B5EF4-FFF2-40B4-BE49-F238E27FC236}">
                  <a16:creationId xmlns:a16="http://schemas.microsoft.com/office/drawing/2014/main" id="{456D5BAF-89B8-4C75-8013-206764F10D17}"/>
                </a:ext>
              </a:extLst>
            </p:cNvPr>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grpSp>
        <p:nvGrpSpPr>
          <p:cNvPr id="98" name="gruppe" hidden="1">
            <a:extLst>
              <a:ext uri="{FF2B5EF4-FFF2-40B4-BE49-F238E27FC236}">
                <a16:creationId xmlns:a16="http://schemas.microsoft.com/office/drawing/2014/main" id="{3B2D2C1F-CCB3-412B-9B9F-EC1AB7401CE8}"/>
              </a:ext>
            </a:extLst>
          </p:cNvPr>
          <p:cNvGrpSpPr>
            <a:grpSpLocks noChangeAspect="1"/>
          </p:cNvGrpSpPr>
          <p:nvPr userDrawn="1"/>
        </p:nvGrpSpPr>
        <p:grpSpPr bwMode="auto">
          <a:xfrm>
            <a:off x="2815721" y="1467916"/>
            <a:ext cx="1227749" cy="895599"/>
            <a:chOff x="1847" y="1404"/>
            <a:chExt cx="2062" cy="1514"/>
          </a:xfrm>
        </p:grpSpPr>
        <p:sp>
          <p:nvSpPr>
            <p:cNvPr id="99" name="Freeform 237">
              <a:extLst>
                <a:ext uri="{FF2B5EF4-FFF2-40B4-BE49-F238E27FC236}">
                  <a16:creationId xmlns:a16="http://schemas.microsoft.com/office/drawing/2014/main" id="{EC88C885-E563-445B-8DC2-8B12E425E0CD}"/>
                </a:ext>
              </a:extLst>
            </p:cNvPr>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0" name="Freeform 238">
              <a:extLst>
                <a:ext uri="{FF2B5EF4-FFF2-40B4-BE49-F238E27FC236}">
                  <a16:creationId xmlns:a16="http://schemas.microsoft.com/office/drawing/2014/main" id="{3C291C07-A21A-453E-9EDA-82FAC3139416}"/>
                </a:ext>
              </a:extLst>
            </p:cNvPr>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1" name="Oval 239">
              <a:extLst>
                <a:ext uri="{FF2B5EF4-FFF2-40B4-BE49-F238E27FC236}">
                  <a16:creationId xmlns:a16="http://schemas.microsoft.com/office/drawing/2014/main" id="{35D039A0-064C-48FF-8668-48607F02DEA0}"/>
                </a:ext>
              </a:extLst>
            </p:cNvPr>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2" name="Freeform 240">
              <a:extLst>
                <a:ext uri="{FF2B5EF4-FFF2-40B4-BE49-F238E27FC236}">
                  <a16:creationId xmlns:a16="http://schemas.microsoft.com/office/drawing/2014/main" id="{9F473628-7F80-4198-B489-F9DB9C5619BA}"/>
                </a:ext>
              </a:extLst>
            </p:cNvPr>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3" name="Freeform 241">
              <a:extLst>
                <a:ext uri="{FF2B5EF4-FFF2-40B4-BE49-F238E27FC236}">
                  <a16:creationId xmlns:a16="http://schemas.microsoft.com/office/drawing/2014/main" id="{30891900-71CB-4D20-8235-4A222525679A}"/>
                </a:ext>
              </a:extLst>
            </p:cNvPr>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4" name="Freeform 242">
              <a:extLst>
                <a:ext uri="{FF2B5EF4-FFF2-40B4-BE49-F238E27FC236}">
                  <a16:creationId xmlns:a16="http://schemas.microsoft.com/office/drawing/2014/main" id="{93BB2271-C9DE-4738-9BED-D4F0227766A1}"/>
                </a:ext>
              </a:extLst>
            </p:cNvPr>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5" name="Oval 243">
              <a:extLst>
                <a:ext uri="{FF2B5EF4-FFF2-40B4-BE49-F238E27FC236}">
                  <a16:creationId xmlns:a16="http://schemas.microsoft.com/office/drawing/2014/main" id="{36A17176-CCF6-4439-AE6F-548860DF2CBE}"/>
                </a:ext>
              </a:extLst>
            </p:cNvPr>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6" name="Freeform 244">
              <a:extLst>
                <a:ext uri="{FF2B5EF4-FFF2-40B4-BE49-F238E27FC236}">
                  <a16:creationId xmlns:a16="http://schemas.microsoft.com/office/drawing/2014/main" id="{30380711-E342-4848-8E3B-85BF56970C94}"/>
                </a:ext>
              </a:extLst>
            </p:cNvPr>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7" name="Freeform 245">
              <a:extLst>
                <a:ext uri="{FF2B5EF4-FFF2-40B4-BE49-F238E27FC236}">
                  <a16:creationId xmlns:a16="http://schemas.microsoft.com/office/drawing/2014/main" id="{1FEF8964-9B22-45BD-90EB-121420EAA9FC}"/>
                </a:ext>
              </a:extLst>
            </p:cNvPr>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8" name="Freeform 246">
              <a:extLst>
                <a:ext uri="{FF2B5EF4-FFF2-40B4-BE49-F238E27FC236}">
                  <a16:creationId xmlns:a16="http://schemas.microsoft.com/office/drawing/2014/main" id="{92FCFEE1-92E4-4571-9973-CC20F6B99A0A}"/>
                </a:ext>
              </a:extLst>
            </p:cNvPr>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09" name="Oval 247">
              <a:extLst>
                <a:ext uri="{FF2B5EF4-FFF2-40B4-BE49-F238E27FC236}">
                  <a16:creationId xmlns:a16="http://schemas.microsoft.com/office/drawing/2014/main" id="{7E28A8A6-2B5F-42A8-9992-445C28680E07}"/>
                </a:ext>
              </a:extLst>
            </p:cNvPr>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10" name="Freeform 248">
              <a:extLst>
                <a:ext uri="{FF2B5EF4-FFF2-40B4-BE49-F238E27FC236}">
                  <a16:creationId xmlns:a16="http://schemas.microsoft.com/office/drawing/2014/main" id="{F8C831BD-4227-47FD-B78C-5771915B46DA}"/>
                </a:ext>
              </a:extLst>
            </p:cNvPr>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sp>
        <p:nvSpPr>
          <p:cNvPr id="111" name="pilhoyre" hidden="1">
            <a:extLst>
              <a:ext uri="{FF2B5EF4-FFF2-40B4-BE49-F238E27FC236}">
                <a16:creationId xmlns:a16="http://schemas.microsoft.com/office/drawing/2014/main" id="{A95E0516-8ACF-4E19-8AEC-51AA407C036B}"/>
              </a:ext>
            </a:extLst>
          </p:cNvPr>
          <p:cNvSpPr>
            <a:spLocks/>
          </p:cNvSpPr>
          <p:nvPr userDrawn="1"/>
        </p:nvSpPr>
        <p:spPr bwMode="auto">
          <a:xfrm>
            <a:off x="3092293" y="1740619"/>
            <a:ext cx="674606" cy="350194"/>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2" name="pilvenstre" hidden="1">
            <a:extLst>
              <a:ext uri="{FF2B5EF4-FFF2-40B4-BE49-F238E27FC236}">
                <a16:creationId xmlns:a16="http://schemas.microsoft.com/office/drawing/2014/main" id="{2334D452-8E52-4E04-9378-7979054515CF}"/>
              </a:ext>
            </a:extLst>
          </p:cNvPr>
          <p:cNvSpPr>
            <a:spLocks/>
          </p:cNvSpPr>
          <p:nvPr userDrawn="1"/>
        </p:nvSpPr>
        <p:spPr bwMode="auto">
          <a:xfrm>
            <a:off x="3092293" y="1740619"/>
            <a:ext cx="674606" cy="350194"/>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3" name="pilopp" hidden="1">
            <a:extLst>
              <a:ext uri="{FF2B5EF4-FFF2-40B4-BE49-F238E27FC236}">
                <a16:creationId xmlns:a16="http://schemas.microsoft.com/office/drawing/2014/main" id="{B21AD92E-C3BC-4B2F-8109-42A758F0296D}"/>
              </a:ext>
            </a:extLst>
          </p:cNvPr>
          <p:cNvSpPr>
            <a:spLocks/>
          </p:cNvSpPr>
          <p:nvPr userDrawn="1"/>
        </p:nvSpPr>
        <p:spPr bwMode="auto">
          <a:xfrm>
            <a:off x="3254246" y="1578240"/>
            <a:ext cx="350700" cy="674952"/>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14" name="pilned" hidden="1">
            <a:extLst>
              <a:ext uri="{FF2B5EF4-FFF2-40B4-BE49-F238E27FC236}">
                <a16:creationId xmlns:a16="http://schemas.microsoft.com/office/drawing/2014/main" id="{E225C98A-170D-4ED0-BAF5-7B583159B302}"/>
              </a:ext>
            </a:extLst>
          </p:cNvPr>
          <p:cNvSpPr>
            <a:spLocks/>
          </p:cNvSpPr>
          <p:nvPr userDrawn="1"/>
        </p:nvSpPr>
        <p:spPr bwMode="auto">
          <a:xfrm>
            <a:off x="3254246" y="1578831"/>
            <a:ext cx="350700" cy="673769"/>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057" tIns="17029" rIns="34057" bIns="17029"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nvGrpSpPr>
          <p:cNvPr id="115" name="prosses4" hidden="1">
            <a:extLst>
              <a:ext uri="{FF2B5EF4-FFF2-40B4-BE49-F238E27FC236}">
                <a16:creationId xmlns:a16="http://schemas.microsoft.com/office/drawing/2014/main" id="{8FECF53A-495E-4AA0-A0ED-34E619178E5C}"/>
              </a:ext>
            </a:extLst>
          </p:cNvPr>
          <p:cNvGrpSpPr/>
          <p:nvPr userDrawn="1"/>
        </p:nvGrpSpPr>
        <p:grpSpPr>
          <a:xfrm>
            <a:off x="2392446" y="894972"/>
            <a:ext cx="2074299" cy="2041488"/>
            <a:chOff x="1949529" y="751583"/>
            <a:chExt cx="5530502" cy="5478645"/>
          </a:xfrm>
        </p:grpSpPr>
        <p:grpSp>
          <p:nvGrpSpPr>
            <p:cNvPr id="116" name="prosses4">
              <a:extLst>
                <a:ext uri="{FF2B5EF4-FFF2-40B4-BE49-F238E27FC236}">
                  <a16:creationId xmlns:a16="http://schemas.microsoft.com/office/drawing/2014/main" id="{DFD1A894-8923-4561-A228-6A4B334C8416}"/>
                </a:ext>
              </a:extLst>
            </p:cNvPr>
            <p:cNvGrpSpPr>
              <a:grpSpLocks noChangeAspect="1"/>
            </p:cNvGrpSpPr>
            <p:nvPr userDrawn="1"/>
          </p:nvGrpSpPr>
          <p:grpSpPr bwMode="auto">
            <a:xfrm>
              <a:off x="2255718" y="976312"/>
              <a:ext cx="4897443" cy="4897438"/>
              <a:chOff x="1336" y="615"/>
              <a:chExt cx="3085" cy="3085"/>
            </a:xfrm>
          </p:grpSpPr>
          <p:sp>
            <p:nvSpPr>
              <p:cNvPr id="121" name="Freeform 90">
                <a:extLst>
                  <a:ext uri="{FF2B5EF4-FFF2-40B4-BE49-F238E27FC236}">
                    <a16:creationId xmlns:a16="http://schemas.microsoft.com/office/drawing/2014/main" id="{29B06063-6F0D-4656-9FF7-CC29372A9490}"/>
                  </a:ext>
                </a:extLst>
              </p:cNvPr>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2" name="Freeform 91">
                <a:extLst>
                  <a:ext uri="{FF2B5EF4-FFF2-40B4-BE49-F238E27FC236}">
                    <a16:creationId xmlns:a16="http://schemas.microsoft.com/office/drawing/2014/main" id="{D10C9EAA-35C1-43B6-8F05-C5A7A9905B87}"/>
                  </a:ext>
                </a:extLst>
              </p:cNvPr>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3" name="Freeform 92">
                <a:extLst>
                  <a:ext uri="{FF2B5EF4-FFF2-40B4-BE49-F238E27FC236}">
                    <a16:creationId xmlns:a16="http://schemas.microsoft.com/office/drawing/2014/main" id="{8069B44F-E985-4E40-8D7C-09E7B9CC7542}"/>
                  </a:ext>
                </a:extLst>
              </p:cNvPr>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24" name="Freeform 93">
                <a:extLst>
                  <a:ext uri="{FF2B5EF4-FFF2-40B4-BE49-F238E27FC236}">
                    <a16:creationId xmlns:a16="http://schemas.microsoft.com/office/drawing/2014/main" id="{79C65239-ED75-4AC4-989B-D6930C0FD8F3}"/>
                  </a:ext>
                </a:extLst>
              </p:cNvPr>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grpSp>
        <p:sp>
          <p:nvSpPr>
            <p:cNvPr id="117" name="TekstSylinder 221">
              <a:extLst>
                <a:ext uri="{FF2B5EF4-FFF2-40B4-BE49-F238E27FC236}">
                  <a16:creationId xmlns:a16="http://schemas.microsoft.com/office/drawing/2014/main" id="{51A8837B-C13C-4997-9FBF-0B758C695E36}"/>
                </a:ext>
              </a:extLst>
            </p:cNvPr>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1</a:t>
              </a:r>
              <a:endParaRPr lang="en-GB" sz="596" b="1" cap="all"/>
            </a:p>
          </p:txBody>
        </p:sp>
        <p:sp>
          <p:nvSpPr>
            <p:cNvPr id="118" name="TekstSylinder 227">
              <a:extLst>
                <a:ext uri="{FF2B5EF4-FFF2-40B4-BE49-F238E27FC236}">
                  <a16:creationId xmlns:a16="http://schemas.microsoft.com/office/drawing/2014/main" id="{6D4E3CAC-1A7E-4E91-A560-251745C11E4B}"/>
                </a:ext>
              </a:extLst>
            </p:cNvPr>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2</a:t>
              </a:r>
              <a:endParaRPr lang="en-GB" sz="596" b="1" cap="all"/>
            </a:p>
          </p:txBody>
        </p:sp>
        <p:sp>
          <p:nvSpPr>
            <p:cNvPr id="119" name="TekstSylinder 234">
              <a:extLst>
                <a:ext uri="{FF2B5EF4-FFF2-40B4-BE49-F238E27FC236}">
                  <a16:creationId xmlns:a16="http://schemas.microsoft.com/office/drawing/2014/main" id="{580867B5-D970-436B-8D9C-0920D47478C2}"/>
                </a:ext>
              </a:extLst>
            </p:cNvPr>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3</a:t>
              </a:r>
              <a:endParaRPr lang="en-GB" sz="596" b="1" cap="all"/>
            </a:p>
          </p:txBody>
        </p:sp>
        <p:sp>
          <p:nvSpPr>
            <p:cNvPr id="120" name="TekstSylinder 242">
              <a:extLst>
                <a:ext uri="{FF2B5EF4-FFF2-40B4-BE49-F238E27FC236}">
                  <a16:creationId xmlns:a16="http://schemas.microsoft.com/office/drawing/2014/main" id="{06AF44F2-3EB2-40FC-8236-B7B38318995E}"/>
                </a:ext>
              </a:extLst>
            </p:cNvPr>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t>Argument 4</a:t>
              </a:r>
              <a:endParaRPr lang="en-GB" sz="596" b="1" cap="all"/>
            </a:p>
          </p:txBody>
        </p:sp>
      </p:grpSp>
      <p:grpSp>
        <p:nvGrpSpPr>
          <p:cNvPr id="125" name="prosses1" hidden="1">
            <a:extLst>
              <a:ext uri="{FF2B5EF4-FFF2-40B4-BE49-F238E27FC236}">
                <a16:creationId xmlns:a16="http://schemas.microsoft.com/office/drawing/2014/main" id="{4779C51A-F278-453F-AA32-E63A845C926A}"/>
              </a:ext>
            </a:extLst>
          </p:cNvPr>
          <p:cNvGrpSpPr/>
          <p:nvPr userDrawn="1"/>
        </p:nvGrpSpPr>
        <p:grpSpPr>
          <a:xfrm>
            <a:off x="2410244" y="907429"/>
            <a:ext cx="2038705" cy="2016574"/>
            <a:chOff x="1865313" y="727076"/>
            <a:chExt cx="5435600" cy="5411787"/>
          </a:xfrm>
        </p:grpSpPr>
        <p:grpSp>
          <p:nvGrpSpPr>
            <p:cNvPr id="126" name="prosses1">
              <a:extLst>
                <a:ext uri="{FF2B5EF4-FFF2-40B4-BE49-F238E27FC236}">
                  <a16:creationId xmlns:a16="http://schemas.microsoft.com/office/drawing/2014/main" id="{41B54317-60E0-4F0D-AD39-27D5CA9B1C21}"/>
                </a:ext>
              </a:extLst>
            </p:cNvPr>
            <p:cNvGrpSpPr/>
            <p:nvPr userDrawn="1"/>
          </p:nvGrpSpPr>
          <p:grpSpPr>
            <a:xfrm>
              <a:off x="1865313" y="727076"/>
              <a:ext cx="5435600" cy="5411787"/>
              <a:chOff x="1865313" y="727076"/>
              <a:chExt cx="5435600" cy="5411787"/>
            </a:xfrm>
          </p:grpSpPr>
          <p:sp>
            <p:nvSpPr>
              <p:cNvPr id="132" name="Freeform 5">
                <a:extLst>
                  <a:ext uri="{FF2B5EF4-FFF2-40B4-BE49-F238E27FC236}">
                    <a16:creationId xmlns:a16="http://schemas.microsoft.com/office/drawing/2014/main" id="{F4D96B72-28E9-46F7-A11A-FDA9AE8C7DEB}"/>
                  </a:ext>
                </a:extLst>
              </p:cNvPr>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3" name="Freeform 6">
                <a:extLst>
                  <a:ext uri="{FF2B5EF4-FFF2-40B4-BE49-F238E27FC236}">
                    <a16:creationId xmlns:a16="http://schemas.microsoft.com/office/drawing/2014/main" id="{BE74E679-3E14-4F13-B6C6-48E949CB28B0}"/>
                  </a:ext>
                </a:extLst>
              </p:cNvPr>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4" name="Freeform 7">
                <a:extLst>
                  <a:ext uri="{FF2B5EF4-FFF2-40B4-BE49-F238E27FC236}">
                    <a16:creationId xmlns:a16="http://schemas.microsoft.com/office/drawing/2014/main" id="{99D3AFBF-41EC-40B6-8C5B-2FD9BE99E614}"/>
                  </a:ext>
                </a:extLst>
              </p:cNvPr>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5" name="Freeform 8">
                <a:extLst>
                  <a:ext uri="{FF2B5EF4-FFF2-40B4-BE49-F238E27FC236}">
                    <a16:creationId xmlns:a16="http://schemas.microsoft.com/office/drawing/2014/main" id="{5A6E1ED5-4897-4D25-AF87-10AA4C099956}"/>
                  </a:ext>
                </a:extLst>
              </p:cNvPr>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6" name="Freeform 9">
                <a:extLst>
                  <a:ext uri="{FF2B5EF4-FFF2-40B4-BE49-F238E27FC236}">
                    <a16:creationId xmlns:a16="http://schemas.microsoft.com/office/drawing/2014/main" id="{276BB91A-5C47-454E-A60A-1B79117AD287}"/>
                  </a:ext>
                </a:extLst>
              </p:cNvPr>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en-GB" sz="1043"/>
              </a:p>
            </p:txBody>
          </p:sp>
          <p:sp>
            <p:nvSpPr>
              <p:cNvPr id="137" name="Rectangle 56">
                <a:extLst>
                  <a:ext uri="{FF2B5EF4-FFF2-40B4-BE49-F238E27FC236}">
                    <a16:creationId xmlns:a16="http://schemas.microsoft.com/office/drawing/2014/main" id="{6124366D-D097-4A36-AF59-652796B9C7D5}"/>
                  </a:ext>
                </a:extLst>
              </p:cNvPr>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defTabSz="340568" eaLnBrk="0" fontAlgn="base" hangingPunct="0">
                  <a:spcBef>
                    <a:spcPct val="0"/>
                  </a:spcBef>
                  <a:spcAft>
                    <a:spcPct val="0"/>
                  </a:spcAft>
                </a:pPr>
                <a:r>
                  <a:rPr lang="en-US" altLang="en-US" sz="1043" b="1">
                    <a:solidFill>
                      <a:srgbClr val="010101"/>
                    </a:solidFill>
                    <a:latin typeface="Arial" panose="020B0604020202020204" pitchFamily="34" charset="0"/>
                  </a:rPr>
                  <a:t>Tittel</a:t>
                </a:r>
                <a:endParaRPr lang="en-US" altLang="en-US" sz="670">
                  <a:latin typeface="Arial" panose="020B0604020202020204" pitchFamily="34" charset="0"/>
                </a:endParaRPr>
              </a:p>
            </p:txBody>
          </p:sp>
          <p:sp>
            <p:nvSpPr>
              <p:cNvPr id="138" name="Rectangle 58">
                <a:extLst>
                  <a:ext uri="{FF2B5EF4-FFF2-40B4-BE49-F238E27FC236}">
                    <a16:creationId xmlns:a16="http://schemas.microsoft.com/office/drawing/2014/main" id="{5E03F3D1-D90E-4A9C-B67D-3343321D19BD}"/>
                  </a:ext>
                </a:extLst>
              </p:cNvPr>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defTabSz="340568" eaLnBrk="0" fontAlgn="base" hangingPunct="0">
                  <a:spcBef>
                    <a:spcPct val="0"/>
                  </a:spcBef>
                  <a:spcAft>
                    <a:spcPct val="0"/>
                  </a:spcAft>
                </a:pPr>
                <a:r>
                  <a:rPr lang="en-US" altLang="en-US" sz="670">
                    <a:solidFill>
                      <a:srgbClr val="010101"/>
                    </a:solidFill>
                    <a:latin typeface="Arial" panose="020B0604020202020204" pitchFamily="34" charset="0"/>
                  </a:rPr>
                  <a:t>Hva handler dette</a:t>
                </a:r>
                <a:br>
                  <a:rPr lang="en-US" altLang="en-US" sz="670">
                    <a:solidFill>
                      <a:srgbClr val="010101"/>
                    </a:solidFill>
                    <a:latin typeface="Arial" panose="020B0604020202020204" pitchFamily="34" charset="0"/>
                  </a:rPr>
                </a:br>
                <a:r>
                  <a:rPr lang="en-US" altLang="en-US" sz="670">
                    <a:solidFill>
                      <a:srgbClr val="010101"/>
                    </a:solidFill>
                    <a:latin typeface="Arial" panose="020B0604020202020204" pitchFamily="34" charset="0"/>
                  </a:rPr>
                  <a:t>prosseshjulet om?</a:t>
                </a:r>
                <a:endParaRPr lang="en-US" altLang="en-US" sz="670">
                  <a:latin typeface="Arial" panose="020B0604020202020204" pitchFamily="34" charset="0"/>
                </a:endParaRPr>
              </a:p>
            </p:txBody>
          </p:sp>
        </p:grpSp>
        <p:sp>
          <p:nvSpPr>
            <p:cNvPr id="127" name="TekstSylinder 244">
              <a:extLst>
                <a:ext uri="{FF2B5EF4-FFF2-40B4-BE49-F238E27FC236}">
                  <a16:creationId xmlns:a16="http://schemas.microsoft.com/office/drawing/2014/main" id="{DBE65627-4304-4D2B-B597-C86A82D764F5}"/>
                </a:ext>
              </a:extLst>
            </p:cNvPr>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1</a:t>
              </a:r>
              <a:endParaRPr lang="en-GB" sz="596" b="1" cap="all">
                <a:solidFill>
                  <a:schemeClr val="bg1"/>
                </a:solidFill>
              </a:endParaRPr>
            </a:p>
          </p:txBody>
        </p:sp>
        <p:sp>
          <p:nvSpPr>
            <p:cNvPr id="128" name="TekstSylinder 264">
              <a:extLst>
                <a:ext uri="{FF2B5EF4-FFF2-40B4-BE49-F238E27FC236}">
                  <a16:creationId xmlns:a16="http://schemas.microsoft.com/office/drawing/2014/main" id="{0688D59D-D1BB-42F5-AD70-54EA89D68946}"/>
                </a:ext>
              </a:extLst>
            </p:cNvPr>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2</a:t>
              </a:r>
              <a:endParaRPr lang="en-GB" sz="596" b="1" cap="all">
                <a:solidFill>
                  <a:schemeClr val="bg1"/>
                </a:solidFill>
              </a:endParaRPr>
            </a:p>
          </p:txBody>
        </p:sp>
        <p:sp>
          <p:nvSpPr>
            <p:cNvPr id="129" name="TekstSylinder 265">
              <a:extLst>
                <a:ext uri="{FF2B5EF4-FFF2-40B4-BE49-F238E27FC236}">
                  <a16:creationId xmlns:a16="http://schemas.microsoft.com/office/drawing/2014/main" id="{443F7C44-DA2E-407B-AFF4-C3AB97A94713}"/>
                </a:ext>
              </a:extLst>
            </p:cNvPr>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3</a:t>
              </a:r>
              <a:endParaRPr lang="en-GB" sz="596" b="1" cap="all">
                <a:solidFill>
                  <a:schemeClr val="bg1"/>
                </a:solidFill>
              </a:endParaRPr>
            </a:p>
          </p:txBody>
        </p:sp>
        <p:sp>
          <p:nvSpPr>
            <p:cNvPr id="130" name="TekstSylinder 266">
              <a:extLst>
                <a:ext uri="{FF2B5EF4-FFF2-40B4-BE49-F238E27FC236}">
                  <a16:creationId xmlns:a16="http://schemas.microsoft.com/office/drawing/2014/main" id="{D2B22F31-F654-4253-AD05-B5093AD73AA0}"/>
                </a:ext>
              </a:extLst>
            </p:cNvPr>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4</a:t>
              </a:r>
              <a:endParaRPr lang="en-GB" sz="596" b="1" cap="all">
                <a:solidFill>
                  <a:schemeClr val="bg1"/>
                </a:solidFill>
              </a:endParaRPr>
            </a:p>
          </p:txBody>
        </p:sp>
        <p:sp>
          <p:nvSpPr>
            <p:cNvPr id="131" name="TekstSylinder 267">
              <a:extLst>
                <a:ext uri="{FF2B5EF4-FFF2-40B4-BE49-F238E27FC236}">
                  <a16:creationId xmlns:a16="http://schemas.microsoft.com/office/drawing/2014/main" id="{7C6ACC58-C90A-4C5D-BBFE-BDA868EAEC00}"/>
                </a:ext>
              </a:extLst>
            </p:cNvPr>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pPr algn="ctr"/>
              <a:r>
                <a:rPr lang="nb-NO" sz="596" b="1" cap="all">
                  <a:solidFill>
                    <a:schemeClr val="bg1"/>
                  </a:solidFill>
                </a:rPr>
                <a:t>Argument 5</a:t>
              </a:r>
              <a:endParaRPr lang="en-GB" sz="596" b="1" cap="all">
                <a:solidFill>
                  <a:schemeClr val="bg1"/>
                </a:solidFill>
              </a:endParaRPr>
            </a:p>
          </p:txBody>
        </p:sp>
      </p:grpSp>
      <p:grpSp>
        <p:nvGrpSpPr>
          <p:cNvPr id="139" name="Verden" hidden="1">
            <a:extLst>
              <a:ext uri="{FF2B5EF4-FFF2-40B4-BE49-F238E27FC236}">
                <a16:creationId xmlns:a16="http://schemas.microsoft.com/office/drawing/2014/main" id="{A3F9290F-CA5A-4B8B-B451-68965BCC7963}"/>
              </a:ext>
            </a:extLst>
          </p:cNvPr>
          <p:cNvGrpSpPr>
            <a:grpSpLocks noChangeAspect="1"/>
          </p:cNvGrpSpPr>
          <p:nvPr userDrawn="1"/>
        </p:nvGrpSpPr>
        <p:grpSpPr bwMode="auto">
          <a:xfrm>
            <a:off x="3050317" y="1538486"/>
            <a:ext cx="758559" cy="754460"/>
            <a:chOff x="2585" y="369"/>
            <a:chExt cx="637" cy="638"/>
          </a:xfrm>
        </p:grpSpPr>
        <p:sp>
          <p:nvSpPr>
            <p:cNvPr id="140" name="Freeform 5">
              <a:extLst>
                <a:ext uri="{FF2B5EF4-FFF2-40B4-BE49-F238E27FC236}">
                  <a16:creationId xmlns:a16="http://schemas.microsoft.com/office/drawing/2014/main" id="{2F2B7218-45B5-4632-A1EC-DC342BD7D987}"/>
                </a:ext>
              </a:extLst>
            </p:cNvPr>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1" name="Freeform 6">
              <a:extLst>
                <a:ext uri="{FF2B5EF4-FFF2-40B4-BE49-F238E27FC236}">
                  <a16:creationId xmlns:a16="http://schemas.microsoft.com/office/drawing/2014/main" id="{904FB3E9-CE29-4402-A5D8-DE8C73B4E040}"/>
                </a:ext>
              </a:extLst>
            </p:cNvPr>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2" name="Freeform 7">
              <a:extLst>
                <a:ext uri="{FF2B5EF4-FFF2-40B4-BE49-F238E27FC236}">
                  <a16:creationId xmlns:a16="http://schemas.microsoft.com/office/drawing/2014/main" id="{4A92D824-A1C3-4A23-A659-6ADDA961DCFC}"/>
                </a:ext>
              </a:extLst>
            </p:cNvPr>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3" name="Freeform 8">
              <a:extLst>
                <a:ext uri="{FF2B5EF4-FFF2-40B4-BE49-F238E27FC236}">
                  <a16:creationId xmlns:a16="http://schemas.microsoft.com/office/drawing/2014/main" id="{A7886BB1-F2B6-403B-BA30-4F533FC6D5BF}"/>
                </a:ext>
              </a:extLst>
            </p:cNvPr>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4" name="Freeform 9">
              <a:extLst>
                <a:ext uri="{FF2B5EF4-FFF2-40B4-BE49-F238E27FC236}">
                  <a16:creationId xmlns:a16="http://schemas.microsoft.com/office/drawing/2014/main" id="{D79A3C4E-17FC-4C2D-981A-8B55C95A3B5F}"/>
                </a:ext>
              </a:extLst>
            </p:cNvPr>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45" name="Vaskeboette" hidden="1">
            <a:extLst>
              <a:ext uri="{FF2B5EF4-FFF2-40B4-BE49-F238E27FC236}">
                <a16:creationId xmlns:a16="http://schemas.microsoft.com/office/drawing/2014/main" id="{FF08F4FD-05ED-42FD-8456-A2673DB39372}"/>
              </a:ext>
            </a:extLst>
          </p:cNvPr>
          <p:cNvGrpSpPr>
            <a:grpSpLocks noChangeAspect="1"/>
          </p:cNvGrpSpPr>
          <p:nvPr userDrawn="1"/>
        </p:nvGrpSpPr>
        <p:grpSpPr bwMode="auto">
          <a:xfrm>
            <a:off x="3077110" y="1462803"/>
            <a:ext cx="704972" cy="905826"/>
            <a:chOff x="1610" y="386"/>
            <a:chExt cx="592" cy="766"/>
          </a:xfrm>
        </p:grpSpPr>
        <p:sp>
          <p:nvSpPr>
            <p:cNvPr id="146" name="Freeform 13">
              <a:extLst>
                <a:ext uri="{FF2B5EF4-FFF2-40B4-BE49-F238E27FC236}">
                  <a16:creationId xmlns:a16="http://schemas.microsoft.com/office/drawing/2014/main" id="{F6F92C6A-46A7-4C34-A9DA-83EF5139B7BB}"/>
                </a:ext>
              </a:extLst>
            </p:cNvPr>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7" name="Freeform 14">
              <a:extLst>
                <a:ext uri="{FF2B5EF4-FFF2-40B4-BE49-F238E27FC236}">
                  <a16:creationId xmlns:a16="http://schemas.microsoft.com/office/drawing/2014/main" id="{B4A8123B-C482-401A-AC74-29D1EC4EBADE}"/>
                </a:ext>
              </a:extLst>
            </p:cNvPr>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8" name="Freeform 15">
              <a:extLst>
                <a:ext uri="{FF2B5EF4-FFF2-40B4-BE49-F238E27FC236}">
                  <a16:creationId xmlns:a16="http://schemas.microsoft.com/office/drawing/2014/main" id="{B8E8214F-6223-45E9-960B-F6AD7D24005B}"/>
                </a:ext>
              </a:extLst>
            </p:cNvPr>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49" name="Freeform 16">
              <a:extLst>
                <a:ext uri="{FF2B5EF4-FFF2-40B4-BE49-F238E27FC236}">
                  <a16:creationId xmlns:a16="http://schemas.microsoft.com/office/drawing/2014/main" id="{631875EB-CCD0-4069-ACB4-F5B182A5D806}"/>
                </a:ext>
              </a:extLst>
            </p:cNvPr>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0" name="Freeform 17">
              <a:extLst>
                <a:ext uri="{FF2B5EF4-FFF2-40B4-BE49-F238E27FC236}">
                  <a16:creationId xmlns:a16="http://schemas.microsoft.com/office/drawing/2014/main" id="{188E92A7-CEC1-4719-B0BA-CD364C979C35}"/>
                </a:ext>
              </a:extLst>
            </p:cNvPr>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1" name="Freeform 18">
              <a:extLst>
                <a:ext uri="{FF2B5EF4-FFF2-40B4-BE49-F238E27FC236}">
                  <a16:creationId xmlns:a16="http://schemas.microsoft.com/office/drawing/2014/main" id="{F3939996-1E36-4B02-B584-F6FFD4805EBD}"/>
                </a:ext>
              </a:extLst>
            </p:cNvPr>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2" name="Freeform 19">
              <a:extLst>
                <a:ext uri="{FF2B5EF4-FFF2-40B4-BE49-F238E27FC236}">
                  <a16:creationId xmlns:a16="http://schemas.microsoft.com/office/drawing/2014/main" id="{4BDF05A6-595B-43EA-BE38-1A2C144733A2}"/>
                </a:ext>
              </a:extLst>
            </p:cNvPr>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3" name="Freeform 20">
              <a:extLst>
                <a:ext uri="{FF2B5EF4-FFF2-40B4-BE49-F238E27FC236}">
                  <a16:creationId xmlns:a16="http://schemas.microsoft.com/office/drawing/2014/main" id="{CD87EBDA-1A91-4E1B-A299-8A7361173992}"/>
                </a:ext>
              </a:extLst>
            </p:cNvPr>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54" name="UtenlandskArbeidstaker" hidden="1">
            <a:extLst>
              <a:ext uri="{FF2B5EF4-FFF2-40B4-BE49-F238E27FC236}">
                <a16:creationId xmlns:a16="http://schemas.microsoft.com/office/drawing/2014/main" id="{5440BB39-9E43-470E-A751-AE01D99C7728}"/>
              </a:ext>
            </a:extLst>
          </p:cNvPr>
          <p:cNvGrpSpPr>
            <a:grpSpLocks noChangeAspect="1"/>
          </p:cNvGrpSpPr>
          <p:nvPr userDrawn="1"/>
        </p:nvGrpSpPr>
        <p:grpSpPr bwMode="auto">
          <a:xfrm>
            <a:off x="3098545" y="1373521"/>
            <a:ext cx="662102" cy="1084390"/>
            <a:chOff x="1137" y="1217"/>
            <a:chExt cx="556" cy="917"/>
          </a:xfrm>
        </p:grpSpPr>
        <p:sp>
          <p:nvSpPr>
            <p:cNvPr id="155" name="Freeform 24">
              <a:extLst>
                <a:ext uri="{FF2B5EF4-FFF2-40B4-BE49-F238E27FC236}">
                  <a16:creationId xmlns:a16="http://schemas.microsoft.com/office/drawing/2014/main" id="{D24F0400-F355-4366-9E3E-B0CFE6538B86}"/>
                </a:ext>
              </a:extLst>
            </p:cNvPr>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6" name="Oval 25">
              <a:extLst>
                <a:ext uri="{FF2B5EF4-FFF2-40B4-BE49-F238E27FC236}">
                  <a16:creationId xmlns:a16="http://schemas.microsoft.com/office/drawing/2014/main" id="{BD3BC371-3C72-4E2F-8299-825E71BF736A}"/>
                </a:ext>
              </a:extLst>
            </p:cNvPr>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7" name="Freeform 26">
              <a:extLst>
                <a:ext uri="{FF2B5EF4-FFF2-40B4-BE49-F238E27FC236}">
                  <a16:creationId xmlns:a16="http://schemas.microsoft.com/office/drawing/2014/main" id="{BBF302E5-5B86-479A-8685-FB9A44EDD123}"/>
                </a:ext>
              </a:extLst>
            </p:cNvPr>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8" name="Freeform 27">
              <a:extLst>
                <a:ext uri="{FF2B5EF4-FFF2-40B4-BE49-F238E27FC236}">
                  <a16:creationId xmlns:a16="http://schemas.microsoft.com/office/drawing/2014/main" id="{7A2BA9F4-9AFA-4322-9577-F9646C82AC61}"/>
                </a:ext>
              </a:extLst>
            </p:cNvPr>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59" name="Freeform 28">
              <a:extLst>
                <a:ext uri="{FF2B5EF4-FFF2-40B4-BE49-F238E27FC236}">
                  <a16:creationId xmlns:a16="http://schemas.microsoft.com/office/drawing/2014/main" id="{D0608DCC-A7B1-44E7-9840-2648E08F49CB}"/>
                </a:ext>
              </a:extLst>
            </p:cNvPr>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0" name="Freeform 29">
              <a:extLst>
                <a:ext uri="{FF2B5EF4-FFF2-40B4-BE49-F238E27FC236}">
                  <a16:creationId xmlns:a16="http://schemas.microsoft.com/office/drawing/2014/main" id="{ED9E3A27-AE7D-4DF8-8D3E-E9D4354222E5}"/>
                </a:ext>
              </a:extLst>
            </p:cNvPr>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1" name="Freeform 30">
              <a:extLst>
                <a:ext uri="{FF2B5EF4-FFF2-40B4-BE49-F238E27FC236}">
                  <a16:creationId xmlns:a16="http://schemas.microsoft.com/office/drawing/2014/main" id="{5FFD1784-2248-4306-8418-B3307E408B6C}"/>
                </a:ext>
              </a:extLst>
            </p:cNvPr>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62" name="Transportmiddel_tog" hidden="1">
            <a:extLst>
              <a:ext uri="{FF2B5EF4-FFF2-40B4-BE49-F238E27FC236}">
                <a16:creationId xmlns:a16="http://schemas.microsoft.com/office/drawing/2014/main" id="{0CEC2E80-4295-4DE8-AC67-0B935D19D8E8}"/>
              </a:ext>
            </a:extLst>
          </p:cNvPr>
          <p:cNvGrpSpPr>
            <a:grpSpLocks noChangeAspect="1"/>
          </p:cNvGrpSpPr>
          <p:nvPr userDrawn="1"/>
        </p:nvGrpSpPr>
        <p:grpSpPr bwMode="auto">
          <a:xfrm>
            <a:off x="3051507" y="1358740"/>
            <a:ext cx="756179" cy="1113953"/>
            <a:chOff x="3547" y="1142"/>
            <a:chExt cx="635" cy="942"/>
          </a:xfrm>
        </p:grpSpPr>
        <p:sp>
          <p:nvSpPr>
            <p:cNvPr id="163" name="Freeform 34">
              <a:extLst>
                <a:ext uri="{FF2B5EF4-FFF2-40B4-BE49-F238E27FC236}">
                  <a16:creationId xmlns:a16="http://schemas.microsoft.com/office/drawing/2014/main" id="{9E6B1C6E-CAC3-45A8-BF53-67E07B1572A2}"/>
                </a:ext>
              </a:extLst>
            </p:cNvPr>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4" name="Freeform 35">
              <a:extLst>
                <a:ext uri="{FF2B5EF4-FFF2-40B4-BE49-F238E27FC236}">
                  <a16:creationId xmlns:a16="http://schemas.microsoft.com/office/drawing/2014/main" id="{924F2EA2-41DE-497F-9800-216F0BA305D0}"/>
                </a:ext>
              </a:extLst>
            </p:cNvPr>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5" name="Freeform 36">
              <a:extLst>
                <a:ext uri="{FF2B5EF4-FFF2-40B4-BE49-F238E27FC236}">
                  <a16:creationId xmlns:a16="http://schemas.microsoft.com/office/drawing/2014/main" id="{F00861BF-3214-4457-B2B9-5647B9C2E756}"/>
                </a:ext>
              </a:extLst>
            </p:cNvPr>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66" name="SvartArbeid" hidden="1">
            <a:extLst>
              <a:ext uri="{FF2B5EF4-FFF2-40B4-BE49-F238E27FC236}">
                <a16:creationId xmlns:a16="http://schemas.microsoft.com/office/drawing/2014/main" id="{6F02F2B2-00C7-4F04-80FC-0888B9C3F5C1}"/>
              </a:ext>
            </a:extLst>
          </p:cNvPr>
          <p:cNvGrpSpPr>
            <a:grpSpLocks noChangeAspect="1"/>
          </p:cNvGrpSpPr>
          <p:nvPr userDrawn="1"/>
        </p:nvGrpSpPr>
        <p:grpSpPr bwMode="auto">
          <a:xfrm>
            <a:off x="3107476" y="1484089"/>
            <a:ext cx="644240" cy="863255"/>
            <a:chOff x="1863" y="1517"/>
            <a:chExt cx="541" cy="730"/>
          </a:xfrm>
        </p:grpSpPr>
        <p:sp>
          <p:nvSpPr>
            <p:cNvPr id="167" name="Freeform 40">
              <a:extLst>
                <a:ext uri="{FF2B5EF4-FFF2-40B4-BE49-F238E27FC236}">
                  <a16:creationId xmlns:a16="http://schemas.microsoft.com/office/drawing/2014/main" id="{0E5CC175-012E-46DF-A858-2FF0B4E6DCDA}"/>
                </a:ext>
              </a:extLst>
            </p:cNvPr>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8" name="Oval 41">
              <a:extLst>
                <a:ext uri="{FF2B5EF4-FFF2-40B4-BE49-F238E27FC236}">
                  <a16:creationId xmlns:a16="http://schemas.microsoft.com/office/drawing/2014/main" id="{83FB195B-2ADF-4182-89CD-8C85F7D3B3C4}"/>
                </a:ext>
              </a:extLst>
            </p:cNvPr>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69" name="Freeform 42">
              <a:extLst>
                <a:ext uri="{FF2B5EF4-FFF2-40B4-BE49-F238E27FC236}">
                  <a16:creationId xmlns:a16="http://schemas.microsoft.com/office/drawing/2014/main" id="{7A42E390-E3E2-4A8F-9A21-69B1612B3553}"/>
                </a:ext>
              </a:extLst>
            </p:cNvPr>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70" name="Skjema" hidden="1">
            <a:extLst>
              <a:ext uri="{FF2B5EF4-FFF2-40B4-BE49-F238E27FC236}">
                <a16:creationId xmlns:a16="http://schemas.microsoft.com/office/drawing/2014/main" id="{C449BD4F-EEA9-435E-9D30-00C179770C10}"/>
              </a:ext>
            </a:extLst>
          </p:cNvPr>
          <p:cNvGrpSpPr>
            <a:grpSpLocks noChangeAspect="1"/>
          </p:cNvGrpSpPr>
          <p:nvPr userDrawn="1"/>
        </p:nvGrpSpPr>
        <p:grpSpPr bwMode="auto">
          <a:xfrm>
            <a:off x="2572793" y="1425553"/>
            <a:ext cx="1713607" cy="980326"/>
            <a:chOff x="2733" y="2022"/>
            <a:chExt cx="1439" cy="829"/>
          </a:xfrm>
        </p:grpSpPr>
        <p:sp>
          <p:nvSpPr>
            <p:cNvPr id="171" name="Freeform 46">
              <a:extLst>
                <a:ext uri="{FF2B5EF4-FFF2-40B4-BE49-F238E27FC236}">
                  <a16:creationId xmlns:a16="http://schemas.microsoft.com/office/drawing/2014/main" id="{F052E78C-AABA-4D55-874A-7B94F8D97735}"/>
                </a:ext>
              </a:extLst>
            </p:cNvPr>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2" name="Freeform 47">
              <a:extLst>
                <a:ext uri="{FF2B5EF4-FFF2-40B4-BE49-F238E27FC236}">
                  <a16:creationId xmlns:a16="http://schemas.microsoft.com/office/drawing/2014/main" id="{93B659A5-E36B-4976-9B8D-82F289499D8E}"/>
                </a:ext>
              </a:extLst>
            </p:cNvPr>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3" name="Line 48">
              <a:extLst>
                <a:ext uri="{FF2B5EF4-FFF2-40B4-BE49-F238E27FC236}">
                  <a16:creationId xmlns:a16="http://schemas.microsoft.com/office/drawing/2014/main" id="{9F5C168D-9B11-44BE-A358-FBF77E63D199}"/>
                </a:ext>
              </a:extLst>
            </p:cNvPr>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4" name="Line 49">
              <a:extLst>
                <a:ext uri="{FF2B5EF4-FFF2-40B4-BE49-F238E27FC236}">
                  <a16:creationId xmlns:a16="http://schemas.microsoft.com/office/drawing/2014/main" id="{E6AE9A44-432F-469C-9558-873218813ABB}"/>
                </a:ext>
              </a:extLst>
            </p:cNvPr>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5" name="Line 50">
              <a:extLst>
                <a:ext uri="{FF2B5EF4-FFF2-40B4-BE49-F238E27FC236}">
                  <a16:creationId xmlns:a16="http://schemas.microsoft.com/office/drawing/2014/main" id="{6A8F74DD-6DB1-4302-84EE-BCFC07B724F9}"/>
                </a:ext>
              </a:extLst>
            </p:cNvPr>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6" name="Line 51">
              <a:extLst>
                <a:ext uri="{FF2B5EF4-FFF2-40B4-BE49-F238E27FC236}">
                  <a16:creationId xmlns:a16="http://schemas.microsoft.com/office/drawing/2014/main" id="{B5D14383-B8A3-4429-B4DC-5779E7586F7E}"/>
                </a:ext>
              </a:extLst>
            </p:cNvPr>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7" name="Freeform 52">
              <a:extLst>
                <a:ext uri="{FF2B5EF4-FFF2-40B4-BE49-F238E27FC236}">
                  <a16:creationId xmlns:a16="http://schemas.microsoft.com/office/drawing/2014/main" id="{2821BAB8-C8D0-4DCB-A98D-30C1F16BA44D}"/>
                </a:ext>
              </a:extLst>
            </p:cNvPr>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8" name="Line 53">
              <a:extLst>
                <a:ext uri="{FF2B5EF4-FFF2-40B4-BE49-F238E27FC236}">
                  <a16:creationId xmlns:a16="http://schemas.microsoft.com/office/drawing/2014/main" id="{5976A11E-27BF-4915-A981-30053C5875D4}"/>
                </a:ext>
              </a:extLst>
            </p:cNvPr>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79" name="Freeform 54">
              <a:extLst>
                <a:ext uri="{FF2B5EF4-FFF2-40B4-BE49-F238E27FC236}">
                  <a16:creationId xmlns:a16="http://schemas.microsoft.com/office/drawing/2014/main" id="{381B65C8-963D-4411-92C7-CE6B45F5CFCC}"/>
                </a:ext>
              </a:extLst>
            </p:cNvPr>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0" name="Line 55">
              <a:extLst>
                <a:ext uri="{FF2B5EF4-FFF2-40B4-BE49-F238E27FC236}">
                  <a16:creationId xmlns:a16="http://schemas.microsoft.com/office/drawing/2014/main" id="{3757E9FC-D94D-425A-AC44-14816ABE206E}"/>
                </a:ext>
              </a:extLst>
            </p:cNvPr>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1" name="Freeform 56">
              <a:extLst>
                <a:ext uri="{FF2B5EF4-FFF2-40B4-BE49-F238E27FC236}">
                  <a16:creationId xmlns:a16="http://schemas.microsoft.com/office/drawing/2014/main" id="{4D9A6309-4833-4437-92DF-1506846A1A0C}"/>
                </a:ext>
              </a:extLst>
            </p:cNvPr>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82" name="Regnskapsfoerer" hidden="1">
            <a:extLst>
              <a:ext uri="{FF2B5EF4-FFF2-40B4-BE49-F238E27FC236}">
                <a16:creationId xmlns:a16="http://schemas.microsoft.com/office/drawing/2014/main" id="{B43A09BC-03DF-4F77-8A4E-FC5B0B6EDFEE}"/>
              </a:ext>
            </a:extLst>
          </p:cNvPr>
          <p:cNvGrpSpPr>
            <a:grpSpLocks noChangeAspect="1"/>
          </p:cNvGrpSpPr>
          <p:nvPr userDrawn="1"/>
        </p:nvGrpSpPr>
        <p:grpSpPr bwMode="auto">
          <a:xfrm>
            <a:off x="3099140" y="1460439"/>
            <a:ext cx="660912" cy="910557"/>
            <a:chOff x="3989" y="190"/>
            <a:chExt cx="555" cy="770"/>
          </a:xfrm>
        </p:grpSpPr>
        <p:sp>
          <p:nvSpPr>
            <p:cNvPr id="183" name="Freeform 60">
              <a:extLst>
                <a:ext uri="{FF2B5EF4-FFF2-40B4-BE49-F238E27FC236}">
                  <a16:creationId xmlns:a16="http://schemas.microsoft.com/office/drawing/2014/main" id="{4787808A-071D-4784-9DEB-48743A4B41DF}"/>
                </a:ext>
              </a:extLst>
            </p:cNvPr>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4" name="Oval 61">
              <a:extLst>
                <a:ext uri="{FF2B5EF4-FFF2-40B4-BE49-F238E27FC236}">
                  <a16:creationId xmlns:a16="http://schemas.microsoft.com/office/drawing/2014/main" id="{77736844-0BFF-4198-91C7-9A2C60F55E02}"/>
                </a:ext>
              </a:extLst>
            </p:cNvPr>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5" name="Freeform 62">
              <a:extLst>
                <a:ext uri="{FF2B5EF4-FFF2-40B4-BE49-F238E27FC236}">
                  <a16:creationId xmlns:a16="http://schemas.microsoft.com/office/drawing/2014/main" id="{EF411040-4B7D-450E-8563-11D9A467A581}"/>
                </a:ext>
              </a:extLst>
            </p:cNvPr>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86" name="Pensjonist" hidden="1">
            <a:extLst>
              <a:ext uri="{FF2B5EF4-FFF2-40B4-BE49-F238E27FC236}">
                <a16:creationId xmlns:a16="http://schemas.microsoft.com/office/drawing/2014/main" id="{8AF49EAD-13BE-48AA-8478-800D879A37FE}"/>
              </a:ext>
            </a:extLst>
          </p:cNvPr>
          <p:cNvGrpSpPr>
            <a:grpSpLocks noChangeAspect="1"/>
          </p:cNvGrpSpPr>
          <p:nvPr userDrawn="1"/>
        </p:nvGrpSpPr>
        <p:grpSpPr bwMode="auto">
          <a:xfrm>
            <a:off x="3099736" y="1423779"/>
            <a:ext cx="659721" cy="983874"/>
            <a:chOff x="4341" y="1057"/>
            <a:chExt cx="554" cy="832"/>
          </a:xfrm>
        </p:grpSpPr>
        <p:sp>
          <p:nvSpPr>
            <p:cNvPr id="187" name="Freeform 66">
              <a:extLst>
                <a:ext uri="{FF2B5EF4-FFF2-40B4-BE49-F238E27FC236}">
                  <a16:creationId xmlns:a16="http://schemas.microsoft.com/office/drawing/2014/main" id="{49586767-580B-40A7-84C0-BB5FDDEECF65}"/>
                </a:ext>
              </a:extLst>
            </p:cNvPr>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8" name="Oval 67">
              <a:extLst>
                <a:ext uri="{FF2B5EF4-FFF2-40B4-BE49-F238E27FC236}">
                  <a16:creationId xmlns:a16="http://schemas.microsoft.com/office/drawing/2014/main" id="{A75ECEF4-53C3-48DD-B0C9-19CEB2C4BADB}"/>
                </a:ext>
              </a:extLst>
            </p:cNvPr>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89" name="Freeform 68">
              <a:extLst>
                <a:ext uri="{FF2B5EF4-FFF2-40B4-BE49-F238E27FC236}">
                  <a16:creationId xmlns:a16="http://schemas.microsoft.com/office/drawing/2014/main" id="{B19EB785-3B16-473C-86FF-E96685BDF629}"/>
                </a:ext>
              </a:extLst>
            </p:cNvPr>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190" name="Pengeoverfoering" hidden="1">
            <a:extLst>
              <a:ext uri="{FF2B5EF4-FFF2-40B4-BE49-F238E27FC236}">
                <a16:creationId xmlns:a16="http://schemas.microsoft.com/office/drawing/2014/main" id="{12716B19-ABFE-4C1E-9446-E20DA9C54C06}"/>
              </a:ext>
            </a:extLst>
          </p:cNvPr>
          <p:cNvGrpSpPr>
            <a:grpSpLocks noChangeAspect="1"/>
          </p:cNvGrpSpPr>
          <p:nvPr userDrawn="1"/>
        </p:nvGrpSpPr>
        <p:grpSpPr bwMode="auto">
          <a:xfrm>
            <a:off x="2678181" y="1318534"/>
            <a:ext cx="1502830" cy="1194367"/>
            <a:chOff x="2307" y="187"/>
            <a:chExt cx="1262" cy="1010"/>
          </a:xfrm>
        </p:grpSpPr>
        <p:sp>
          <p:nvSpPr>
            <p:cNvPr id="191" name="Freeform 72">
              <a:extLst>
                <a:ext uri="{FF2B5EF4-FFF2-40B4-BE49-F238E27FC236}">
                  <a16:creationId xmlns:a16="http://schemas.microsoft.com/office/drawing/2014/main" id="{A1AF3F27-F481-44F5-8D2B-2A261D27DC49}"/>
                </a:ext>
              </a:extLst>
            </p:cNvPr>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2" name="Freeform 73">
              <a:extLst>
                <a:ext uri="{FF2B5EF4-FFF2-40B4-BE49-F238E27FC236}">
                  <a16:creationId xmlns:a16="http://schemas.microsoft.com/office/drawing/2014/main" id="{2092F451-F9ED-46D2-BCA2-BD68B01CD9A8}"/>
                </a:ext>
              </a:extLst>
            </p:cNvPr>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3" name="Freeform 74">
              <a:extLst>
                <a:ext uri="{FF2B5EF4-FFF2-40B4-BE49-F238E27FC236}">
                  <a16:creationId xmlns:a16="http://schemas.microsoft.com/office/drawing/2014/main" id="{9CFA1514-C9BE-47B0-BD08-3F6B7D51E802}"/>
                </a:ext>
              </a:extLst>
            </p:cNvPr>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4" name="Freeform 75">
              <a:extLst>
                <a:ext uri="{FF2B5EF4-FFF2-40B4-BE49-F238E27FC236}">
                  <a16:creationId xmlns:a16="http://schemas.microsoft.com/office/drawing/2014/main" id="{640E61B7-5CAE-4937-A391-6A3B05DC3E62}"/>
                </a:ext>
              </a:extLst>
            </p:cNvPr>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5" name="Freeform 76">
              <a:extLst>
                <a:ext uri="{FF2B5EF4-FFF2-40B4-BE49-F238E27FC236}">
                  <a16:creationId xmlns:a16="http://schemas.microsoft.com/office/drawing/2014/main" id="{EAAA384F-1EEC-4E85-BE29-73FB949B2E6E}"/>
                </a:ext>
              </a:extLst>
            </p:cNvPr>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6" name="Freeform 77">
              <a:extLst>
                <a:ext uri="{FF2B5EF4-FFF2-40B4-BE49-F238E27FC236}">
                  <a16:creationId xmlns:a16="http://schemas.microsoft.com/office/drawing/2014/main" id="{D7648F64-0490-4773-9CC6-FE8116F3861B}"/>
                </a:ext>
              </a:extLst>
            </p:cNvPr>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7" name="Freeform 78">
              <a:extLst>
                <a:ext uri="{FF2B5EF4-FFF2-40B4-BE49-F238E27FC236}">
                  <a16:creationId xmlns:a16="http://schemas.microsoft.com/office/drawing/2014/main" id="{0D5AD010-D4B0-46A4-9B26-FE1AD1BFFCB9}"/>
                </a:ext>
              </a:extLst>
            </p:cNvPr>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8" name="Freeform 79">
              <a:extLst>
                <a:ext uri="{FF2B5EF4-FFF2-40B4-BE49-F238E27FC236}">
                  <a16:creationId xmlns:a16="http://schemas.microsoft.com/office/drawing/2014/main" id="{F60BD4CE-9561-4580-93F8-DA6390C58D28}"/>
                </a:ext>
              </a:extLst>
            </p:cNvPr>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199" name="Freeform 80">
              <a:extLst>
                <a:ext uri="{FF2B5EF4-FFF2-40B4-BE49-F238E27FC236}">
                  <a16:creationId xmlns:a16="http://schemas.microsoft.com/office/drawing/2014/main" id="{5A33F7C1-E113-4D56-B8FF-658F74C99F7C}"/>
                </a:ext>
              </a:extLst>
            </p:cNvPr>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0" name="Oval 81">
              <a:extLst>
                <a:ext uri="{FF2B5EF4-FFF2-40B4-BE49-F238E27FC236}">
                  <a16:creationId xmlns:a16="http://schemas.microsoft.com/office/drawing/2014/main" id="{56862404-2146-435D-89F4-8D2EA02E7DCA}"/>
                </a:ext>
              </a:extLst>
            </p:cNvPr>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1" name="Oval 82">
              <a:extLst>
                <a:ext uri="{FF2B5EF4-FFF2-40B4-BE49-F238E27FC236}">
                  <a16:creationId xmlns:a16="http://schemas.microsoft.com/office/drawing/2014/main" id="{32C329E3-3A12-495D-94E5-0C5DCD25AA8D}"/>
                </a:ext>
              </a:extLst>
            </p:cNvPr>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2" name="Freeform 83">
              <a:extLst>
                <a:ext uri="{FF2B5EF4-FFF2-40B4-BE49-F238E27FC236}">
                  <a16:creationId xmlns:a16="http://schemas.microsoft.com/office/drawing/2014/main" id="{2CBB7386-0427-4486-B2F0-A6ECB9876341}"/>
                </a:ext>
              </a:extLst>
            </p:cNvPr>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3" name="Freeform 84">
              <a:extLst>
                <a:ext uri="{FF2B5EF4-FFF2-40B4-BE49-F238E27FC236}">
                  <a16:creationId xmlns:a16="http://schemas.microsoft.com/office/drawing/2014/main" id="{4E8CA18E-70C0-4F1C-8977-85AB6519DD08}"/>
                </a:ext>
              </a:extLst>
            </p:cNvPr>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4" name="Freeform 85">
              <a:extLst>
                <a:ext uri="{FF2B5EF4-FFF2-40B4-BE49-F238E27FC236}">
                  <a16:creationId xmlns:a16="http://schemas.microsoft.com/office/drawing/2014/main" id="{2E91CC9D-9702-493E-A9CB-BDEBE07A2B34}"/>
                </a:ext>
              </a:extLst>
            </p:cNvPr>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5" name="Freeform 86">
              <a:extLst>
                <a:ext uri="{FF2B5EF4-FFF2-40B4-BE49-F238E27FC236}">
                  <a16:creationId xmlns:a16="http://schemas.microsoft.com/office/drawing/2014/main" id="{CFE4B132-ACAF-425B-A492-71AAF76B4F17}"/>
                </a:ext>
              </a:extLst>
            </p:cNvPr>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6" name="Freeform 87">
              <a:extLst>
                <a:ext uri="{FF2B5EF4-FFF2-40B4-BE49-F238E27FC236}">
                  <a16:creationId xmlns:a16="http://schemas.microsoft.com/office/drawing/2014/main" id="{95571FDF-33AE-452D-8255-9CFDA107C79F}"/>
                </a:ext>
              </a:extLst>
            </p:cNvPr>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7" name="Freeform 88">
              <a:extLst>
                <a:ext uri="{FF2B5EF4-FFF2-40B4-BE49-F238E27FC236}">
                  <a16:creationId xmlns:a16="http://schemas.microsoft.com/office/drawing/2014/main" id="{6E276F94-12BF-4AA8-975F-A574C8A615B4}"/>
                </a:ext>
              </a:extLst>
            </p:cNvPr>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8" name="Oval 89">
              <a:extLst>
                <a:ext uri="{FF2B5EF4-FFF2-40B4-BE49-F238E27FC236}">
                  <a16:creationId xmlns:a16="http://schemas.microsoft.com/office/drawing/2014/main" id="{D81965D0-A036-43B0-8069-B6326B9EE2CB}"/>
                </a:ext>
              </a:extLst>
            </p:cNvPr>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09" name="Oval 90">
              <a:extLst>
                <a:ext uri="{FF2B5EF4-FFF2-40B4-BE49-F238E27FC236}">
                  <a16:creationId xmlns:a16="http://schemas.microsoft.com/office/drawing/2014/main" id="{5DD6665B-6AC7-4057-AD3A-92EC594B2284}"/>
                </a:ext>
              </a:extLst>
            </p:cNvPr>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0" name="Freeform 91">
              <a:extLst>
                <a:ext uri="{FF2B5EF4-FFF2-40B4-BE49-F238E27FC236}">
                  <a16:creationId xmlns:a16="http://schemas.microsoft.com/office/drawing/2014/main" id="{795C7FCA-7790-4820-B964-467E827CD810}"/>
                </a:ext>
              </a:extLst>
            </p:cNvPr>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1" name="Freeform 92">
              <a:extLst>
                <a:ext uri="{FF2B5EF4-FFF2-40B4-BE49-F238E27FC236}">
                  <a16:creationId xmlns:a16="http://schemas.microsoft.com/office/drawing/2014/main" id="{DE2CBD78-8DEE-4FEF-8C6F-C177BE41FD25}"/>
                </a:ext>
              </a:extLst>
            </p:cNvPr>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2" name="Freeform 93">
              <a:extLst>
                <a:ext uri="{FF2B5EF4-FFF2-40B4-BE49-F238E27FC236}">
                  <a16:creationId xmlns:a16="http://schemas.microsoft.com/office/drawing/2014/main" id="{67C21D18-1937-4A4A-A2CC-4DD35D70BC56}"/>
                </a:ext>
              </a:extLst>
            </p:cNvPr>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3" name="Freeform 94">
              <a:extLst>
                <a:ext uri="{FF2B5EF4-FFF2-40B4-BE49-F238E27FC236}">
                  <a16:creationId xmlns:a16="http://schemas.microsoft.com/office/drawing/2014/main" id="{7F093E38-6D7D-4FF3-8AF9-9B44FAE3EFA1}"/>
                </a:ext>
              </a:extLst>
            </p:cNvPr>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4" name="Freeform 95">
              <a:extLst>
                <a:ext uri="{FF2B5EF4-FFF2-40B4-BE49-F238E27FC236}">
                  <a16:creationId xmlns:a16="http://schemas.microsoft.com/office/drawing/2014/main" id="{8C5ED9D9-BCB3-489D-8B55-8C6BD5BF540F}"/>
                </a:ext>
              </a:extLst>
            </p:cNvPr>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5" name="Freeform 96">
              <a:extLst>
                <a:ext uri="{FF2B5EF4-FFF2-40B4-BE49-F238E27FC236}">
                  <a16:creationId xmlns:a16="http://schemas.microsoft.com/office/drawing/2014/main" id="{830A655D-26B0-4F63-BEFE-8FEAC85076E2}"/>
                </a:ext>
              </a:extLst>
            </p:cNvPr>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6" name="Freeform 97">
              <a:extLst>
                <a:ext uri="{FF2B5EF4-FFF2-40B4-BE49-F238E27FC236}">
                  <a16:creationId xmlns:a16="http://schemas.microsoft.com/office/drawing/2014/main" id="{EF6E2ECC-E2C7-48B3-A48A-3ED8966E82F9}"/>
                </a:ext>
              </a:extLst>
            </p:cNvPr>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7" name="Freeform 98">
              <a:extLst>
                <a:ext uri="{FF2B5EF4-FFF2-40B4-BE49-F238E27FC236}">
                  <a16:creationId xmlns:a16="http://schemas.microsoft.com/office/drawing/2014/main" id="{035446C1-3688-4868-B583-0214ED1A5847}"/>
                </a:ext>
              </a:extLst>
            </p:cNvPr>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8" name="Freeform 99">
              <a:extLst>
                <a:ext uri="{FF2B5EF4-FFF2-40B4-BE49-F238E27FC236}">
                  <a16:creationId xmlns:a16="http://schemas.microsoft.com/office/drawing/2014/main" id="{CA44E0B7-72FC-4319-AA43-C7C57C84BEB9}"/>
                </a:ext>
              </a:extLst>
            </p:cNvPr>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19" name="Freeform 100">
              <a:extLst>
                <a:ext uri="{FF2B5EF4-FFF2-40B4-BE49-F238E27FC236}">
                  <a16:creationId xmlns:a16="http://schemas.microsoft.com/office/drawing/2014/main" id="{D8DB2CC8-FD4E-4114-AAFD-EB274E85CC99}"/>
                </a:ext>
              </a:extLst>
            </p:cNvPr>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0" name="Freeform 101">
              <a:extLst>
                <a:ext uri="{FF2B5EF4-FFF2-40B4-BE49-F238E27FC236}">
                  <a16:creationId xmlns:a16="http://schemas.microsoft.com/office/drawing/2014/main" id="{2D1DE1D5-633A-4A4C-B1DA-A36DF67DDA96}"/>
                </a:ext>
              </a:extLst>
            </p:cNvPr>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1" name="Freeform 102">
              <a:extLst>
                <a:ext uri="{FF2B5EF4-FFF2-40B4-BE49-F238E27FC236}">
                  <a16:creationId xmlns:a16="http://schemas.microsoft.com/office/drawing/2014/main" id="{1F725226-40E9-4426-949A-47BB0791584F}"/>
                </a:ext>
              </a:extLst>
            </p:cNvPr>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2" name="Oval 103">
              <a:extLst>
                <a:ext uri="{FF2B5EF4-FFF2-40B4-BE49-F238E27FC236}">
                  <a16:creationId xmlns:a16="http://schemas.microsoft.com/office/drawing/2014/main" id="{D9E9A092-109B-4809-99D2-98A9B7C2511B}"/>
                </a:ext>
              </a:extLst>
            </p:cNvPr>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3" name="Oval 104">
              <a:extLst>
                <a:ext uri="{FF2B5EF4-FFF2-40B4-BE49-F238E27FC236}">
                  <a16:creationId xmlns:a16="http://schemas.microsoft.com/office/drawing/2014/main" id="{A0A32E78-97BB-4B9C-AC1B-845A384E59B8}"/>
                </a:ext>
              </a:extLst>
            </p:cNvPr>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24" name="Nettbrett" hidden="1">
            <a:extLst>
              <a:ext uri="{FF2B5EF4-FFF2-40B4-BE49-F238E27FC236}">
                <a16:creationId xmlns:a16="http://schemas.microsoft.com/office/drawing/2014/main" id="{049676B1-2F1F-46D8-BD9D-4414CC254FE0}"/>
              </a:ext>
            </a:extLst>
          </p:cNvPr>
          <p:cNvGrpSpPr>
            <a:grpSpLocks noChangeAspect="1"/>
          </p:cNvGrpSpPr>
          <p:nvPr userDrawn="1"/>
        </p:nvGrpSpPr>
        <p:grpSpPr bwMode="auto">
          <a:xfrm>
            <a:off x="2600181" y="1407815"/>
            <a:ext cx="1658829" cy="1015803"/>
            <a:chOff x="2517" y="961"/>
            <a:chExt cx="1393" cy="859"/>
          </a:xfrm>
        </p:grpSpPr>
        <p:sp>
          <p:nvSpPr>
            <p:cNvPr id="225" name="Freeform 108">
              <a:extLst>
                <a:ext uri="{FF2B5EF4-FFF2-40B4-BE49-F238E27FC236}">
                  <a16:creationId xmlns:a16="http://schemas.microsoft.com/office/drawing/2014/main" id="{CF494BA1-1354-470D-9175-69BD825D4CB8}"/>
                </a:ext>
              </a:extLst>
            </p:cNvPr>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6" name="Rectangle 109">
              <a:extLst>
                <a:ext uri="{FF2B5EF4-FFF2-40B4-BE49-F238E27FC236}">
                  <a16:creationId xmlns:a16="http://schemas.microsoft.com/office/drawing/2014/main" id="{C928E41C-5902-4839-BC9E-2E46537C7346}"/>
                </a:ext>
              </a:extLst>
            </p:cNvPr>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27" name="Oval 110">
              <a:extLst>
                <a:ext uri="{FF2B5EF4-FFF2-40B4-BE49-F238E27FC236}">
                  <a16:creationId xmlns:a16="http://schemas.microsoft.com/office/drawing/2014/main" id="{789D1B33-E5C9-48DE-ADC6-37BBF7472FBB}"/>
                </a:ext>
              </a:extLst>
            </p:cNvPr>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28" name="Mobil" hidden="1">
            <a:extLst>
              <a:ext uri="{FF2B5EF4-FFF2-40B4-BE49-F238E27FC236}">
                <a16:creationId xmlns:a16="http://schemas.microsoft.com/office/drawing/2014/main" id="{4058A067-E792-4992-AA4E-BFC4446F84EE}"/>
              </a:ext>
            </a:extLst>
          </p:cNvPr>
          <p:cNvGrpSpPr>
            <a:grpSpLocks noChangeAspect="1"/>
          </p:cNvGrpSpPr>
          <p:nvPr userDrawn="1"/>
        </p:nvGrpSpPr>
        <p:grpSpPr bwMode="auto">
          <a:xfrm>
            <a:off x="2978866" y="1189636"/>
            <a:ext cx="901460" cy="1452160"/>
            <a:chOff x="1351" y="832"/>
            <a:chExt cx="757" cy="1228"/>
          </a:xfrm>
        </p:grpSpPr>
        <p:sp>
          <p:nvSpPr>
            <p:cNvPr id="229" name="Freeform 114">
              <a:extLst>
                <a:ext uri="{FF2B5EF4-FFF2-40B4-BE49-F238E27FC236}">
                  <a16:creationId xmlns:a16="http://schemas.microsoft.com/office/drawing/2014/main" id="{7AE06BE7-9137-4A86-B15F-054920F93941}"/>
                </a:ext>
              </a:extLst>
            </p:cNvPr>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0" name="Rectangle 115">
              <a:extLst>
                <a:ext uri="{FF2B5EF4-FFF2-40B4-BE49-F238E27FC236}">
                  <a16:creationId xmlns:a16="http://schemas.microsoft.com/office/drawing/2014/main" id="{57EA63BC-9386-4648-A4B8-4C0EFD493607}"/>
                </a:ext>
              </a:extLst>
            </p:cNvPr>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1" name="Oval 116">
              <a:extLst>
                <a:ext uri="{FF2B5EF4-FFF2-40B4-BE49-F238E27FC236}">
                  <a16:creationId xmlns:a16="http://schemas.microsoft.com/office/drawing/2014/main" id="{0E18B0D4-91CC-4080-9E92-89F07D3191CA}"/>
                </a:ext>
              </a:extLst>
            </p:cNvPr>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32" name="Institusjon" hidden="1">
            <a:extLst>
              <a:ext uri="{FF2B5EF4-FFF2-40B4-BE49-F238E27FC236}">
                <a16:creationId xmlns:a16="http://schemas.microsoft.com/office/drawing/2014/main" id="{4AB9083A-CE1A-49C1-AEEA-B0932FD4BCE3}"/>
              </a:ext>
            </a:extLst>
          </p:cNvPr>
          <p:cNvGrpSpPr>
            <a:grpSpLocks noChangeAspect="1"/>
          </p:cNvGrpSpPr>
          <p:nvPr userDrawn="1"/>
        </p:nvGrpSpPr>
        <p:grpSpPr bwMode="auto">
          <a:xfrm>
            <a:off x="2557311" y="1448020"/>
            <a:ext cx="1744569" cy="935388"/>
            <a:chOff x="2465" y="1978"/>
            <a:chExt cx="1465" cy="791"/>
          </a:xfrm>
        </p:grpSpPr>
        <p:sp>
          <p:nvSpPr>
            <p:cNvPr id="233" name="Freeform 120">
              <a:extLst>
                <a:ext uri="{FF2B5EF4-FFF2-40B4-BE49-F238E27FC236}">
                  <a16:creationId xmlns:a16="http://schemas.microsoft.com/office/drawing/2014/main" id="{5D99496E-CB30-4EE2-B31B-49ACFF77E1C9}"/>
                </a:ext>
              </a:extLst>
            </p:cNvPr>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4" name="Freeform 121">
              <a:extLst>
                <a:ext uri="{FF2B5EF4-FFF2-40B4-BE49-F238E27FC236}">
                  <a16:creationId xmlns:a16="http://schemas.microsoft.com/office/drawing/2014/main" id="{DC2D5512-3E01-414C-ACF3-0C67E61D949B}"/>
                </a:ext>
              </a:extLst>
            </p:cNvPr>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5" name="Rectangle 122">
              <a:extLst>
                <a:ext uri="{FF2B5EF4-FFF2-40B4-BE49-F238E27FC236}">
                  <a16:creationId xmlns:a16="http://schemas.microsoft.com/office/drawing/2014/main" id="{FCC2227E-5D4F-46ED-8DF5-2169E2A977BB}"/>
                </a:ext>
              </a:extLst>
            </p:cNvPr>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6" name="Freeform 123">
              <a:extLst>
                <a:ext uri="{FF2B5EF4-FFF2-40B4-BE49-F238E27FC236}">
                  <a16:creationId xmlns:a16="http://schemas.microsoft.com/office/drawing/2014/main" id="{7C2252B7-364E-4F72-A3D5-E938F976CCFA}"/>
                </a:ext>
              </a:extLst>
            </p:cNvPr>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7" name="Freeform 124">
              <a:extLst>
                <a:ext uri="{FF2B5EF4-FFF2-40B4-BE49-F238E27FC236}">
                  <a16:creationId xmlns:a16="http://schemas.microsoft.com/office/drawing/2014/main" id="{A6BC852C-67B4-4DF4-9051-DA34A7DDB5CF}"/>
                </a:ext>
              </a:extLst>
            </p:cNvPr>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8" name="Freeform 125">
              <a:extLst>
                <a:ext uri="{FF2B5EF4-FFF2-40B4-BE49-F238E27FC236}">
                  <a16:creationId xmlns:a16="http://schemas.microsoft.com/office/drawing/2014/main" id="{CEE6A592-571C-419E-8E46-0422421CD787}"/>
                </a:ext>
              </a:extLst>
            </p:cNvPr>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39" name="Freeform 126">
              <a:extLst>
                <a:ext uri="{FF2B5EF4-FFF2-40B4-BE49-F238E27FC236}">
                  <a16:creationId xmlns:a16="http://schemas.microsoft.com/office/drawing/2014/main" id="{EF673537-6376-4C3B-96B0-F5F567E4F7E0}"/>
                </a:ext>
              </a:extLst>
            </p:cNvPr>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0" name="Freeform 127">
              <a:extLst>
                <a:ext uri="{FF2B5EF4-FFF2-40B4-BE49-F238E27FC236}">
                  <a16:creationId xmlns:a16="http://schemas.microsoft.com/office/drawing/2014/main" id="{BD25E58E-406F-4E21-A6DE-6FF77038108A}"/>
                </a:ext>
              </a:extLst>
            </p:cNvPr>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1" name="Freeform 128">
              <a:extLst>
                <a:ext uri="{FF2B5EF4-FFF2-40B4-BE49-F238E27FC236}">
                  <a16:creationId xmlns:a16="http://schemas.microsoft.com/office/drawing/2014/main" id="{28F2C254-47C0-4DF8-AF1E-5673711644E0}"/>
                </a:ext>
              </a:extLst>
            </p:cNvPr>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2" name="Freeform 129">
              <a:extLst>
                <a:ext uri="{FF2B5EF4-FFF2-40B4-BE49-F238E27FC236}">
                  <a16:creationId xmlns:a16="http://schemas.microsoft.com/office/drawing/2014/main" id="{2A7FEE9D-D71B-42FE-865B-517E2D0E1DE9}"/>
                </a:ext>
              </a:extLst>
            </p:cNvPr>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3" name="Freeform 130">
              <a:extLst>
                <a:ext uri="{FF2B5EF4-FFF2-40B4-BE49-F238E27FC236}">
                  <a16:creationId xmlns:a16="http://schemas.microsoft.com/office/drawing/2014/main" id="{CDEFAD61-37F9-41EE-833E-94C456D9EEEB}"/>
                </a:ext>
              </a:extLst>
            </p:cNvPr>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4" name="Freeform 131">
              <a:extLst>
                <a:ext uri="{FF2B5EF4-FFF2-40B4-BE49-F238E27FC236}">
                  <a16:creationId xmlns:a16="http://schemas.microsoft.com/office/drawing/2014/main" id="{C2B436C6-9A2C-405B-A263-AA4182527433}"/>
                </a:ext>
              </a:extLst>
            </p:cNvPr>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5" name="Freeform 132">
              <a:extLst>
                <a:ext uri="{FF2B5EF4-FFF2-40B4-BE49-F238E27FC236}">
                  <a16:creationId xmlns:a16="http://schemas.microsoft.com/office/drawing/2014/main" id="{72887A4A-496E-4968-B135-663F2758FB72}"/>
                </a:ext>
              </a:extLst>
            </p:cNvPr>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6" name="Freeform 133">
              <a:extLst>
                <a:ext uri="{FF2B5EF4-FFF2-40B4-BE49-F238E27FC236}">
                  <a16:creationId xmlns:a16="http://schemas.microsoft.com/office/drawing/2014/main" id="{E1F43F7F-C1F9-43DC-8263-3EF9866D7B06}"/>
                </a:ext>
              </a:extLst>
            </p:cNvPr>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7" name="Freeform 134">
              <a:extLst>
                <a:ext uri="{FF2B5EF4-FFF2-40B4-BE49-F238E27FC236}">
                  <a16:creationId xmlns:a16="http://schemas.microsoft.com/office/drawing/2014/main" id="{BD750EF2-B4F5-45CF-A575-9558C628DC2B}"/>
                </a:ext>
              </a:extLst>
            </p:cNvPr>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8" name="Freeform 135">
              <a:extLst>
                <a:ext uri="{FF2B5EF4-FFF2-40B4-BE49-F238E27FC236}">
                  <a16:creationId xmlns:a16="http://schemas.microsoft.com/office/drawing/2014/main" id="{FE1A7A90-030A-48FC-AF1D-16453E0851AD}"/>
                </a:ext>
              </a:extLst>
            </p:cNvPr>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49" name="Freeform 136">
              <a:extLst>
                <a:ext uri="{FF2B5EF4-FFF2-40B4-BE49-F238E27FC236}">
                  <a16:creationId xmlns:a16="http://schemas.microsoft.com/office/drawing/2014/main" id="{53BA1776-4EEF-4872-A15E-036980B7CA07}"/>
                </a:ext>
              </a:extLst>
            </p:cNvPr>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0" name="Freeform 137">
              <a:extLst>
                <a:ext uri="{FF2B5EF4-FFF2-40B4-BE49-F238E27FC236}">
                  <a16:creationId xmlns:a16="http://schemas.microsoft.com/office/drawing/2014/main" id="{E4BD9F58-CF3F-4AC3-9C0C-673D05441BF7}"/>
                </a:ext>
              </a:extLst>
            </p:cNvPr>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1" name="Freeform 138">
              <a:extLst>
                <a:ext uri="{FF2B5EF4-FFF2-40B4-BE49-F238E27FC236}">
                  <a16:creationId xmlns:a16="http://schemas.microsoft.com/office/drawing/2014/main" id="{DAB048DC-6A6A-4C02-A552-92518C4C1BA5}"/>
                </a:ext>
              </a:extLst>
            </p:cNvPr>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2" name="Freeform 139">
              <a:extLst>
                <a:ext uri="{FF2B5EF4-FFF2-40B4-BE49-F238E27FC236}">
                  <a16:creationId xmlns:a16="http://schemas.microsoft.com/office/drawing/2014/main" id="{F1B367D6-813E-4238-9A84-F8F9FB106EBC}"/>
                </a:ext>
              </a:extLst>
            </p:cNvPr>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3" name="Freeform 140">
              <a:extLst>
                <a:ext uri="{FF2B5EF4-FFF2-40B4-BE49-F238E27FC236}">
                  <a16:creationId xmlns:a16="http://schemas.microsoft.com/office/drawing/2014/main" id="{32E80BB3-F5E0-4EB8-ABD2-9F64FB143152}"/>
                </a:ext>
              </a:extLst>
            </p:cNvPr>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4" name="Line 141">
              <a:extLst>
                <a:ext uri="{FF2B5EF4-FFF2-40B4-BE49-F238E27FC236}">
                  <a16:creationId xmlns:a16="http://schemas.microsoft.com/office/drawing/2014/main" id="{4FFDB7D7-4A49-4A8D-9DB8-3FE479EC75EA}"/>
                </a:ext>
              </a:extLst>
            </p:cNvPr>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5" name="Line 142">
              <a:extLst>
                <a:ext uri="{FF2B5EF4-FFF2-40B4-BE49-F238E27FC236}">
                  <a16:creationId xmlns:a16="http://schemas.microsoft.com/office/drawing/2014/main" id="{586D79CB-AF58-4362-BBC4-43A6EDA9A2C3}"/>
                </a:ext>
              </a:extLst>
            </p:cNvPr>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6" name="Line 143">
              <a:extLst>
                <a:ext uri="{FF2B5EF4-FFF2-40B4-BE49-F238E27FC236}">
                  <a16:creationId xmlns:a16="http://schemas.microsoft.com/office/drawing/2014/main" id="{434FB864-61F8-4B88-89A0-27F1D898CE0A}"/>
                </a:ext>
              </a:extLst>
            </p:cNvPr>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57" name="Line 144">
              <a:extLst>
                <a:ext uri="{FF2B5EF4-FFF2-40B4-BE49-F238E27FC236}">
                  <a16:creationId xmlns:a16="http://schemas.microsoft.com/office/drawing/2014/main" id="{99941797-CDDF-4C04-8BDC-59551C2937B5}"/>
                </a:ext>
              </a:extLst>
            </p:cNvPr>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58" name="Handpenger" hidden="1">
            <a:extLst>
              <a:ext uri="{FF2B5EF4-FFF2-40B4-BE49-F238E27FC236}">
                <a16:creationId xmlns:a16="http://schemas.microsoft.com/office/drawing/2014/main" id="{294A7B7B-75CF-4AA0-A41D-31CE5D779708}"/>
              </a:ext>
            </a:extLst>
          </p:cNvPr>
          <p:cNvGrpSpPr>
            <a:grpSpLocks noChangeAspect="1"/>
          </p:cNvGrpSpPr>
          <p:nvPr userDrawn="1"/>
        </p:nvGrpSpPr>
        <p:grpSpPr bwMode="auto">
          <a:xfrm>
            <a:off x="2498365" y="1316759"/>
            <a:ext cx="1862461" cy="1197914"/>
            <a:chOff x="2178" y="950"/>
            <a:chExt cx="1564" cy="1013"/>
          </a:xfrm>
        </p:grpSpPr>
        <p:sp>
          <p:nvSpPr>
            <p:cNvPr id="259" name="Freeform 148">
              <a:extLst>
                <a:ext uri="{FF2B5EF4-FFF2-40B4-BE49-F238E27FC236}">
                  <a16:creationId xmlns:a16="http://schemas.microsoft.com/office/drawing/2014/main" id="{3F92E2E5-E5B3-4154-A4DF-12E1B85915E0}"/>
                </a:ext>
              </a:extLst>
            </p:cNvPr>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0" name="Rectangle 149">
              <a:extLst>
                <a:ext uri="{FF2B5EF4-FFF2-40B4-BE49-F238E27FC236}">
                  <a16:creationId xmlns:a16="http://schemas.microsoft.com/office/drawing/2014/main" id="{6D1271B5-03C6-4F91-B5E6-9521AD20DABD}"/>
                </a:ext>
              </a:extLst>
            </p:cNvPr>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1" name="Freeform 150">
              <a:extLst>
                <a:ext uri="{FF2B5EF4-FFF2-40B4-BE49-F238E27FC236}">
                  <a16:creationId xmlns:a16="http://schemas.microsoft.com/office/drawing/2014/main" id="{A360914C-8571-4C58-8C14-985C46BD06C6}"/>
                </a:ext>
              </a:extLst>
            </p:cNvPr>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2" name="Rectangle 151">
              <a:extLst>
                <a:ext uri="{FF2B5EF4-FFF2-40B4-BE49-F238E27FC236}">
                  <a16:creationId xmlns:a16="http://schemas.microsoft.com/office/drawing/2014/main" id="{388A86ED-A506-4E81-A758-51E66A2D4AA5}"/>
                </a:ext>
              </a:extLst>
            </p:cNvPr>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3" name="Freeform 152">
              <a:extLst>
                <a:ext uri="{FF2B5EF4-FFF2-40B4-BE49-F238E27FC236}">
                  <a16:creationId xmlns:a16="http://schemas.microsoft.com/office/drawing/2014/main" id="{C6E8F2BB-1C28-4387-962B-1162BC6EB45F}"/>
                </a:ext>
              </a:extLst>
            </p:cNvPr>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4" name="Freeform 153">
              <a:extLst>
                <a:ext uri="{FF2B5EF4-FFF2-40B4-BE49-F238E27FC236}">
                  <a16:creationId xmlns:a16="http://schemas.microsoft.com/office/drawing/2014/main" id="{8F3E3BBD-656E-4EEE-BA20-D6B9EE6B0E1F}"/>
                </a:ext>
              </a:extLst>
            </p:cNvPr>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5" name="Freeform 154">
              <a:extLst>
                <a:ext uri="{FF2B5EF4-FFF2-40B4-BE49-F238E27FC236}">
                  <a16:creationId xmlns:a16="http://schemas.microsoft.com/office/drawing/2014/main" id="{0A7528F7-16E9-4828-A99A-23D5A567DEB5}"/>
                </a:ext>
              </a:extLst>
            </p:cNvPr>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6" name="Freeform 155">
              <a:extLst>
                <a:ext uri="{FF2B5EF4-FFF2-40B4-BE49-F238E27FC236}">
                  <a16:creationId xmlns:a16="http://schemas.microsoft.com/office/drawing/2014/main" id="{8DCED4F1-7EAD-492B-9B75-9A57AE4CE78F}"/>
                </a:ext>
              </a:extLst>
            </p:cNvPr>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67" name="Familie" hidden="1">
            <a:extLst>
              <a:ext uri="{FF2B5EF4-FFF2-40B4-BE49-F238E27FC236}">
                <a16:creationId xmlns:a16="http://schemas.microsoft.com/office/drawing/2014/main" id="{8EE550A2-DD4B-42B7-BCE2-8C5824266C17}"/>
              </a:ext>
            </a:extLst>
          </p:cNvPr>
          <p:cNvGrpSpPr>
            <a:grpSpLocks noChangeAspect="1"/>
          </p:cNvGrpSpPr>
          <p:nvPr userDrawn="1"/>
        </p:nvGrpSpPr>
        <p:grpSpPr bwMode="auto">
          <a:xfrm>
            <a:off x="2807984" y="1406041"/>
            <a:ext cx="1243229" cy="1019351"/>
            <a:chOff x="2484" y="566"/>
            <a:chExt cx="1044" cy="862"/>
          </a:xfrm>
        </p:grpSpPr>
        <p:sp>
          <p:nvSpPr>
            <p:cNvPr id="268" name="Freeform 159">
              <a:extLst>
                <a:ext uri="{FF2B5EF4-FFF2-40B4-BE49-F238E27FC236}">
                  <a16:creationId xmlns:a16="http://schemas.microsoft.com/office/drawing/2014/main" id="{F83A0153-85E5-4E7E-AE80-3F02D6F39B4A}"/>
                </a:ext>
              </a:extLst>
            </p:cNvPr>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69" name="Oval 160">
              <a:extLst>
                <a:ext uri="{FF2B5EF4-FFF2-40B4-BE49-F238E27FC236}">
                  <a16:creationId xmlns:a16="http://schemas.microsoft.com/office/drawing/2014/main" id="{3ED8C7DF-6CDF-4F60-A3CE-BE5359F67AA6}"/>
                </a:ext>
              </a:extLst>
            </p:cNvPr>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0" name="Freeform 161">
              <a:extLst>
                <a:ext uri="{FF2B5EF4-FFF2-40B4-BE49-F238E27FC236}">
                  <a16:creationId xmlns:a16="http://schemas.microsoft.com/office/drawing/2014/main" id="{83998870-2F4A-4527-B548-9E52BE7E498D}"/>
                </a:ext>
              </a:extLst>
            </p:cNvPr>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1" name="Oval 162">
              <a:extLst>
                <a:ext uri="{FF2B5EF4-FFF2-40B4-BE49-F238E27FC236}">
                  <a16:creationId xmlns:a16="http://schemas.microsoft.com/office/drawing/2014/main" id="{479233B5-9D7F-41B5-9956-A95725793B6D}"/>
                </a:ext>
              </a:extLst>
            </p:cNvPr>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2" name="Freeform 163">
              <a:extLst>
                <a:ext uri="{FF2B5EF4-FFF2-40B4-BE49-F238E27FC236}">
                  <a16:creationId xmlns:a16="http://schemas.microsoft.com/office/drawing/2014/main" id="{C7CD0010-4BC6-40D0-A3A4-ADFF556E7385}"/>
                </a:ext>
              </a:extLst>
            </p:cNvPr>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3" name="Oval 164">
              <a:extLst>
                <a:ext uri="{FF2B5EF4-FFF2-40B4-BE49-F238E27FC236}">
                  <a16:creationId xmlns:a16="http://schemas.microsoft.com/office/drawing/2014/main" id="{FAE1BB2E-9012-4BCE-84EE-7103A3FC9E02}"/>
                </a:ext>
              </a:extLst>
            </p:cNvPr>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4" name="Freeform 165">
              <a:extLst>
                <a:ext uri="{FF2B5EF4-FFF2-40B4-BE49-F238E27FC236}">
                  <a16:creationId xmlns:a16="http://schemas.microsoft.com/office/drawing/2014/main" id="{FE6EDDE4-E627-4CB2-A09F-2511D9BC0CF2}"/>
                </a:ext>
              </a:extLst>
            </p:cNvPr>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5" name="Oval 166">
              <a:extLst>
                <a:ext uri="{FF2B5EF4-FFF2-40B4-BE49-F238E27FC236}">
                  <a16:creationId xmlns:a16="http://schemas.microsoft.com/office/drawing/2014/main" id="{76675777-713F-4CCB-98B7-79E270CD1F3A}"/>
                </a:ext>
              </a:extLst>
            </p:cNvPr>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6" name="Line 167">
              <a:extLst>
                <a:ext uri="{FF2B5EF4-FFF2-40B4-BE49-F238E27FC236}">
                  <a16:creationId xmlns:a16="http://schemas.microsoft.com/office/drawing/2014/main" id="{063CD08F-11B7-42D8-BFCE-7022F1866B3D}"/>
                </a:ext>
              </a:extLst>
            </p:cNvPr>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7" name="Line 168">
              <a:extLst>
                <a:ext uri="{FF2B5EF4-FFF2-40B4-BE49-F238E27FC236}">
                  <a16:creationId xmlns:a16="http://schemas.microsoft.com/office/drawing/2014/main" id="{25C278D1-03AB-47C9-B4A4-1B49C9430546}"/>
                </a:ext>
              </a:extLst>
            </p:cNvPr>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8" name="Line 169">
              <a:extLst>
                <a:ext uri="{FF2B5EF4-FFF2-40B4-BE49-F238E27FC236}">
                  <a16:creationId xmlns:a16="http://schemas.microsoft.com/office/drawing/2014/main" id="{3ECF3675-6663-4893-8F11-34F987430593}"/>
                </a:ext>
              </a:extLst>
            </p:cNvPr>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79" name="Freeform 170">
              <a:extLst>
                <a:ext uri="{FF2B5EF4-FFF2-40B4-BE49-F238E27FC236}">
                  <a16:creationId xmlns:a16="http://schemas.microsoft.com/office/drawing/2014/main" id="{C617AB11-E909-433D-8D41-035BF8D0895D}"/>
                </a:ext>
              </a:extLst>
            </p:cNvPr>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0" name="Freeform 171">
              <a:extLst>
                <a:ext uri="{FF2B5EF4-FFF2-40B4-BE49-F238E27FC236}">
                  <a16:creationId xmlns:a16="http://schemas.microsoft.com/office/drawing/2014/main" id="{52E1A9D8-D002-4F5A-AFCB-4A1D2877EBDF}"/>
                </a:ext>
              </a:extLst>
            </p:cNvPr>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1" name="Freeform 172">
              <a:extLst>
                <a:ext uri="{FF2B5EF4-FFF2-40B4-BE49-F238E27FC236}">
                  <a16:creationId xmlns:a16="http://schemas.microsoft.com/office/drawing/2014/main" id="{2EE3361F-DCB8-484E-AF24-89F76822C056}"/>
                </a:ext>
              </a:extLst>
            </p:cNvPr>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2" name="Freeform 173">
              <a:extLst>
                <a:ext uri="{FF2B5EF4-FFF2-40B4-BE49-F238E27FC236}">
                  <a16:creationId xmlns:a16="http://schemas.microsoft.com/office/drawing/2014/main" id="{D989C8E0-D51C-4AF8-9B1D-771DA753FB21}"/>
                </a:ext>
              </a:extLst>
            </p:cNvPr>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3" name="Freeform 174">
              <a:extLst>
                <a:ext uri="{FF2B5EF4-FFF2-40B4-BE49-F238E27FC236}">
                  <a16:creationId xmlns:a16="http://schemas.microsoft.com/office/drawing/2014/main" id="{4B8A9D79-D645-4833-9E86-2F2FEF9CC56C}"/>
                </a:ext>
              </a:extLst>
            </p:cNvPr>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84" name="Ektepar" hidden="1">
            <a:extLst>
              <a:ext uri="{FF2B5EF4-FFF2-40B4-BE49-F238E27FC236}">
                <a16:creationId xmlns:a16="http://schemas.microsoft.com/office/drawing/2014/main" id="{ACCEA79C-69C2-41A0-84A3-81A02D847C75}"/>
              </a:ext>
            </a:extLst>
          </p:cNvPr>
          <p:cNvGrpSpPr>
            <a:grpSpLocks noChangeAspect="1"/>
          </p:cNvGrpSpPr>
          <p:nvPr userDrawn="1"/>
        </p:nvGrpSpPr>
        <p:grpSpPr bwMode="auto">
          <a:xfrm>
            <a:off x="2848471" y="1433240"/>
            <a:ext cx="1162253" cy="964954"/>
            <a:chOff x="1152" y="582"/>
            <a:chExt cx="976" cy="816"/>
          </a:xfrm>
        </p:grpSpPr>
        <p:sp>
          <p:nvSpPr>
            <p:cNvPr id="285" name="Freeform 178">
              <a:extLst>
                <a:ext uri="{FF2B5EF4-FFF2-40B4-BE49-F238E27FC236}">
                  <a16:creationId xmlns:a16="http://schemas.microsoft.com/office/drawing/2014/main" id="{29F44E9E-E546-4C74-91AA-8E9D6A2B100B}"/>
                </a:ext>
              </a:extLst>
            </p:cNvPr>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6" name="Oval 179">
              <a:extLst>
                <a:ext uri="{FF2B5EF4-FFF2-40B4-BE49-F238E27FC236}">
                  <a16:creationId xmlns:a16="http://schemas.microsoft.com/office/drawing/2014/main" id="{A981DE44-1ECE-4F09-A8E3-C11A9DFD2C03}"/>
                </a:ext>
              </a:extLst>
            </p:cNvPr>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7" name="Freeform 180">
              <a:extLst>
                <a:ext uri="{FF2B5EF4-FFF2-40B4-BE49-F238E27FC236}">
                  <a16:creationId xmlns:a16="http://schemas.microsoft.com/office/drawing/2014/main" id="{7F16AB92-FE38-4DDD-BABA-7A84910F9E60}"/>
                </a:ext>
              </a:extLst>
            </p:cNvPr>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8" name="Freeform 181">
              <a:extLst>
                <a:ext uri="{FF2B5EF4-FFF2-40B4-BE49-F238E27FC236}">
                  <a16:creationId xmlns:a16="http://schemas.microsoft.com/office/drawing/2014/main" id="{05358836-00C4-4676-96D9-620154B7DC5A}"/>
                </a:ext>
              </a:extLst>
            </p:cNvPr>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89" name="Oval 182">
              <a:extLst>
                <a:ext uri="{FF2B5EF4-FFF2-40B4-BE49-F238E27FC236}">
                  <a16:creationId xmlns:a16="http://schemas.microsoft.com/office/drawing/2014/main" id="{47B3E720-B780-4EAF-885F-F93C57CAF4B5}"/>
                </a:ext>
              </a:extLst>
            </p:cNvPr>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0" name="Freeform 183">
              <a:extLst>
                <a:ext uri="{FF2B5EF4-FFF2-40B4-BE49-F238E27FC236}">
                  <a16:creationId xmlns:a16="http://schemas.microsoft.com/office/drawing/2014/main" id="{79B62053-6CCE-4A10-A677-DC6F42BF96C9}"/>
                </a:ext>
              </a:extLst>
            </p:cNvPr>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291" name="Byggekloss" hidden="1">
            <a:extLst>
              <a:ext uri="{FF2B5EF4-FFF2-40B4-BE49-F238E27FC236}">
                <a16:creationId xmlns:a16="http://schemas.microsoft.com/office/drawing/2014/main" id="{3584EB3C-C470-45B4-B493-A6CC649CC02F}"/>
              </a:ext>
            </a:extLst>
          </p:cNvPr>
          <p:cNvGrpSpPr>
            <a:grpSpLocks noChangeAspect="1"/>
          </p:cNvGrpSpPr>
          <p:nvPr userDrawn="1"/>
        </p:nvGrpSpPr>
        <p:grpSpPr bwMode="auto">
          <a:xfrm>
            <a:off x="2800839" y="1507151"/>
            <a:ext cx="1257519" cy="817136"/>
            <a:chOff x="2705" y="1748"/>
            <a:chExt cx="1056" cy="691"/>
          </a:xfrm>
        </p:grpSpPr>
        <p:sp>
          <p:nvSpPr>
            <p:cNvPr id="292" name="Rectangle 187">
              <a:extLst>
                <a:ext uri="{FF2B5EF4-FFF2-40B4-BE49-F238E27FC236}">
                  <a16:creationId xmlns:a16="http://schemas.microsoft.com/office/drawing/2014/main" id="{1351B2FE-43BA-443C-A886-02681E65758D}"/>
                </a:ext>
              </a:extLst>
            </p:cNvPr>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3" name="Rectangle 188">
              <a:extLst>
                <a:ext uri="{FF2B5EF4-FFF2-40B4-BE49-F238E27FC236}">
                  <a16:creationId xmlns:a16="http://schemas.microsoft.com/office/drawing/2014/main" id="{2B09E3B7-EDE2-425B-8F5B-3721D70D140A}"/>
                </a:ext>
              </a:extLst>
            </p:cNvPr>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4" name="Rectangle 189">
              <a:extLst>
                <a:ext uri="{FF2B5EF4-FFF2-40B4-BE49-F238E27FC236}">
                  <a16:creationId xmlns:a16="http://schemas.microsoft.com/office/drawing/2014/main" id="{711E01D7-8F4D-46B5-A053-A871ACE52CF0}"/>
                </a:ext>
              </a:extLst>
            </p:cNvPr>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5" name="Rectangle 190">
              <a:extLst>
                <a:ext uri="{FF2B5EF4-FFF2-40B4-BE49-F238E27FC236}">
                  <a16:creationId xmlns:a16="http://schemas.microsoft.com/office/drawing/2014/main" id="{E5F18CC2-97A1-4284-95FC-E953EEBD1693}"/>
                </a:ext>
              </a:extLst>
            </p:cNvPr>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6" name="Rectangle 191">
              <a:extLst>
                <a:ext uri="{FF2B5EF4-FFF2-40B4-BE49-F238E27FC236}">
                  <a16:creationId xmlns:a16="http://schemas.microsoft.com/office/drawing/2014/main" id="{91ACA202-7765-48B2-875D-ED317A8048E2}"/>
                </a:ext>
              </a:extLst>
            </p:cNvPr>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7" name="Freeform 192">
              <a:extLst>
                <a:ext uri="{FF2B5EF4-FFF2-40B4-BE49-F238E27FC236}">
                  <a16:creationId xmlns:a16="http://schemas.microsoft.com/office/drawing/2014/main" id="{7231202D-7723-46BB-87D9-EB9EC7E47F82}"/>
                </a:ext>
              </a:extLst>
            </p:cNvPr>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8" name="Freeform 193">
              <a:extLst>
                <a:ext uri="{FF2B5EF4-FFF2-40B4-BE49-F238E27FC236}">
                  <a16:creationId xmlns:a16="http://schemas.microsoft.com/office/drawing/2014/main" id="{10B75FA1-A117-48EC-B1C7-16A97D5422C9}"/>
                </a:ext>
              </a:extLst>
            </p:cNvPr>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299" name="Freeform 194">
              <a:extLst>
                <a:ext uri="{FF2B5EF4-FFF2-40B4-BE49-F238E27FC236}">
                  <a16:creationId xmlns:a16="http://schemas.microsoft.com/office/drawing/2014/main" id="{293D5AD5-6599-4CA7-878C-4D270C69C657}"/>
                </a:ext>
              </a:extLst>
            </p:cNvPr>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0" name="Freeform 195">
              <a:extLst>
                <a:ext uri="{FF2B5EF4-FFF2-40B4-BE49-F238E27FC236}">
                  <a16:creationId xmlns:a16="http://schemas.microsoft.com/office/drawing/2014/main" id="{1FB13970-7156-40CB-BA14-2D08C576661D}"/>
                </a:ext>
              </a:extLst>
            </p:cNvPr>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1" name="Rectangle 196">
              <a:extLst>
                <a:ext uri="{FF2B5EF4-FFF2-40B4-BE49-F238E27FC236}">
                  <a16:creationId xmlns:a16="http://schemas.microsoft.com/office/drawing/2014/main" id="{0B6A3037-1620-4754-8111-E79A819D6F91}"/>
                </a:ext>
              </a:extLst>
            </p:cNvPr>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2" name="Rectangle 197">
              <a:extLst>
                <a:ext uri="{FF2B5EF4-FFF2-40B4-BE49-F238E27FC236}">
                  <a16:creationId xmlns:a16="http://schemas.microsoft.com/office/drawing/2014/main" id="{31B166FA-C9ED-4889-B94B-7FC5149B0A3F}"/>
                </a:ext>
              </a:extLst>
            </p:cNvPr>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3" name="Rectangle 198">
              <a:extLst>
                <a:ext uri="{FF2B5EF4-FFF2-40B4-BE49-F238E27FC236}">
                  <a16:creationId xmlns:a16="http://schemas.microsoft.com/office/drawing/2014/main" id="{FBC56260-C7F3-4EA1-81FD-9D926EFB24D1}"/>
                </a:ext>
              </a:extLst>
            </p:cNvPr>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04" name="Baby" hidden="1">
            <a:extLst>
              <a:ext uri="{FF2B5EF4-FFF2-40B4-BE49-F238E27FC236}">
                <a16:creationId xmlns:a16="http://schemas.microsoft.com/office/drawing/2014/main" id="{3042840C-5267-4718-BD6D-CFB62FC14D0F}"/>
              </a:ext>
            </a:extLst>
          </p:cNvPr>
          <p:cNvGrpSpPr>
            <a:grpSpLocks noChangeAspect="1"/>
          </p:cNvGrpSpPr>
          <p:nvPr userDrawn="1"/>
        </p:nvGrpSpPr>
        <p:grpSpPr bwMode="auto">
          <a:xfrm>
            <a:off x="3099140" y="1385944"/>
            <a:ext cx="660912" cy="1059559"/>
            <a:chOff x="3889" y="1680"/>
            <a:chExt cx="555" cy="896"/>
          </a:xfrm>
        </p:grpSpPr>
        <p:sp>
          <p:nvSpPr>
            <p:cNvPr id="305" name="Freeform 202">
              <a:extLst>
                <a:ext uri="{FF2B5EF4-FFF2-40B4-BE49-F238E27FC236}">
                  <a16:creationId xmlns:a16="http://schemas.microsoft.com/office/drawing/2014/main" id="{1CB02974-3A52-4FCD-96AA-628CFC3FA8E6}"/>
                </a:ext>
              </a:extLst>
            </p:cNvPr>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6" name="Line 203">
              <a:extLst>
                <a:ext uri="{FF2B5EF4-FFF2-40B4-BE49-F238E27FC236}">
                  <a16:creationId xmlns:a16="http://schemas.microsoft.com/office/drawing/2014/main" id="{343BBC75-C095-4D1E-B545-CC614ACC1C38}"/>
                </a:ext>
              </a:extLst>
            </p:cNvPr>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7" name="Freeform 204">
              <a:extLst>
                <a:ext uri="{FF2B5EF4-FFF2-40B4-BE49-F238E27FC236}">
                  <a16:creationId xmlns:a16="http://schemas.microsoft.com/office/drawing/2014/main" id="{118BFBF9-9C77-489D-9514-9E3E453A0D67}"/>
                </a:ext>
              </a:extLst>
            </p:cNvPr>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8" name="Oval 205">
              <a:extLst>
                <a:ext uri="{FF2B5EF4-FFF2-40B4-BE49-F238E27FC236}">
                  <a16:creationId xmlns:a16="http://schemas.microsoft.com/office/drawing/2014/main" id="{3CE7F916-09CC-4B02-A3E1-A010159596BD}"/>
                </a:ext>
              </a:extLst>
            </p:cNvPr>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09" name="Oval 206">
              <a:extLst>
                <a:ext uri="{FF2B5EF4-FFF2-40B4-BE49-F238E27FC236}">
                  <a16:creationId xmlns:a16="http://schemas.microsoft.com/office/drawing/2014/main" id="{15A3024A-C0FB-44A9-9A48-6304C90A2B6D}"/>
                </a:ext>
              </a:extLst>
            </p:cNvPr>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0" name="Oval 207">
              <a:extLst>
                <a:ext uri="{FF2B5EF4-FFF2-40B4-BE49-F238E27FC236}">
                  <a16:creationId xmlns:a16="http://schemas.microsoft.com/office/drawing/2014/main" id="{34028267-0700-4173-94A6-447906288AE9}"/>
                </a:ext>
              </a:extLst>
            </p:cNvPr>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11" name="Utropstegn" hidden="1">
            <a:extLst>
              <a:ext uri="{FF2B5EF4-FFF2-40B4-BE49-F238E27FC236}">
                <a16:creationId xmlns:a16="http://schemas.microsoft.com/office/drawing/2014/main" id="{8B7A5C62-1BAE-4F5F-9037-19F5B94A8FAB}"/>
              </a:ext>
            </a:extLst>
          </p:cNvPr>
          <p:cNvGrpSpPr>
            <a:grpSpLocks noChangeAspect="1"/>
          </p:cNvGrpSpPr>
          <p:nvPr userDrawn="1"/>
        </p:nvGrpSpPr>
        <p:grpSpPr bwMode="auto">
          <a:xfrm>
            <a:off x="3209888" y="1420233"/>
            <a:ext cx="210777" cy="832509"/>
            <a:chOff x="2696" y="1190"/>
            <a:chExt cx="177" cy="704"/>
          </a:xfrm>
        </p:grpSpPr>
        <p:sp>
          <p:nvSpPr>
            <p:cNvPr id="312" name="Freeform 211">
              <a:extLst>
                <a:ext uri="{FF2B5EF4-FFF2-40B4-BE49-F238E27FC236}">
                  <a16:creationId xmlns:a16="http://schemas.microsoft.com/office/drawing/2014/main" id="{4B9ECA07-4F16-4C11-850E-88B87B946401}"/>
                </a:ext>
              </a:extLst>
            </p:cNvPr>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3" name="Oval 212">
              <a:extLst>
                <a:ext uri="{FF2B5EF4-FFF2-40B4-BE49-F238E27FC236}">
                  <a16:creationId xmlns:a16="http://schemas.microsoft.com/office/drawing/2014/main" id="{A1C6F7E6-3EFE-483B-894D-895091A65F05}"/>
                </a:ext>
              </a:extLst>
            </p:cNvPr>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grpSp>
        <p:nvGrpSpPr>
          <p:cNvPr id="314" name="penger" hidden="1">
            <a:extLst>
              <a:ext uri="{FF2B5EF4-FFF2-40B4-BE49-F238E27FC236}">
                <a16:creationId xmlns:a16="http://schemas.microsoft.com/office/drawing/2014/main" id="{8ED238E2-C027-4113-BD96-A56FDE97E475}"/>
              </a:ext>
            </a:extLst>
          </p:cNvPr>
          <p:cNvGrpSpPr>
            <a:grpSpLocks noChangeAspect="1"/>
          </p:cNvGrpSpPr>
          <p:nvPr userDrawn="1"/>
        </p:nvGrpSpPr>
        <p:grpSpPr bwMode="auto">
          <a:xfrm>
            <a:off x="2982442" y="1367023"/>
            <a:ext cx="863354" cy="741456"/>
            <a:chOff x="2505" y="1145"/>
            <a:chExt cx="725" cy="627"/>
          </a:xfrm>
        </p:grpSpPr>
        <p:sp>
          <p:nvSpPr>
            <p:cNvPr id="315" name="Freeform 216">
              <a:extLst>
                <a:ext uri="{FF2B5EF4-FFF2-40B4-BE49-F238E27FC236}">
                  <a16:creationId xmlns:a16="http://schemas.microsoft.com/office/drawing/2014/main" id="{09E6DC32-2FA2-4341-AA7A-D45DD14612EC}"/>
                </a:ext>
              </a:extLst>
            </p:cNvPr>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6" name="Freeform 217">
              <a:extLst>
                <a:ext uri="{FF2B5EF4-FFF2-40B4-BE49-F238E27FC236}">
                  <a16:creationId xmlns:a16="http://schemas.microsoft.com/office/drawing/2014/main" id="{89683A5C-7F0E-4A5F-86C0-80D85033E83D}"/>
                </a:ext>
              </a:extLst>
            </p:cNvPr>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7" name="Freeform 218">
              <a:extLst>
                <a:ext uri="{FF2B5EF4-FFF2-40B4-BE49-F238E27FC236}">
                  <a16:creationId xmlns:a16="http://schemas.microsoft.com/office/drawing/2014/main" id="{615F1291-8F11-42E8-AA8D-40A6BD270836}"/>
                </a:ext>
              </a:extLst>
            </p:cNvPr>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8" name="Freeform 219">
              <a:extLst>
                <a:ext uri="{FF2B5EF4-FFF2-40B4-BE49-F238E27FC236}">
                  <a16:creationId xmlns:a16="http://schemas.microsoft.com/office/drawing/2014/main" id="{EFF5A459-43E1-40DD-BADF-6B8F8183EAD5}"/>
                </a:ext>
              </a:extLst>
            </p:cNvPr>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19" name="Freeform 220">
              <a:extLst>
                <a:ext uri="{FF2B5EF4-FFF2-40B4-BE49-F238E27FC236}">
                  <a16:creationId xmlns:a16="http://schemas.microsoft.com/office/drawing/2014/main" id="{33FB62A2-10D2-4900-9607-2198EB286856}"/>
                </a:ext>
              </a:extLst>
            </p:cNvPr>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0" name="Freeform 221">
              <a:extLst>
                <a:ext uri="{FF2B5EF4-FFF2-40B4-BE49-F238E27FC236}">
                  <a16:creationId xmlns:a16="http://schemas.microsoft.com/office/drawing/2014/main" id="{505632AA-788B-4030-B5B3-516A1DA8ECB5}"/>
                </a:ext>
              </a:extLst>
            </p:cNvPr>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1" name="Freeform 222">
              <a:extLst>
                <a:ext uri="{FF2B5EF4-FFF2-40B4-BE49-F238E27FC236}">
                  <a16:creationId xmlns:a16="http://schemas.microsoft.com/office/drawing/2014/main" id="{A08692D2-544C-4A4E-81BD-268AA3031423}"/>
                </a:ext>
              </a:extLst>
            </p:cNvPr>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2" name="Freeform 223">
              <a:extLst>
                <a:ext uri="{FF2B5EF4-FFF2-40B4-BE49-F238E27FC236}">
                  <a16:creationId xmlns:a16="http://schemas.microsoft.com/office/drawing/2014/main" id="{6E1287A9-5442-4AFB-A0D5-99E70F41CC19}"/>
                </a:ext>
              </a:extLst>
            </p:cNvPr>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3" name="Oval 224">
              <a:extLst>
                <a:ext uri="{FF2B5EF4-FFF2-40B4-BE49-F238E27FC236}">
                  <a16:creationId xmlns:a16="http://schemas.microsoft.com/office/drawing/2014/main" id="{D3BB5227-A14B-4CED-BF27-73957A1CB885}"/>
                </a:ext>
              </a:extLst>
            </p:cNvPr>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4" name="Oval 225">
              <a:extLst>
                <a:ext uri="{FF2B5EF4-FFF2-40B4-BE49-F238E27FC236}">
                  <a16:creationId xmlns:a16="http://schemas.microsoft.com/office/drawing/2014/main" id="{803877BF-7F72-40E0-873F-22FB34DCB535}"/>
                </a:ext>
              </a:extLst>
            </p:cNvPr>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5" name="Freeform 226">
              <a:extLst>
                <a:ext uri="{FF2B5EF4-FFF2-40B4-BE49-F238E27FC236}">
                  <a16:creationId xmlns:a16="http://schemas.microsoft.com/office/drawing/2014/main" id="{1B924058-4172-4CEC-90F7-FBF1ECD83949}"/>
                </a:ext>
              </a:extLst>
            </p:cNvPr>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6" name="Freeform 227">
              <a:extLst>
                <a:ext uri="{FF2B5EF4-FFF2-40B4-BE49-F238E27FC236}">
                  <a16:creationId xmlns:a16="http://schemas.microsoft.com/office/drawing/2014/main" id="{6721A3FB-1B43-4883-8C0C-1B733B37A77B}"/>
                </a:ext>
              </a:extLst>
            </p:cNvPr>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7" name="Freeform 228">
              <a:extLst>
                <a:ext uri="{FF2B5EF4-FFF2-40B4-BE49-F238E27FC236}">
                  <a16:creationId xmlns:a16="http://schemas.microsoft.com/office/drawing/2014/main" id="{01D09FFA-1A40-4F19-954D-E48C9A96FA3E}"/>
                </a:ext>
              </a:extLst>
            </p:cNvPr>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8" name="Freeform 229">
              <a:extLst>
                <a:ext uri="{FF2B5EF4-FFF2-40B4-BE49-F238E27FC236}">
                  <a16:creationId xmlns:a16="http://schemas.microsoft.com/office/drawing/2014/main" id="{73F00369-E32F-4BDD-B5AA-AE8FAB2F0629}"/>
                </a:ext>
              </a:extLst>
            </p:cNvPr>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29" name="Freeform 230">
              <a:extLst>
                <a:ext uri="{FF2B5EF4-FFF2-40B4-BE49-F238E27FC236}">
                  <a16:creationId xmlns:a16="http://schemas.microsoft.com/office/drawing/2014/main" id="{5B45A9D6-5D20-40F5-91FA-F543A71BCFAE}"/>
                </a:ext>
              </a:extLst>
            </p:cNvPr>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0" name="Freeform 231">
              <a:extLst>
                <a:ext uri="{FF2B5EF4-FFF2-40B4-BE49-F238E27FC236}">
                  <a16:creationId xmlns:a16="http://schemas.microsoft.com/office/drawing/2014/main" id="{1B18F047-CF1C-40EC-8370-8868CC4E826A}"/>
                </a:ext>
              </a:extLst>
            </p:cNvPr>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1" name="Oval 232">
              <a:extLst>
                <a:ext uri="{FF2B5EF4-FFF2-40B4-BE49-F238E27FC236}">
                  <a16:creationId xmlns:a16="http://schemas.microsoft.com/office/drawing/2014/main" id="{B14058B1-F8F4-471A-AE6B-08DCBCF735BB}"/>
                </a:ext>
              </a:extLst>
            </p:cNvPr>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2" name="Oval 233">
              <a:extLst>
                <a:ext uri="{FF2B5EF4-FFF2-40B4-BE49-F238E27FC236}">
                  <a16:creationId xmlns:a16="http://schemas.microsoft.com/office/drawing/2014/main" id="{C85D67E4-2136-4F4D-B2BC-1940229372B5}"/>
                </a:ext>
              </a:extLst>
            </p:cNvPr>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3" name="Freeform 234">
              <a:extLst>
                <a:ext uri="{FF2B5EF4-FFF2-40B4-BE49-F238E27FC236}">
                  <a16:creationId xmlns:a16="http://schemas.microsoft.com/office/drawing/2014/main" id="{1E698C1C-E977-4D63-82A1-4BC4448EBF69}"/>
                </a:ext>
              </a:extLst>
            </p:cNvPr>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4" name="Freeform 235">
              <a:extLst>
                <a:ext uri="{FF2B5EF4-FFF2-40B4-BE49-F238E27FC236}">
                  <a16:creationId xmlns:a16="http://schemas.microsoft.com/office/drawing/2014/main" id="{39589092-CDB5-49CE-935D-4D574A88194E}"/>
                </a:ext>
              </a:extLst>
            </p:cNvPr>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5" name="Freeform 236">
              <a:extLst>
                <a:ext uri="{FF2B5EF4-FFF2-40B4-BE49-F238E27FC236}">
                  <a16:creationId xmlns:a16="http://schemas.microsoft.com/office/drawing/2014/main" id="{B83DE6A3-AEA5-46EA-815D-0F4E4753AF6C}"/>
                </a:ext>
              </a:extLst>
            </p:cNvPr>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6" name="Freeform 237">
              <a:extLst>
                <a:ext uri="{FF2B5EF4-FFF2-40B4-BE49-F238E27FC236}">
                  <a16:creationId xmlns:a16="http://schemas.microsoft.com/office/drawing/2014/main" id="{801A0D4A-257A-4777-A129-18F9D8B00CE3}"/>
                </a:ext>
              </a:extLst>
            </p:cNvPr>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7" name="Freeform 238">
              <a:extLst>
                <a:ext uri="{FF2B5EF4-FFF2-40B4-BE49-F238E27FC236}">
                  <a16:creationId xmlns:a16="http://schemas.microsoft.com/office/drawing/2014/main" id="{BF1B7273-51D6-43A5-A2F5-0D0EAA1BBD3F}"/>
                </a:ext>
              </a:extLst>
            </p:cNvPr>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8" name="Freeform 239">
              <a:extLst>
                <a:ext uri="{FF2B5EF4-FFF2-40B4-BE49-F238E27FC236}">
                  <a16:creationId xmlns:a16="http://schemas.microsoft.com/office/drawing/2014/main" id="{8535E4F5-4676-4044-96BF-6E0B0C223FDA}"/>
                </a:ext>
              </a:extLst>
            </p:cNvPr>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39" name="Freeform 240">
              <a:extLst>
                <a:ext uri="{FF2B5EF4-FFF2-40B4-BE49-F238E27FC236}">
                  <a16:creationId xmlns:a16="http://schemas.microsoft.com/office/drawing/2014/main" id="{DFC54BC0-CDB8-4333-B47D-74C061E68548}"/>
                </a:ext>
              </a:extLst>
            </p:cNvPr>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0" name="Freeform 241">
              <a:extLst>
                <a:ext uri="{FF2B5EF4-FFF2-40B4-BE49-F238E27FC236}">
                  <a16:creationId xmlns:a16="http://schemas.microsoft.com/office/drawing/2014/main" id="{616E753C-4E6E-4CC7-A80D-BEF9A57832E7}"/>
                </a:ext>
              </a:extLst>
            </p:cNvPr>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1" name="Freeform 242">
              <a:extLst>
                <a:ext uri="{FF2B5EF4-FFF2-40B4-BE49-F238E27FC236}">
                  <a16:creationId xmlns:a16="http://schemas.microsoft.com/office/drawing/2014/main" id="{E885B670-17DA-4EBD-92D9-CDE2A67058AB}"/>
                </a:ext>
              </a:extLst>
            </p:cNvPr>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2" name="Freeform 243">
              <a:extLst>
                <a:ext uri="{FF2B5EF4-FFF2-40B4-BE49-F238E27FC236}">
                  <a16:creationId xmlns:a16="http://schemas.microsoft.com/office/drawing/2014/main" id="{F5161FE0-B027-4E7B-BF04-FCF56BDF05E4}"/>
                </a:ext>
              </a:extLst>
            </p:cNvPr>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3" name="Freeform 244">
              <a:extLst>
                <a:ext uri="{FF2B5EF4-FFF2-40B4-BE49-F238E27FC236}">
                  <a16:creationId xmlns:a16="http://schemas.microsoft.com/office/drawing/2014/main" id="{A40C198B-018E-41C6-8216-C98F7752AEE5}"/>
                </a:ext>
              </a:extLst>
            </p:cNvPr>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4" name="Freeform 245">
              <a:extLst>
                <a:ext uri="{FF2B5EF4-FFF2-40B4-BE49-F238E27FC236}">
                  <a16:creationId xmlns:a16="http://schemas.microsoft.com/office/drawing/2014/main" id="{72E221C5-2F37-4F60-BA1D-3AA2CFECBA4B}"/>
                </a:ext>
              </a:extLst>
            </p:cNvPr>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5" name="Oval 246">
              <a:extLst>
                <a:ext uri="{FF2B5EF4-FFF2-40B4-BE49-F238E27FC236}">
                  <a16:creationId xmlns:a16="http://schemas.microsoft.com/office/drawing/2014/main" id="{520F8339-457C-4194-AC5F-6570BFD6B1B4}"/>
                </a:ext>
              </a:extLst>
            </p:cNvPr>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sp>
          <p:nvSpPr>
            <p:cNvPr id="346" name="Oval 247">
              <a:extLst>
                <a:ext uri="{FF2B5EF4-FFF2-40B4-BE49-F238E27FC236}">
                  <a16:creationId xmlns:a16="http://schemas.microsoft.com/office/drawing/2014/main" id="{F467CD9D-33BB-4205-9711-436032ADD3C5}"/>
                </a:ext>
              </a:extLst>
            </p:cNvPr>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nb-NO"/>
              </a:defPPr>
              <a:lvl1pPr marL="0" algn="l" defTabSz="683951" rtl="0" eaLnBrk="1" latinLnBrk="0" hangingPunct="1">
                <a:defRPr sz="1400" kern="1200">
                  <a:solidFill>
                    <a:schemeClr val="tx1"/>
                  </a:solidFill>
                  <a:latin typeface="+mn-lt"/>
                  <a:ea typeface="+mn-ea"/>
                  <a:cs typeface="+mn-cs"/>
                </a:defRPr>
              </a:lvl1pPr>
              <a:lvl2pPr marL="341975" algn="l" defTabSz="683951" rtl="0" eaLnBrk="1" latinLnBrk="0" hangingPunct="1">
                <a:defRPr sz="1400" kern="1200">
                  <a:solidFill>
                    <a:schemeClr val="tx1"/>
                  </a:solidFill>
                  <a:latin typeface="+mn-lt"/>
                  <a:ea typeface="+mn-ea"/>
                  <a:cs typeface="+mn-cs"/>
                </a:defRPr>
              </a:lvl2pPr>
              <a:lvl3pPr marL="683951" algn="l" defTabSz="683951" rtl="0" eaLnBrk="1" latinLnBrk="0" hangingPunct="1">
                <a:defRPr sz="1400" kern="1200">
                  <a:solidFill>
                    <a:schemeClr val="tx1"/>
                  </a:solidFill>
                  <a:latin typeface="+mn-lt"/>
                  <a:ea typeface="+mn-ea"/>
                  <a:cs typeface="+mn-cs"/>
                </a:defRPr>
              </a:lvl3pPr>
              <a:lvl4pPr marL="1025927" algn="l" defTabSz="683951" rtl="0" eaLnBrk="1" latinLnBrk="0" hangingPunct="1">
                <a:defRPr sz="1400" kern="1200">
                  <a:solidFill>
                    <a:schemeClr val="tx1"/>
                  </a:solidFill>
                  <a:latin typeface="+mn-lt"/>
                  <a:ea typeface="+mn-ea"/>
                  <a:cs typeface="+mn-cs"/>
                </a:defRPr>
              </a:lvl4pPr>
              <a:lvl5pPr marL="1367903" algn="l" defTabSz="683951" rtl="0" eaLnBrk="1" latinLnBrk="0" hangingPunct="1">
                <a:defRPr sz="1400" kern="1200">
                  <a:solidFill>
                    <a:schemeClr val="tx1"/>
                  </a:solidFill>
                  <a:latin typeface="+mn-lt"/>
                  <a:ea typeface="+mn-ea"/>
                  <a:cs typeface="+mn-cs"/>
                </a:defRPr>
              </a:lvl5pPr>
              <a:lvl6pPr marL="1709878" algn="l" defTabSz="683951" rtl="0" eaLnBrk="1" latinLnBrk="0" hangingPunct="1">
                <a:defRPr sz="1400" kern="1200">
                  <a:solidFill>
                    <a:schemeClr val="tx1"/>
                  </a:solidFill>
                  <a:latin typeface="+mn-lt"/>
                  <a:ea typeface="+mn-ea"/>
                  <a:cs typeface="+mn-cs"/>
                </a:defRPr>
              </a:lvl6pPr>
              <a:lvl7pPr marL="2051855" algn="l" defTabSz="683951" rtl="0" eaLnBrk="1" latinLnBrk="0" hangingPunct="1">
                <a:defRPr sz="1400" kern="1200">
                  <a:solidFill>
                    <a:schemeClr val="tx1"/>
                  </a:solidFill>
                  <a:latin typeface="+mn-lt"/>
                  <a:ea typeface="+mn-ea"/>
                  <a:cs typeface="+mn-cs"/>
                </a:defRPr>
              </a:lvl7pPr>
              <a:lvl8pPr marL="2393831" algn="l" defTabSz="683951" rtl="0" eaLnBrk="1" latinLnBrk="0" hangingPunct="1">
                <a:defRPr sz="1400" kern="1200">
                  <a:solidFill>
                    <a:schemeClr val="tx1"/>
                  </a:solidFill>
                  <a:latin typeface="+mn-lt"/>
                  <a:ea typeface="+mn-ea"/>
                  <a:cs typeface="+mn-cs"/>
                </a:defRPr>
              </a:lvl8pPr>
              <a:lvl9pPr marL="2735806" algn="l" defTabSz="683951" rtl="0" eaLnBrk="1" latinLnBrk="0" hangingPunct="1">
                <a:defRPr sz="1400" kern="1200">
                  <a:solidFill>
                    <a:schemeClr val="tx1"/>
                  </a:solidFill>
                  <a:latin typeface="+mn-lt"/>
                  <a:ea typeface="+mn-ea"/>
                  <a:cs typeface="+mn-cs"/>
                </a:defRPr>
              </a:lvl9pPr>
            </a:lstStyle>
            <a:p>
              <a:endParaRPr lang="nb-NO" sz="1043"/>
            </a:p>
          </p:txBody>
        </p:sp>
      </p:grpSp>
    </p:spTree>
    <p:extLst>
      <p:ext uri="{BB962C8B-B14F-4D97-AF65-F5344CB8AC3E}">
        <p14:creationId xmlns:p14="http://schemas.microsoft.com/office/powerpoint/2010/main" val="3998897489"/>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Lst>
  <p:hf sldNum="0" hdr="0" ftr="0" dt="0"/>
  <p:txStyles>
    <p:titleStyle>
      <a:lvl1pPr algn="l" defTabSz="681171" rtl="0" eaLnBrk="1" latinLnBrk="0" hangingPunct="1">
        <a:lnSpc>
          <a:spcPct val="90000"/>
        </a:lnSpc>
        <a:spcBef>
          <a:spcPct val="0"/>
        </a:spcBef>
        <a:buNone/>
        <a:defRPr sz="3651" b="1" kern="1200">
          <a:solidFill>
            <a:schemeClr val="tx1"/>
          </a:solidFill>
          <a:latin typeface="+mj-lt"/>
          <a:ea typeface="+mj-ea"/>
          <a:cs typeface="+mj-cs"/>
        </a:defRPr>
      </a:lvl1pPr>
    </p:titleStyle>
    <p:bodyStyle>
      <a:lvl1pPr marL="193382" indent="-193382" algn="l" defTabSz="681171" rtl="0" eaLnBrk="1" latinLnBrk="0" hangingPunct="1">
        <a:lnSpc>
          <a:spcPct val="90000"/>
        </a:lnSpc>
        <a:spcBef>
          <a:spcPts val="745"/>
        </a:spcBef>
        <a:buFont typeface="Arial" panose="020B0604020202020204" pitchFamily="34" charset="0"/>
        <a:buChar char="•"/>
        <a:defRPr sz="1788" kern="1200">
          <a:solidFill>
            <a:schemeClr val="tx1"/>
          </a:solidFill>
          <a:latin typeface="+mn-lt"/>
          <a:ea typeface="+mn-ea"/>
          <a:cs typeface="+mn-cs"/>
        </a:defRPr>
      </a:lvl1pPr>
      <a:lvl2pPr marL="406280" indent="-179189" algn="l" defTabSz="681171" rtl="0" eaLnBrk="1" latinLnBrk="0" hangingPunct="1">
        <a:lnSpc>
          <a:spcPct val="90000"/>
        </a:lnSpc>
        <a:spcBef>
          <a:spcPts val="391"/>
        </a:spcBef>
        <a:buFont typeface="Arial" panose="020B0604020202020204" pitchFamily="34" charset="0"/>
        <a:buChar char="•"/>
        <a:defRPr sz="1564" kern="1200">
          <a:solidFill>
            <a:schemeClr val="tx1"/>
          </a:solidFill>
          <a:latin typeface="+mn-lt"/>
          <a:ea typeface="+mn-ea"/>
          <a:cs typeface="+mn-cs"/>
        </a:defRPr>
      </a:lvl2pPr>
      <a:lvl3pPr marL="635145" indent="-179189" algn="l" defTabSz="681171" rtl="0" eaLnBrk="1" latinLnBrk="0" hangingPunct="1">
        <a:lnSpc>
          <a:spcPct val="90000"/>
        </a:lnSpc>
        <a:spcBef>
          <a:spcPts val="466"/>
        </a:spcBef>
        <a:buFont typeface="Arial" panose="020B0604020202020204" pitchFamily="34" charset="0"/>
        <a:buChar char="•"/>
        <a:defRPr sz="1527" kern="1200">
          <a:solidFill>
            <a:schemeClr val="tx1"/>
          </a:solidFill>
          <a:latin typeface="+mn-lt"/>
          <a:ea typeface="+mn-ea"/>
          <a:cs typeface="+mn-cs"/>
        </a:defRPr>
      </a:lvl3pPr>
      <a:lvl4pPr marL="851591" indent="-167361" algn="l" defTabSz="681171" rtl="0" eaLnBrk="1" latinLnBrk="0" hangingPunct="1">
        <a:lnSpc>
          <a:spcPct val="90000"/>
        </a:lnSpc>
        <a:spcBef>
          <a:spcPts val="670"/>
        </a:spcBef>
        <a:buFont typeface="Arial" panose="020B0604020202020204" pitchFamily="34" charset="0"/>
        <a:buChar char="•"/>
        <a:defRPr sz="1304" kern="1200">
          <a:solidFill>
            <a:schemeClr val="tx1"/>
          </a:solidFill>
          <a:latin typeface="+mn-lt"/>
          <a:ea typeface="+mn-ea"/>
          <a:cs typeface="+mn-cs"/>
        </a:defRPr>
      </a:lvl4pPr>
      <a:lvl5pPr marL="1075134" indent="-166770" algn="l" defTabSz="681171" rtl="0" eaLnBrk="1" latinLnBrk="0" hangingPunct="1">
        <a:lnSpc>
          <a:spcPct val="90000"/>
        </a:lnSpc>
        <a:spcBef>
          <a:spcPts val="819"/>
        </a:spcBef>
        <a:buFont typeface="Arial" panose="020B0604020202020204" pitchFamily="34" charset="0"/>
        <a:buChar char="•"/>
        <a:defRPr sz="1229" kern="1200">
          <a:solidFill>
            <a:schemeClr val="tx1"/>
          </a:solidFill>
          <a:latin typeface="+mn-lt"/>
          <a:ea typeface="+mn-ea"/>
          <a:cs typeface="+mn-cs"/>
        </a:defRPr>
      </a:lvl5pPr>
      <a:lvl6pPr marL="1873219"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6pPr>
      <a:lvl7pPr marL="2213804"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7pPr>
      <a:lvl8pPr marL="2554389"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8pPr>
      <a:lvl9pPr marL="2894975" indent="-170292" algn="l" defTabSz="681171"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9pPr>
    </p:bodyStyle>
    <p:otherStyle>
      <a:defPPr>
        <a:defRPr lang="en-US"/>
      </a:defPPr>
      <a:lvl1pPr marL="0" algn="l" defTabSz="681171" rtl="0" eaLnBrk="1" latinLnBrk="0" hangingPunct="1">
        <a:defRPr sz="1341" kern="1200">
          <a:solidFill>
            <a:schemeClr val="tx1"/>
          </a:solidFill>
          <a:latin typeface="+mn-lt"/>
          <a:ea typeface="+mn-ea"/>
          <a:cs typeface="+mn-cs"/>
        </a:defRPr>
      </a:lvl1pPr>
      <a:lvl2pPr marL="340585" algn="l" defTabSz="681171" rtl="0" eaLnBrk="1" latinLnBrk="0" hangingPunct="1">
        <a:defRPr sz="1341" kern="1200">
          <a:solidFill>
            <a:schemeClr val="tx1"/>
          </a:solidFill>
          <a:latin typeface="+mn-lt"/>
          <a:ea typeface="+mn-ea"/>
          <a:cs typeface="+mn-cs"/>
        </a:defRPr>
      </a:lvl2pPr>
      <a:lvl3pPr marL="681171" algn="l" defTabSz="681171" rtl="0" eaLnBrk="1" latinLnBrk="0" hangingPunct="1">
        <a:defRPr sz="1341" kern="1200">
          <a:solidFill>
            <a:schemeClr val="tx1"/>
          </a:solidFill>
          <a:latin typeface="+mn-lt"/>
          <a:ea typeface="+mn-ea"/>
          <a:cs typeface="+mn-cs"/>
        </a:defRPr>
      </a:lvl3pPr>
      <a:lvl4pPr marL="1021756" algn="l" defTabSz="681171" rtl="0" eaLnBrk="1" latinLnBrk="0" hangingPunct="1">
        <a:defRPr sz="1341" kern="1200">
          <a:solidFill>
            <a:schemeClr val="tx1"/>
          </a:solidFill>
          <a:latin typeface="+mn-lt"/>
          <a:ea typeface="+mn-ea"/>
          <a:cs typeface="+mn-cs"/>
        </a:defRPr>
      </a:lvl4pPr>
      <a:lvl5pPr marL="1362341" algn="l" defTabSz="681171" rtl="0" eaLnBrk="1" latinLnBrk="0" hangingPunct="1">
        <a:defRPr sz="1341" kern="1200">
          <a:solidFill>
            <a:schemeClr val="tx1"/>
          </a:solidFill>
          <a:latin typeface="+mn-lt"/>
          <a:ea typeface="+mn-ea"/>
          <a:cs typeface="+mn-cs"/>
        </a:defRPr>
      </a:lvl5pPr>
      <a:lvl6pPr marL="1702926" algn="l" defTabSz="681171" rtl="0" eaLnBrk="1" latinLnBrk="0" hangingPunct="1">
        <a:defRPr sz="1341" kern="1200">
          <a:solidFill>
            <a:schemeClr val="tx1"/>
          </a:solidFill>
          <a:latin typeface="+mn-lt"/>
          <a:ea typeface="+mn-ea"/>
          <a:cs typeface="+mn-cs"/>
        </a:defRPr>
      </a:lvl6pPr>
      <a:lvl7pPr marL="2043512" algn="l" defTabSz="681171" rtl="0" eaLnBrk="1" latinLnBrk="0" hangingPunct="1">
        <a:defRPr sz="1341" kern="1200">
          <a:solidFill>
            <a:schemeClr val="tx1"/>
          </a:solidFill>
          <a:latin typeface="+mn-lt"/>
          <a:ea typeface="+mn-ea"/>
          <a:cs typeface="+mn-cs"/>
        </a:defRPr>
      </a:lvl7pPr>
      <a:lvl8pPr marL="2384097" algn="l" defTabSz="681171" rtl="0" eaLnBrk="1" latinLnBrk="0" hangingPunct="1">
        <a:defRPr sz="1341" kern="1200">
          <a:solidFill>
            <a:schemeClr val="tx1"/>
          </a:solidFill>
          <a:latin typeface="+mn-lt"/>
          <a:ea typeface="+mn-ea"/>
          <a:cs typeface="+mn-cs"/>
        </a:defRPr>
      </a:lvl8pPr>
      <a:lvl9pPr marL="2724683" algn="l" defTabSz="681171" rtl="0" eaLnBrk="1" latinLnBrk="0" hangingPunct="1">
        <a:defRPr sz="134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25AB5CF0-6FFE-4401-9E16-9A2B550CCB37}" type="datetime1">
              <a:rPr lang="nb-NO" smtClean="0"/>
              <a:t>19.10.2022</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pic>
        <p:nvPicPr>
          <p:cNvPr id="9" name="Bilde 8"/>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88036" y="288036"/>
            <a:ext cx="543600" cy="657234"/>
          </a:xfrm>
          <a:prstGeom prst="rect">
            <a:avLst/>
          </a:prstGeom>
        </p:spPr>
      </p:pic>
    </p:spTree>
    <p:extLst>
      <p:ext uri="{BB962C8B-B14F-4D97-AF65-F5344CB8AC3E}">
        <p14:creationId xmlns:p14="http://schemas.microsoft.com/office/powerpoint/2010/main" val="310797448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900" r:id="rId4"/>
    <p:sldLayoutId id="2147483902" r:id="rId5"/>
    <p:sldLayoutId id="2147483904" r:id="rId6"/>
    <p:sldLayoutId id="2147483905" r:id="rId7"/>
    <p:sldLayoutId id="2147483906" r:id="rId8"/>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10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10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10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10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10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AE7ECBEA-7018-44B9-8CB2-B2382497308F}" type="datetime1">
              <a:rPr lang="nb-NO" smtClean="0"/>
              <a:t>19.10.2022</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pic>
        <p:nvPicPr>
          <p:cNvPr id="8" name="Bilde 7"/>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310458" y="283738"/>
            <a:ext cx="423673" cy="505969"/>
          </a:xfrm>
          <a:prstGeom prst="rect">
            <a:avLst/>
          </a:prstGeom>
        </p:spPr>
      </p:pic>
    </p:spTree>
    <p:extLst>
      <p:ext uri="{BB962C8B-B14F-4D97-AF65-F5344CB8AC3E}">
        <p14:creationId xmlns:p14="http://schemas.microsoft.com/office/powerpoint/2010/main" val="809607370"/>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7" r:id="rId5"/>
    <p:sldLayoutId id="2147483788" r:id="rId6"/>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10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10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10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10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10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6D27850-7F7C-4B9C-B7E1-012CCD594AFB}"/>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592" imgH="595" progId="TCLayout.ActiveDocument.1">
                  <p:embed/>
                </p:oleObj>
              </mc:Choice>
              <mc:Fallback>
                <p:oleObj name="think-cell Slide" r:id="rId17" imgW="592" imgH="595" progId="TCLayout.ActiveDocument.1">
                  <p:embed/>
                  <p:pic>
                    <p:nvPicPr>
                      <p:cNvPr id="5" name="Object 4" hidden="1">
                        <a:extLst>
                          <a:ext uri="{FF2B5EF4-FFF2-40B4-BE49-F238E27FC236}">
                            <a16:creationId xmlns:a16="http://schemas.microsoft.com/office/drawing/2014/main" id="{C6D27850-7F7C-4B9C-B7E1-012CCD594AF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9" name="Bilde 8"/>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spTree>
    <p:extLst>
      <p:ext uri="{BB962C8B-B14F-4D97-AF65-F5344CB8AC3E}">
        <p14:creationId xmlns:p14="http://schemas.microsoft.com/office/powerpoint/2010/main" val="1264103322"/>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 id="2147483914" r:id="rId7"/>
    <p:sldLayoutId id="2147483915" r:id="rId8"/>
    <p:sldLayoutId id="2147483916" r:id="rId9"/>
    <p:sldLayoutId id="2147483917" r:id="rId10"/>
    <p:sldLayoutId id="2147483918" r:id="rId11"/>
    <p:sldLayoutId id="2147483919" r:id="rId12"/>
    <p:sldLayoutId id="2147483920" r:id="rId13"/>
    <p:sldLayoutId id="2147483921" r:id="rId14"/>
  </p:sldLayoutIdLst>
  <p:hf sldNum="0" hdr="0" ftr="0"/>
  <p:txStyles>
    <p:titleStyle>
      <a:lvl1pPr algn="l" defTabSz="671624" rtl="0" eaLnBrk="1" latinLnBrk="0" hangingPunct="1">
        <a:lnSpc>
          <a:spcPct val="90000"/>
        </a:lnSpc>
        <a:spcBef>
          <a:spcPct val="0"/>
        </a:spcBef>
        <a:buNone/>
        <a:defRPr sz="3650" b="1" kern="1200">
          <a:solidFill>
            <a:schemeClr val="tx1"/>
          </a:solidFill>
          <a:latin typeface="+mj-lt"/>
          <a:ea typeface="+mj-ea"/>
          <a:cs typeface="+mj-cs"/>
        </a:defRPr>
      </a:lvl1pPr>
    </p:titleStyle>
    <p:bodyStyle>
      <a:lvl1pPr marL="167906" indent="-167906" algn="l" defTabSz="671624" rtl="0" eaLnBrk="1" latinLnBrk="0" hangingPunct="1">
        <a:lnSpc>
          <a:spcPct val="100000"/>
        </a:lnSpc>
        <a:spcBef>
          <a:spcPts val="734"/>
        </a:spcBef>
        <a:buFont typeface="Arial" panose="020B0604020202020204" pitchFamily="34" charset="0"/>
        <a:buChar char="•"/>
        <a:defRPr sz="1788" kern="1200">
          <a:solidFill>
            <a:schemeClr val="tx1"/>
          </a:solidFill>
          <a:latin typeface="+mn-lt"/>
          <a:ea typeface="+mn-ea"/>
          <a:cs typeface="+mn-cs"/>
        </a:defRPr>
      </a:lvl1pPr>
      <a:lvl2pPr marL="503719" indent="-167906" algn="l" defTabSz="671624" rtl="0" eaLnBrk="1" latinLnBrk="0" hangingPunct="1">
        <a:lnSpc>
          <a:spcPct val="100000"/>
        </a:lnSpc>
        <a:spcBef>
          <a:spcPts val="367"/>
        </a:spcBef>
        <a:buFont typeface="Arial" panose="020B0604020202020204" pitchFamily="34" charset="0"/>
        <a:buChar char="•"/>
        <a:defRPr sz="1564" kern="1200">
          <a:solidFill>
            <a:schemeClr val="tx1"/>
          </a:solidFill>
          <a:latin typeface="+mn-lt"/>
          <a:ea typeface="+mn-ea"/>
          <a:cs typeface="+mn-cs"/>
        </a:defRPr>
      </a:lvl2pPr>
      <a:lvl3pPr marL="839530" indent="-167906" algn="l" defTabSz="671624" rtl="0" eaLnBrk="1" latinLnBrk="0" hangingPunct="1">
        <a:lnSpc>
          <a:spcPct val="100000"/>
        </a:lnSpc>
        <a:spcBef>
          <a:spcPts val="367"/>
        </a:spcBef>
        <a:buFont typeface="Arial" panose="020B0604020202020204" pitchFamily="34" charset="0"/>
        <a:buChar char="•"/>
        <a:defRPr sz="1490" kern="1200">
          <a:solidFill>
            <a:schemeClr val="tx1"/>
          </a:solidFill>
          <a:latin typeface="+mn-lt"/>
          <a:ea typeface="+mn-ea"/>
          <a:cs typeface="+mn-cs"/>
        </a:defRPr>
      </a:lvl3pPr>
      <a:lvl4pPr marL="1175342" indent="-167906" algn="l" defTabSz="671624" rtl="0" eaLnBrk="1" latinLnBrk="0" hangingPunct="1">
        <a:lnSpc>
          <a:spcPct val="100000"/>
        </a:lnSpc>
        <a:spcBef>
          <a:spcPts val="367"/>
        </a:spcBef>
        <a:buFont typeface="Arial" panose="020B0604020202020204" pitchFamily="34" charset="0"/>
        <a:buChar char="•"/>
        <a:defRPr sz="1266" kern="1200">
          <a:solidFill>
            <a:schemeClr val="tx1"/>
          </a:solidFill>
          <a:latin typeface="+mn-lt"/>
          <a:ea typeface="+mn-ea"/>
          <a:cs typeface="+mn-cs"/>
        </a:defRPr>
      </a:lvl4pPr>
      <a:lvl5pPr marL="1511155" indent="-167906" algn="l" defTabSz="671624" rtl="0" eaLnBrk="1" latinLnBrk="0" hangingPunct="1">
        <a:lnSpc>
          <a:spcPct val="100000"/>
        </a:lnSpc>
        <a:spcBef>
          <a:spcPts val="367"/>
        </a:spcBef>
        <a:buFont typeface="Arial" panose="020B0604020202020204" pitchFamily="34" charset="0"/>
        <a:buChar char="•"/>
        <a:defRPr sz="1192" kern="1200">
          <a:solidFill>
            <a:schemeClr val="tx1"/>
          </a:solidFill>
          <a:latin typeface="+mn-lt"/>
          <a:ea typeface="+mn-ea"/>
          <a:cs typeface="+mn-cs"/>
        </a:defRPr>
      </a:lvl5pPr>
      <a:lvl6pPr marL="1846967"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6pPr>
      <a:lvl7pPr marL="2182780"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7pPr>
      <a:lvl8pPr marL="2518592"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8pPr>
      <a:lvl9pPr marL="2854403" indent="-167906" algn="l" defTabSz="671624" rtl="0" eaLnBrk="1" latinLnBrk="0" hangingPunct="1">
        <a:lnSpc>
          <a:spcPct val="90000"/>
        </a:lnSpc>
        <a:spcBef>
          <a:spcPts val="367"/>
        </a:spcBef>
        <a:buFont typeface="Arial" panose="020B0604020202020204" pitchFamily="34" charset="0"/>
        <a:buChar char="•"/>
        <a:defRPr sz="1266" kern="1200">
          <a:solidFill>
            <a:schemeClr val="tx1"/>
          </a:solidFill>
          <a:latin typeface="+mn-lt"/>
          <a:ea typeface="+mn-ea"/>
          <a:cs typeface="+mn-cs"/>
        </a:defRPr>
      </a:lvl9pPr>
    </p:bodyStyle>
    <p:otherStyle>
      <a:defPPr>
        <a:defRPr lang="en-US"/>
      </a:defPPr>
      <a:lvl1pPr marL="0" algn="l" defTabSz="671624" rtl="0" eaLnBrk="1" latinLnBrk="0" hangingPunct="1">
        <a:defRPr sz="1266" kern="1200">
          <a:solidFill>
            <a:schemeClr val="tx1"/>
          </a:solidFill>
          <a:latin typeface="+mn-lt"/>
          <a:ea typeface="+mn-ea"/>
          <a:cs typeface="+mn-cs"/>
        </a:defRPr>
      </a:lvl1pPr>
      <a:lvl2pPr marL="335811" algn="l" defTabSz="671624" rtl="0" eaLnBrk="1" latinLnBrk="0" hangingPunct="1">
        <a:defRPr sz="1266" kern="1200">
          <a:solidFill>
            <a:schemeClr val="tx1"/>
          </a:solidFill>
          <a:latin typeface="+mn-lt"/>
          <a:ea typeface="+mn-ea"/>
          <a:cs typeface="+mn-cs"/>
        </a:defRPr>
      </a:lvl2pPr>
      <a:lvl3pPr marL="671624" algn="l" defTabSz="671624" rtl="0" eaLnBrk="1" latinLnBrk="0" hangingPunct="1">
        <a:defRPr sz="1266" kern="1200">
          <a:solidFill>
            <a:schemeClr val="tx1"/>
          </a:solidFill>
          <a:latin typeface="+mn-lt"/>
          <a:ea typeface="+mn-ea"/>
          <a:cs typeface="+mn-cs"/>
        </a:defRPr>
      </a:lvl3pPr>
      <a:lvl4pPr marL="1007436" algn="l" defTabSz="671624" rtl="0" eaLnBrk="1" latinLnBrk="0" hangingPunct="1">
        <a:defRPr sz="1266" kern="1200">
          <a:solidFill>
            <a:schemeClr val="tx1"/>
          </a:solidFill>
          <a:latin typeface="+mn-lt"/>
          <a:ea typeface="+mn-ea"/>
          <a:cs typeface="+mn-cs"/>
        </a:defRPr>
      </a:lvl4pPr>
      <a:lvl5pPr marL="1343250" algn="l" defTabSz="671624" rtl="0" eaLnBrk="1" latinLnBrk="0" hangingPunct="1">
        <a:defRPr sz="1266" kern="1200">
          <a:solidFill>
            <a:schemeClr val="tx1"/>
          </a:solidFill>
          <a:latin typeface="+mn-lt"/>
          <a:ea typeface="+mn-ea"/>
          <a:cs typeface="+mn-cs"/>
        </a:defRPr>
      </a:lvl5pPr>
      <a:lvl6pPr marL="1679060" algn="l" defTabSz="671624" rtl="0" eaLnBrk="1" latinLnBrk="0" hangingPunct="1">
        <a:defRPr sz="1266" kern="1200">
          <a:solidFill>
            <a:schemeClr val="tx1"/>
          </a:solidFill>
          <a:latin typeface="+mn-lt"/>
          <a:ea typeface="+mn-ea"/>
          <a:cs typeface="+mn-cs"/>
        </a:defRPr>
      </a:lvl6pPr>
      <a:lvl7pPr marL="2014873" algn="l" defTabSz="671624" rtl="0" eaLnBrk="1" latinLnBrk="0" hangingPunct="1">
        <a:defRPr sz="1266" kern="1200">
          <a:solidFill>
            <a:schemeClr val="tx1"/>
          </a:solidFill>
          <a:latin typeface="+mn-lt"/>
          <a:ea typeface="+mn-ea"/>
          <a:cs typeface="+mn-cs"/>
        </a:defRPr>
      </a:lvl7pPr>
      <a:lvl8pPr marL="2350685" algn="l" defTabSz="671624" rtl="0" eaLnBrk="1" latinLnBrk="0" hangingPunct="1">
        <a:defRPr sz="1266" kern="1200">
          <a:solidFill>
            <a:schemeClr val="tx1"/>
          </a:solidFill>
          <a:latin typeface="+mn-lt"/>
          <a:ea typeface="+mn-ea"/>
          <a:cs typeface="+mn-cs"/>
        </a:defRPr>
      </a:lvl8pPr>
      <a:lvl9pPr marL="2686497" algn="l" defTabSz="671624" rtl="0" eaLnBrk="1" latinLnBrk="0" hangingPunct="1">
        <a:defRPr sz="126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4" y="268201"/>
            <a:ext cx="670791" cy="268200"/>
          </a:xfrm>
          <a:prstGeom prst="rect">
            <a:avLst/>
          </a:prstGeom>
        </p:spPr>
        <p:txBody>
          <a:bodyPr vert="horz" lIns="0" tIns="0" rIns="0" bIns="0" rtlCol="0" anchor="t" anchorCtr="0">
            <a:normAutofit/>
          </a:bodyPr>
          <a:lstStyle>
            <a:lvl1pPr algn="l">
              <a:defRPr sz="695" b="1">
                <a:solidFill>
                  <a:schemeClr val="tx1"/>
                </a:solidFill>
              </a:defRPr>
            </a:lvl1pPr>
          </a:lstStyle>
          <a:p>
            <a:fld id="{205AAB6B-C8DC-467C-B8C5-F1ADB02BF221}" type="datetime1">
              <a:rPr lang="nb-NO" smtClean="0"/>
              <a:t>19.10.2022</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695"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695" b="1">
                <a:solidFill>
                  <a:schemeClr val="tx1"/>
                </a:solidFill>
              </a:defRPr>
            </a:lvl1pPr>
          </a:lstStyle>
          <a:p>
            <a:fld id="{D8865200-363A-4A27-BFE2-9D2920C8E885}" type="slidenum">
              <a:rPr lang="nb-NO" smtClean="0"/>
              <a:pPr/>
              <a:t>‹#›</a:t>
            </a:fld>
            <a:endParaRPr lang="nb-NO"/>
          </a:p>
        </p:txBody>
      </p:sp>
      <p:grpSp>
        <p:nvGrpSpPr>
          <p:cNvPr id="156" name="prosses2" hidden="1"/>
          <p:cNvGrpSpPr>
            <a:grpSpLocks noChangeAspect="1"/>
          </p:cNvGrpSpPr>
          <p:nvPr userDrawn="1"/>
        </p:nvGrpSpPr>
        <p:grpSpPr bwMode="auto">
          <a:xfrm>
            <a:off x="3326607" y="1307523"/>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1</a:t>
              </a:r>
              <a:endParaRPr lang="en-US" altLang="en-US" sz="894">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2</a:t>
              </a:r>
              <a:endParaRPr lang="en-US" altLang="en-US" sz="894">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4</a:t>
              </a:r>
              <a:endParaRPr lang="en-US" altLang="en-US" sz="894">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3</a:t>
              </a:r>
              <a:endParaRPr lang="en-US" altLang="en-US" sz="894">
                <a:latin typeface="Arial" panose="020B0604020202020204" pitchFamily="34" charset="0"/>
              </a:endParaRPr>
            </a:p>
          </p:txBody>
        </p:sp>
      </p:grpSp>
      <p:grpSp>
        <p:nvGrpSpPr>
          <p:cNvPr id="157" name="prosses3" hidden="1"/>
          <p:cNvGrpSpPr>
            <a:grpSpLocks noChangeAspect="1"/>
          </p:cNvGrpSpPr>
          <p:nvPr userDrawn="1"/>
        </p:nvGrpSpPr>
        <p:grpSpPr bwMode="auto">
          <a:xfrm>
            <a:off x="3176986" y="1194761"/>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2</a:t>
              </a:r>
              <a:endParaRPr lang="en-US" altLang="en-US" sz="894">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a:solidFill>
                    <a:srgbClr val="010101"/>
                  </a:solidFill>
                  <a:latin typeface="Arial" panose="020B0604020202020204" pitchFamily="34" charset="0"/>
                </a:rPr>
                <a:t>prosseshjulet om.</a:t>
              </a:r>
              <a:endParaRPr lang="en-US" altLang="en-US" sz="695">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1</a:t>
              </a:r>
              <a:endParaRPr lang="en-US" altLang="en-US" sz="894">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a:solidFill>
                    <a:srgbClr val="010101"/>
                  </a:solidFill>
                  <a:latin typeface="Arial" panose="020B0604020202020204" pitchFamily="34" charset="0"/>
                </a:rPr>
                <a:t>prosseshjulet om.</a:t>
              </a:r>
              <a:endParaRPr lang="en-US" altLang="en-US" sz="695">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3</a:t>
              </a:r>
              <a:endParaRPr lang="en-US" altLang="en-US" sz="894">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a:solidFill>
                    <a:srgbClr val="010101"/>
                  </a:solidFill>
                  <a:latin typeface="Arial" panose="020B0604020202020204" pitchFamily="34" charset="0"/>
                </a:rPr>
                <a:t>prosseshjulet om.</a:t>
              </a:r>
              <a:endParaRPr lang="en-US" altLang="en-US" sz="695">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58" name="prosses5" hidden="1"/>
          <p:cNvGrpSpPr>
            <a:grpSpLocks noChangeAspect="1"/>
          </p:cNvGrpSpPr>
          <p:nvPr userDrawn="1"/>
        </p:nvGrpSpPr>
        <p:grpSpPr bwMode="auto">
          <a:xfrm>
            <a:off x="2987675"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1</a:t>
              </a:r>
              <a:endParaRPr lang="en-US" altLang="en-US" sz="894">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4</a:t>
              </a:r>
              <a:endParaRPr lang="en-US" altLang="en-US" sz="894">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2</a:t>
              </a:r>
              <a:endParaRPr lang="en-US" altLang="en-US" sz="894">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010101"/>
                  </a:solidFill>
                  <a:latin typeface="Arial" panose="020B0604020202020204" pitchFamily="34" charset="0"/>
                </a:rPr>
                <a:t>ARGUMENT 3</a:t>
              </a:r>
              <a:endParaRPr lang="en-US" altLang="en-US" sz="894">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grpSp>
      <p:grpSp>
        <p:nvGrpSpPr>
          <p:cNvPr id="159" name="prosses6" hidden="1"/>
          <p:cNvGrpSpPr>
            <a:grpSpLocks noChangeAspect="1"/>
          </p:cNvGrpSpPr>
          <p:nvPr userDrawn="1"/>
        </p:nvGrpSpPr>
        <p:grpSpPr bwMode="auto">
          <a:xfrm>
            <a:off x="2974181" y="954935"/>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1</a:t>
              </a:r>
              <a:endParaRPr lang="en-US" altLang="en-US" sz="894">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2</a:t>
              </a:r>
              <a:endParaRPr lang="en-US" altLang="en-US" sz="894">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3</a:t>
              </a:r>
              <a:endParaRPr lang="en-US" altLang="en-US" sz="894">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4</a:t>
              </a:r>
              <a:endParaRPr lang="en-US" altLang="en-US" sz="894">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a:solidFill>
                    <a:srgbClr val="FFFFFF"/>
                  </a:solidFill>
                  <a:latin typeface="Arial" panose="020B0604020202020204" pitchFamily="34" charset="0"/>
                </a:rPr>
                <a:t>ARGUMENT 5</a:t>
              </a:r>
              <a:endParaRPr lang="en-US" altLang="en-US" sz="894">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a:solidFill>
                    <a:srgbClr val="FFFFFF"/>
                  </a:solidFill>
                  <a:latin typeface="Arial" panose="020B0604020202020204" pitchFamily="34" charset="0"/>
                </a:rPr>
                <a:t>1 123 456</a:t>
              </a:r>
              <a:endParaRPr lang="en-US" altLang="en-US" sz="894">
                <a:latin typeface="Arial" panose="020B0604020202020204" pitchFamily="34" charset="0"/>
              </a:endParaRPr>
            </a:p>
          </p:txBody>
        </p:sp>
      </p:grpSp>
      <p:grpSp>
        <p:nvGrpSpPr>
          <p:cNvPr id="161" name="hus" hidden="1"/>
          <p:cNvGrpSpPr>
            <a:grpSpLocks noChangeAspect="1"/>
          </p:cNvGrpSpPr>
          <p:nvPr userDrawn="1"/>
        </p:nvGrpSpPr>
        <p:grpSpPr bwMode="auto">
          <a:xfrm>
            <a:off x="3996532" y="1927729"/>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2" name="app" hidden="1"/>
          <p:cNvGrpSpPr>
            <a:grpSpLocks noChangeAspect="1"/>
          </p:cNvGrpSpPr>
          <p:nvPr userDrawn="1"/>
        </p:nvGrpSpPr>
        <p:grpSpPr bwMode="auto">
          <a:xfrm>
            <a:off x="4197350" y="1946788"/>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3" name="person" hidden="1"/>
          <p:cNvGrpSpPr>
            <a:grpSpLocks noChangeAspect="1"/>
          </p:cNvGrpSpPr>
          <p:nvPr userDrawn="1"/>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4" name="person_slips" hidden="1"/>
          <p:cNvGrpSpPr>
            <a:grpSpLocks noChangeAspect="1"/>
          </p:cNvGrpSpPr>
          <p:nvPr userDrawn="1"/>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grpSp>
        <p:nvGrpSpPr>
          <p:cNvPr id="165" name="gruppe" hidden="1"/>
          <p:cNvGrpSpPr>
            <a:grpSpLocks noChangeAspect="1"/>
          </p:cNvGrpSpPr>
          <p:nvPr userDrawn="1"/>
        </p:nvGrpSpPr>
        <p:grpSpPr bwMode="auto">
          <a:xfrm>
            <a:off x="3754437" y="1953140"/>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sp>
        <p:nvSpPr>
          <p:cNvPr id="166" name="pilhoyre" hidden="1"/>
          <p:cNvSpPr>
            <a:spLocks/>
          </p:cNvSpPr>
          <p:nvPr userDrawn="1"/>
        </p:nvSpPr>
        <p:spPr bwMode="auto">
          <a:xfrm>
            <a:off x="4123135" y="2319229"/>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67" name="pilvenstre" hidden="1"/>
          <p:cNvSpPr>
            <a:spLocks/>
          </p:cNvSpPr>
          <p:nvPr userDrawn="1"/>
        </p:nvSpPr>
        <p:spPr bwMode="auto">
          <a:xfrm>
            <a:off x="4123135" y="2319229"/>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68" name="pilopp" hidden="1"/>
          <p:cNvSpPr>
            <a:spLocks/>
          </p:cNvSpPr>
          <p:nvPr userDrawn="1"/>
        </p:nvSpPr>
        <p:spPr bwMode="auto">
          <a:xfrm>
            <a:off x="4339035" y="2101244"/>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69" name="pilned" hidden="1"/>
          <p:cNvSpPr>
            <a:spLocks/>
          </p:cNvSpPr>
          <p:nvPr userDrawn="1"/>
        </p:nvSpPr>
        <p:spPr bwMode="auto">
          <a:xfrm>
            <a:off x="4339035" y="2102038"/>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nvGrpSpPr>
          <p:cNvPr id="170" name="prosses4" hidden="1"/>
          <p:cNvGrpSpPr/>
          <p:nvPr userDrawn="1"/>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1</a:t>
              </a:r>
              <a:endParaRPr lang="en-GB" sz="794" b="1" cap="all"/>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2</a:t>
              </a:r>
              <a:endParaRPr lang="en-GB" sz="794" b="1" cap="all"/>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3</a:t>
              </a:r>
              <a:endParaRPr lang="en-GB" sz="794" b="1" cap="all"/>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t>Argument 4</a:t>
              </a:r>
              <a:endParaRPr lang="en-GB" sz="794" b="1" cap="all"/>
            </a:p>
          </p:txBody>
        </p:sp>
      </p:grpSp>
      <p:grpSp>
        <p:nvGrpSpPr>
          <p:cNvPr id="171" name="prosses1" hidden="1"/>
          <p:cNvGrpSpPr/>
          <p:nvPr userDrawn="1"/>
        </p:nvGrpSpPr>
        <p:grpSpPr>
          <a:xfrm>
            <a:off x="3213895" y="1200715"/>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4011" eaLnBrk="0" fontAlgn="base" hangingPunct="0">
                  <a:spcBef>
                    <a:spcPct val="0"/>
                  </a:spcBef>
                  <a:spcAft>
                    <a:spcPct val="0"/>
                  </a:spcAft>
                </a:pPr>
                <a:r>
                  <a:rPr lang="en-US" altLang="en-US" sz="1390" b="1">
                    <a:solidFill>
                      <a:srgbClr val="010101"/>
                    </a:solidFill>
                    <a:latin typeface="Arial" panose="020B0604020202020204" pitchFamily="34" charset="0"/>
                  </a:rPr>
                  <a:t>Tittel</a:t>
                </a:r>
                <a:endParaRPr lang="en-US" altLang="en-US" sz="894">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894">
                    <a:solidFill>
                      <a:srgbClr val="010101"/>
                    </a:solidFill>
                    <a:latin typeface="Arial" panose="020B0604020202020204" pitchFamily="34" charset="0"/>
                  </a:rPr>
                  <a:t>Hva handler dette</a:t>
                </a:r>
                <a:br>
                  <a:rPr lang="en-US" altLang="en-US" sz="894">
                    <a:solidFill>
                      <a:srgbClr val="010101"/>
                    </a:solidFill>
                    <a:latin typeface="Arial" panose="020B0604020202020204" pitchFamily="34" charset="0"/>
                  </a:rPr>
                </a:br>
                <a:r>
                  <a:rPr lang="en-US" altLang="en-US" sz="894">
                    <a:solidFill>
                      <a:srgbClr val="010101"/>
                    </a:solidFill>
                    <a:latin typeface="Arial" panose="020B0604020202020204" pitchFamily="34" charset="0"/>
                  </a:rPr>
                  <a:t>prosseshjulet om?</a:t>
                </a:r>
                <a:endParaRPr lang="en-US" altLang="en-US" sz="894">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1</a:t>
              </a:r>
              <a:endParaRPr lang="en-GB" sz="794" b="1" cap="all">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2</a:t>
              </a:r>
              <a:endParaRPr lang="en-GB" sz="794" b="1" cap="all">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3</a:t>
              </a:r>
              <a:endParaRPr lang="en-GB" sz="794" b="1" cap="all">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4</a:t>
              </a:r>
              <a:endParaRPr lang="en-GB" sz="794" b="1" cap="all">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a:solidFill>
                    <a:schemeClr val="bg1"/>
                  </a:solidFill>
                </a:rPr>
                <a:t>Argument 5</a:t>
              </a:r>
              <a:endParaRPr lang="en-GB" sz="794" b="1" cap="all">
                <a:solidFill>
                  <a:schemeClr val="bg1"/>
                </a:solidFill>
              </a:endParaRPr>
            </a:p>
          </p:txBody>
        </p:sp>
      </p:grpSp>
      <p:pic>
        <p:nvPicPr>
          <p:cNvPr id="309" name="Bilde 30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grpSp>
        <p:nvGrpSpPr>
          <p:cNvPr id="7" name="Verden" hidden="1"/>
          <p:cNvGrpSpPr>
            <a:grpSpLocks noChangeAspect="1"/>
          </p:cNvGrpSpPr>
          <p:nvPr userDrawn="1"/>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6" name="Vaskeboette" hidden="1"/>
          <p:cNvGrpSpPr>
            <a:grpSpLocks noChangeAspect="1"/>
          </p:cNvGrpSpPr>
          <p:nvPr userDrawn="1"/>
        </p:nvGrpSpPr>
        <p:grpSpPr bwMode="auto">
          <a:xfrm>
            <a:off x="4102895" y="1946276"/>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27" name="UtenlandskArbeidstaker" hidden="1"/>
          <p:cNvGrpSpPr>
            <a:grpSpLocks noChangeAspect="1"/>
          </p:cNvGrpSpPr>
          <p:nvPr userDrawn="1"/>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3" name="Transportmiddel_tog" hidden="1"/>
          <p:cNvGrpSpPr>
            <a:grpSpLocks noChangeAspect="1"/>
          </p:cNvGrpSpPr>
          <p:nvPr userDrawn="1"/>
        </p:nvGrpSpPr>
        <p:grpSpPr bwMode="auto">
          <a:xfrm>
            <a:off x="4068764" y="1806576"/>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9" name="SvartArbeid" hidden="1"/>
          <p:cNvGrpSpPr>
            <a:grpSpLocks noChangeAspect="1"/>
          </p:cNvGrpSpPr>
          <p:nvPr userDrawn="1"/>
        </p:nvGrpSpPr>
        <p:grpSpPr bwMode="auto">
          <a:xfrm>
            <a:off x="4143376" y="1974851"/>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45" name="Skjema" hidden="1"/>
          <p:cNvGrpSpPr>
            <a:grpSpLocks noChangeAspect="1"/>
          </p:cNvGrpSpPr>
          <p:nvPr userDrawn="1"/>
        </p:nvGrpSpPr>
        <p:grpSpPr bwMode="auto">
          <a:xfrm>
            <a:off x="3430589"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64" name="Regnskapsfoerer" hidden="1"/>
          <p:cNvGrpSpPr>
            <a:grpSpLocks noChangeAspect="1"/>
          </p:cNvGrpSpPr>
          <p:nvPr userDrawn="1"/>
        </p:nvGrpSpPr>
        <p:grpSpPr bwMode="auto">
          <a:xfrm>
            <a:off x="4132264" y="1943101"/>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0" name="Pensjonist" hidden="1"/>
          <p:cNvGrpSpPr>
            <a:grpSpLocks noChangeAspect="1"/>
          </p:cNvGrpSpPr>
          <p:nvPr userDrawn="1"/>
        </p:nvGrpSpPr>
        <p:grpSpPr bwMode="auto">
          <a:xfrm>
            <a:off x="4133057" y="1893888"/>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6" name="Pengeoverfoering" hidden="1"/>
          <p:cNvGrpSpPr>
            <a:grpSpLocks noChangeAspect="1"/>
          </p:cNvGrpSpPr>
          <p:nvPr userDrawn="1"/>
        </p:nvGrpSpPr>
        <p:grpSpPr bwMode="auto">
          <a:xfrm>
            <a:off x="3571082" y="1752601"/>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2" name="Nettbrett" hidden="1"/>
          <p:cNvGrpSpPr>
            <a:grpSpLocks noChangeAspect="1"/>
          </p:cNvGrpSpPr>
          <p:nvPr userDrawn="1"/>
        </p:nvGrpSpPr>
        <p:grpSpPr bwMode="auto">
          <a:xfrm>
            <a:off x="3467101" y="1872457"/>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8" name="Mobil" hidden="1"/>
          <p:cNvGrpSpPr>
            <a:grpSpLocks noChangeAspect="1"/>
          </p:cNvGrpSpPr>
          <p:nvPr userDrawn="1"/>
        </p:nvGrpSpPr>
        <p:grpSpPr bwMode="auto">
          <a:xfrm>
            <a:off x="3971926" y="1579563"/>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24" name="Institusjon" hidden="1"/>
          <p:cNvGrpSpPr>
            <a:grpSpLocks noChangeAspect="1"/>
          </p:cNvGrpSpPr>
          <p:nvPr userDrawn="1"/>
        </p:nvGrpSpPr>
        <p:grpSpPr bwMode="auto">
          <a:xfrm>
            <a:off x="3409951" y="1926432"/>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52" name="Handpenger" hidden="1"/>
          <p:cNvGrpSpPr>
            <a:grpSpLocks noChangeAspect="1"/>
          </p:cNvGrpSpPr>
          <p:nvPr userDrawn="1"/>
        </p:nvGrpSpPr>
        <p:grpSpPr bwMode="auto">
          <a:xfrm>
            <a:off x="3331369" y="1750219"/>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63" name="Familie" hidden="1"/>
          <p:cNvGrpSpPr>
            <a:grpSpLocks noChangeAspect="1"/>
          </p:cNvGrpSpPr>
          <p:nvPr userDrawn="1"/>
        </p:nvGrpSpPr>
        <p:grpSpPr bwMode="auto">
          <a:xfrm>
            <a:off x="3744119" y="1870076"/>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82" name="Ektepar" hidden="1"/>
          <p:cNvGrpSpPr>
            <a:grpSpLocks noChangeAspect="1"/>
          </p:cNvGrpSpPr>
          <p:nvPr userDrawn="1"/>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91" name="Byggekloss" hidden="1"/>
          <p:cNvGrpSpPr>
            <a:grpSpLocks noChangeAspect="1"/>
          </p:cNvGrpSpPr>
          <p:nvPr userDrawn="1"/>
        </p:nvGrpSpPr>
        <p:grpSpPr bwMode="auto">
          <a:xfrm>
            <a:off x="3734594" y="2005807"/>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06" name="Baby" hidden="1"/>
          <p:cNvGrpSpPr>
            <a:grpSpLocks noChangeAspect="1"/>
          </p:cNvGrpSpPr>
          <p:nvPr userDrawn="1"/>
        </p:nvGrpSpPr>
        <p:grpSpPr bwMode="auto">
          <a:xfrm>
            <a:off x="4132264" y="1843088"/>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15" name="Utropstegn" hidden="1"/>
          <p:cNvGrpSpPr>
            <a:grpSpLocks noChangeAspect="1"/>
          </p:cNvGrpSpPr>
          <p:nvPr userDrawn="1"/>
        </p:nvGrpSpPr>
        <p:grpSpPr bwMode="auto">
          <a:xfrm>
            <a:off x="4279902"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20" name="penger" hidden="1"/>
          <p:cNvGrpSpPr>
            <a:grpSpLocks noChangeAspect="1"/>
          </p:cNvGrpSpPr>
          <p:nvPr userDrawn="1"/>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spTree>
    <p:extLst>
      <p:ext uri="{BB962C8B-B14F-4D97-AF65-F5344CB8AC3E}">
        <p14:creationId xmlns:p14="http://schemas.microsoft.com/office/powerpoint/2010/main" val="2259884546"/>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89" r:id="rId8"/>
  </p:sldLayoutIdLst>
  <p:hf sldNum="0" hdr="0" ftr="0" dt="0"/>
  <p:txStyles>
    <p:title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p:titleStyle>
    <p:bodyStyle>
      <a:lvl1pPr marL="169085" indent="-169085" algn="l" defTabSz="676341" rtl="0" eaLnBrk="1" latinLnBrk="0" hangingPunct="1">
        <a:lnSpc>
          <a:spcPct val="90000"/>
        </a:lnSpc>
        <a:spcBef>
          <a:spcPts val="740"/>
        </a:spcBef>
        <a:buFont typeface="Arial" panose="020B0604020202020204" pitchFamily="34" charset="0"/>
        <a:buChar char="•"/>
        <a:defRPr sz="1788" kern="1200">
          <a:solidFill>
            <a:schemeClr val="tx1"/>
          </a:solidFill>
          <a:latin typeface="+mn-lt"/>
          <a:ea typeface="+mn-ea"/>
          <a:cs typeface="+mn-cs"/>
        </a:defRPr>
      </a:lvl1pPr>
      <a:lvl2pPr marL="507257" indent="-169085" algn="l" defTabSz="676341" rtl="0" eaLnBrk="1" latinLnBrk="0" hangingPunct="1">
        <a:lnSpc>
          <a:spcPct val="90000"/>
        </a:lnSpc>
        <a:spcBef>
          <a:spcPts val="370"/>
        </a:spcBef>
        <a:buFont typeface="Arial" panose="020B0604020202020204" pitchFamily="34" charset="0"/>
        <a:buChar char="•"/>
        <a:defRPr sz="1589" kern="1200">
          <a:solidFill>
            <a:schemeClr val="tx1"/>
          </a:solidFill>
          <a:latin typeface="+mn-lt"/>
          <a:ea typeface="+mn-ea"/>
          <a:cs typeface="+mn-cs"/>
        </a:defRPr>
      </a:lvl2pPr>
      <a:lvl3pPr marL="845426" indent="-169085" algn="l" defTabSz="676341" rtl="0" eaLnBrk="1" latinLnBrk="0" hangingPunct="1">
        <a:lnSpc>
          <a:spcPct val="90000"/>
        </a:lnSpc>
        <a:spcBef>
          <a:spcPts val="370"/>
        </a:spcBef>
        <a:buFont typeface="Arial" panose="020B0604020202020204" pitchFamily="34" charset="0"/>
        <a:buChar char="•"/>
        <a:defRPr sz="1490" kern="1200">
          <a:solidFill>
            <a:schemeClr val="tx1"/>
          </a:solidFill>
          <a:latin typeface="+mn-lt"/>
          <a:ea typeface="+mn-ea"/>
          <a:cs typeface="+mn-cs"/>
        </a:defRPr>
      </a:lvl3pPr>
      <a:lvl4pPr marL="1183596"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4pPr>
      <a:lvl5pPr marL="1521767" indent="-169085" algn="l" defTabSz="676341" rtl="0" eaLnBrk="1" latinLnBrk="0" hangingPunct="1">
        <a:lnSpc>
          <a:spcPct val="90000"/>
        </a:lnSpc>
        <a:spcBef>
          <a:spcPts val="370"/>
        </a:spcBef>
        <a:buFont typeface="Arial" panose="020B0604020202020204" pitchFamily="34" charset="0"/>
        <a:buChar char="•"/>
        <a:defRPr sz="1192" kern="1200">
          <a:solidFill>
            <a:schemeClr val="tx1"/>
          </a:solidFill>
          <a:latin typeface="+mn-lt"/>
          <a:ea typeface="+mn-ea"/>
          <a:cs typeface="+mn-cs"/>
        </a:defRPr>
      </a:lvl5pPr>
      <a:lvl6pPr marL="1859938"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6pPr>
      <a:lvl7pPr marL="219810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7pPr>
      <a:lvl8pPr marL="253627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8pPr>
      <a:lvl9pPr marL="287444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9pPr>
    </p:bodyStyle>
    <p:otherStyle>
      <a:defPPr>
        <a:defRPr lang="en-US"/>
      </a:defPPr>
      <a:lvl1pPr marL="0" algn="l" defTabSz="676341" rtl="0" eaLnBrk="1" latinLnBrk="0" hangingPunct="1">
        <a:defRPr sz="1291" kern="1200">
          <a:solidFill>
            <a:schemeClr val="tx1"/>
          </a:solidFill>
          <a:latin typeface="+mn-lt"/>
          <a:ea typeface="+mn-ea"/>
          <a:cs typeface="+mn-cs"/>
        </a:defRPr>
      </a:lvl1pPr>
      <a:lvl2pPr marL="338170" algn="l" defTabSz="676341" rtl="0" eaLnBrk="1" latinLnBrk="0" hangingPunct="1">
        <a:defRPr sz="1291" kern="1200">
          <a:solidFill>
            <a:schemeClr val="tx1"/>
          </a:solidFill>
          <a:latin typeface="+mn-lt"/>
          <a:ea typeface="+mn-ea"/>
          <a:cs typeface="+mn-cs"/>
        </a:defRPr>
      </a:lvl2pPr>
      <a:lvl3pPr marL="676341" algn="l" defTabSz="676341" rtl="0" eaLnBrk="1" latinLnBrk="0" hangingPunct="1">
        <a:defRPr sz="1291" kern="1200">
          <a:solidFill>
            <a:schemeClr val="tx1"/>
          </a:solidFill>
          <a:latin typeface="+mn-lt"/>
          <a:ea typeface="+mn-ea"/>
          <a:cs typeface="+mn-cs"/>
        </a:defRPr>
      </a:lvl3pPr>
      <a:lvl4pPr marL="1014511" algn="l" defTabSz="676341" rtl="0" eaLnBrk="1" latinLnBrk="0" hangingPunct="1">
        <a:defRPr sz="1291" kern="1200">
          <a:solidFill>
            <a:schemeClr val="tx1"/>
          </a:solidFill>
          <a:latin typeface="+mn-lt"/>
          <a:ea typeface="+mn-ea"/>
          <a:cs typeface="+mn-cs"/>
        </a:defRPr>
      </a:lvl4pPr>
      <a:lvl5pPr marL="1352683" algn="l" defTabSz="676341" rtl="0" eaLnBrk="1" latinLnBrk="0" hangingPunct="1">
        <a:defRPr sz="1291" kern="1200">
          <a:solidFill>
            <a:schemeClr val="tx1"/>
          </a:solidFill>
          <a:latin typeface="+mn-lt"/>
          <a:ea typeface="+mn-ea"/>
          <a:cs typeface="+mn-cs"/>
        </a:defRPr>
      </a:lvl5pPr>
      <a:lvl6pPr marL="1690852" algn="l" defTabSz="676341" rtl="0" eaLnBrk="1" latinLnBrk="0" hangingPunct="1">
        <a:defRPr sz="1291" kern="1200">
          <a:solidFill>
            <a:schemeClr val="tx1"/>
          </a:solidFill>
          <a:latin typeface="+mn-lt"/>
          <a:ea typeface="+mn-ea"/>
          <a:cs typeface="+mn-cs"/>
        </a:defRPr>
      </a:lvl6pPr>
      <a:lvl7pPr marL="2029023" algn="l" defTabSz="676341" rtl="0" eaLnBrk="1" latinLnBrk="0" hangingPunct="1">
        <a:defRPr sz="1291" kern="1200">
          <a:solidFill>
            <a:schemeClr val="tx1"/>
          </a:solidFill>
          <a:latin typeface="+mn-lt"/>
          <a:ea typeface="+mn-ea"/>
          <a:cs typeface="+mn-cs"/>
        </a:defRPr>
      </a:lvl7pPr>
      <a:lvl8pPr marL="2367194" algn="l" defTabSz="676341" rtl="0" eaLnBrk="1" latinLnBrk="0" hangingPunct="1">
        <a:defRPr sz="1291" kern="1200">
          <a:solidFill>
            <a:schemeClr val="tx1"/>
          </a:solidFill>
          <a:latin typeface="+mn-lt"/>
          <a:ea typeface="+mn-ea"/>
          <a:cs typeface="+mn-cs"/>
        </a:defRPr>
      </a:lvl8pPr>
      <a:lvl9pPr marL="2705364" algn="l" defTabSz="676341" rtl="0" eaLnBrk="1" latinLnBrk="0" hangingPunct="1">
        <a:defRPr sz="129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a:t>Klikk for å redigere tittelstil</a:t>
            </a:r>
            <a:endParaRPr lang="en-US"/>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7982413" y="268201"/>
            <a:ext cx="670791" cy="268200"/>
          </a:xfrm>
          <a:prstGeom prst="rect">
            <a:avLst/>
          </a:prstGeom>
        </p:spPr>
        <p:txBody>
          <a:bodyPr vert="horz" lIns="0" tIns="0" rIns="0" bIns="0" rtlCol="0" anchor="t" anchorCtr="0">
            <a:normAutofit/>
          </a:bodyPr>
          <a:lstStyle>
            <a:lvl1pPr algn="l">
              <a:defRPr sz="700" b="1">
                <a:solidFill>
                  <a:schemeClr val="tx1"/>
                </a:solidFill>
              </a:defRPr>
            </a:lvl1pPr>
          </a:lstStyle>
          <a:p>
            <a:fld id="{205AAB6B-C8DC-467C-B8C5-F1ADB02BF221}" type="datetime1">
              <a:rPr lang="nb-NO" smtClean="0"/>
              <a:t>19.10.2022</a:t>
            </a:fld>
            <a:endParaRPr lang="nb-NO"/>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700" b="1">
                <a:solidFill>
                  <a:schemeClr val="tx1"/>
                </a:solidFill>
              </a:defRPr>
            </a:lvl1pPr>
          </a:lstStyle>
          <a:p>
            <a:endParaRPr lang="nb-NO"/>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700" b="1">
                <a:solidFill>
                  <a:schemeClr val="tx1"/>
                </a:solidFill>
              </a:defRPr>
            </a:lvl1pPr>
          </a:lstStyle>
          <a:p>
            <a:fld id="{D8865200-363A-4A27-BFE2-9D2920C8E885}" type="slidenum">
              <a:rPr lang="nb-NO" smtClean="0"/>
              <a:pPr/>
              <a:t>‹#›</a:t>
            </a:fld>
            <a:endParaRPr lang="nb-NO"/>
          </a:p>
        </p:txBody>
      </p:sp>
      <p:grpSp>
        <p:nvGrpSpPr>
          <p:cNvPr id="156" name="prosses2" hidden="1"/>
          <p:cNvGrpSpPr>
            <a:grpSpLocks noChangeAspect="1"/>
          </p:cNvGrpSpPr>
          <p:nvPr/>
        </p:nvGrpSpPr>
        <p:grpSpPr bwMode="auto">
          <a:xfrm>
            <a:off x="3326607" y="1307522"/>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grpSp>
      <p:grpSp>
        <p:nvGrpSpPr>
          <p:cNvPr id="157" name="prosses3" hidden="1"/>
          <p:cNvGrpSpPr>
            <a:grpSpLocks noChangeAspect="1"/>
          </p:cNvGrpSpPr>
          <p:nvPr/>
        </p:nvGrpSpPr>
        <p:grpSpPr bwMode="auto">
          <a:xfrm>
            <a:off x="3176985" y="1194760"/>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defRPr/>
              </a:pPr>
              <a:r>
                <a:rPr lang="en-US" altLang="en-US" sz="700">
                  <a:solidFill>
                    <a:srgbClr val="010101"/>
                  </a:solidFill>
                  <a:latin typeface="Arial" panose="020B0604020202020204" pitchFamily="34" charset="0"/>
                </a:rPr>
                <a:t>prosseshjulet om.</a:t>
              </a:r>
              <a:endParaRPr lang="en-US" altLang="en-US" sz="700">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58" name="prosses5" hidden="1"/>
          <p:cNvGrpSpPr>
            <a:grpSpLocks noChangeAspect="1"/>
          </p:cNvGrpSpPr>
          <p:nvPr/>
        </p:nvGrpSpPr>
        <p:grpSpPr bwMode="auto">
          <a:xfrm>
            <a:off x="2987674"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1</a:t>
              </a:r>
              <a:endParaRPr lang="en-US" altLang="en-US" sz="900">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4</a:t>
              </a:r>
              <a:endParaRPr lang="en-US" altLang="en-US" sz="900">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2</a:t>
              </a:r>
              <a:endParaRPr lang="en-US" altLang="en-US" sz="900">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010101"/>
                  </a:solidFill>
                  <a:latin typeface="Arial" panose="020B0604020202020204" pitchFamily="34" charset="0"/>
                </a:rPr>
                <a:t>ARGUMENT 3</a:t>
              </a:r>
              <a:endParaRPr lang="en-US" altLang="en-US" sz="900">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010101"/>
                  </a:solidFill>
                  <a:latin typeface="Arial" panose="020B0604020202020204" pitchFamily="34" charset="0"/>
                </a:rPr>
                <a:t>Hva handler dette</a:t>
              </a:r>
            </a:p>
            <a:p>
              <a:pPr defTabSz="457200" eaLnBrk="0" fontAlgn="base" hangingPunct="0">
                <a:spcBef>
                  <a:spcPct val="0"/>
                </a:spcBef>
                <a:spcAft>
                  <a:spcPct val="0"/>
                </a:spcAft>
              </a:pPr>
              <a:r>
                <a:rPr lang="en-US" altLang="en-US" sz="7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grpSp>
        <p:nvGrpSpPr>
          <p:cNvPr id="159" name="prosses6" hidden="1"/>
          <p:cNvGrpSpPr>
            <a:grpSpLocks noChangeAspect="1"/>
          </p:cNvGrpSpPr>
          <p:nvPr/>
        </p:nvGrpSpPr>
        <p:grpSpPr bwMode="auto">
          <a:xfrm>
            <a:off x="2974181" y="954934"/>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1</a:t>
              </a:r>
              <a:endParaRPr lang="en-US" altLang="en-US" sz="900">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2</a:t>
              </a:r>
              <a:endParaRPr lang="en-US" altLang="en-US" sz="900">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3</a:t>
              </a:r>
              <a:endParaRPr lang="en-US" altLang="en-US" sz="900">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4</a:t>
              </a:r>
              <a:endParaRPr lang="en-US" altLang="en-US" sz="900">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800" b="1">
                  <a:solidFill>
                    <a:srgbClr val="FFFFFF"/>
                  </a:solidFill>
                  <a:latin typeface="Arial" panose="020B0604020202020204" pitchFamily="34" charset="0"/>
                </a:rPr>
                <a:t>ARGUMENT 5</a:t>
              </a:r>
              <a:endParaRPr lang="en-US" altLang="en-US" sz="900">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700">
                  <a:solidFill>
                    <a:srgbClr val="FFFFFF"/>
                  </a:solidFill>
                  <a:latin typeface="Arial" panose="020B0604020202020204" pitchFamily="34" charset="0"/>
                </a:rPr>
                <a:t>1 123 456</a:t>
              </a:r>
              <a:endParaRPr lang="en-US" altLang="en-US" sz="900">
                <a:latin typeface="Arial" panose="020B0604020202020204" pitchFamily="34" charset="0"/>
              </a:endParaRPr>
            </a:p>
          </p:txBody>
        </p:sp>
      </p:grpSp>
      <p:grpSp>
        <p:nvGrpSpPr>
          <p:cNvPr id="161" name="hus" hidden="1"/>
          <p:cNvGrpSpPr>
            <a:grpSpLocks noChangeAspect="1"/>
          </p:cNvGrpSpPr>
          <p:nvPr/>
        </p:nvGrpSpPr>
        <p:grpSpPr bwMode="auto">
          <a:xfrm>
            <a:off x="3996531" y="1927728"/>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2" name="app" hidden="1"/>
          <p:cNvGrpSpPr>
            <a:grpSpLocks noChangeAspect="1"/>
          </p:cNvGrpSpPr>
          <p:nvPr/>
        </p:nvGrpSpPr>
        <p:grpSpPr bwMode="auto">
          <a:xfrm>
            <a:off x="4197350" y="1946787"/>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3" name="person" hidden="1"/>
          <p:cNvGrpSpPr>
            <a:grpSpLocks noChangeAspect="1"/>
          </p:cNvGrpSpPr>
          <p:nvPr/>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4" name="person_slips" hidden="1"/>
          <p:cNvGrpSpPr>
            <a:grpSpLocks noChangeAspect="1"/>
          </p:cNvGrpSpPr>
          <p:nvPr/>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grpSp>
        <p:nvGrpSpPr>
          <p:cNvPr id="165" name="gruppe" hidden="1"/>
          <p:cNvGrpSpPr>
            <a:grpSpLocks noChangeAspect="1"/>
          </p:cNvGrpSpPr>
          <p:nvPr/>
        </p:nvGrpSpPr>
        <p:grpSpPr bwMode="auto">
          <a:xfrm>
            <a:off x="3754437" y="1953139"/>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66" name="pilhoyre" hidden="1"/>
          <p:cNvSpPr>
            <a:spLocks/>
          </p:cNvSpPr>
          <p:nvPr/>
        </p:nvSpPr>
        <p:spPr bwMode="auto">
          <a:xfrm>
            <a:off x="4123135" y="2319228"/>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7" name="pilvenstre" hidden="1"/>
          <p:cNvSpPr>
            <a:spLocks/>
          </p:cNvSpPr>
          <p:nvPr/>
        </p:nvSpPr>
        <p:spPr bwMode="auto">
          <a:xfrm>
            <a:off x="4123135" y="2319228"/>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8" name="pilopp" hidden="1"/>
          <p:cNvSpPr>
            <a:spLocks/>
          </p:cNvSpPr>
          <p:nvPr/>
        </p:nvSpPr>
        <p:spPr bwMode="auto">
          <a:xfrm>
            <a:off x="4339035" y="2101243"/>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69" name="pilned" hidden="1"/>
          <p:cNvSpPr>
            <a:spLocks/>
          </p:cNvSpPr>
          <p:nvPr/>
        </p:nvSpPr>
        <p:spPr bwMode="auto">
          <a:xfrm>
            <a:off x="4339035" y="2102037"/>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20" tIns="22860" rIns="45720" bIns="2286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nvGrpSpPr>
          <p:cNvPr id="170" name="prosses4" hidden="1"/>
          <p:cNvGrpSpPr/>
          <p:nvPr/>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1</a:t>
              </a:r>
              <a:endParaRPr lang="en-GB" sz="800" b="1" cap="all"/>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2</a:t>
              </a:r>
              <a:endParaRPr lang="en-GB" sz="800" b="1" cap="all"/>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3</a:t>
              </a:r>
              <a:endParaRPr lang="en-GB" sz="800" b="1" cap="all"/>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t>Argument 4</a:t>
              </a:r>
              <a:endParaRPr lang="en-GB" sz="800" b="1" cap="all"/>
            </a:p>
          </p:txBody>
        </p:sp>
      </p:grpSp>
      <p:grpSp>
        <p:nvGrpSpPr>
          <p:cNvPr id="171" name="prosses1" hidden="1"/>
          <p:cNvGrpSpPr/>
          <p:nvPr/>
        </p:nvGrpSpPr>
        <p:grpSpPr>
          <a:xfrm>
            <a:off x="3213894" y="1200714"/>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7200" eaLnBrk="0" fontAlgn="base" hangingPunct="0">
                  <a:spcBef>
                    <a:spcPct val="0"/>
                  </a:spcBef>
                  <a:spcAft>
                    <a:spcPct val="0"/>
                  </a:spcAft>
                </a:pPr>
                <a:r>
                  <a:rPr lang="en-US" altLang="en-US" sz="1400" b="1">
                    <a:solidFill>
                      <a:srgbClr val="010101"/>
                    </a:solidFill>
                    <a:latin typeface="Arial" panose="020B0604020202020204" pitchFamily="34" charset="0"/>
                  </a:rPr>
                  <a:t>Tittel</a:t>
                </a:r>
                <a:endParaRPr lang="en-US" altLang="en-US" sz="900">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7200" eaLnBrk="0" fontAlgn="base" hangingPunct="0">
                  <a:spcBef>
                    <a:spcPct val="0"/>
                  </a:spcBef>
                  <a:spcAft>
                    <a:spcPct val="0"/>
                  </a:spcAft>
                </a:pPr>
                <a:r>
                  <a:rPr lang="en-US" altLang="en-US" sz="900">
                    <a:solidFill>
                      <a:srgbClr val="010101"/>
                    </a:solidFill>
                    <a:latin typeface="Arial" panose="020B0604020202020204" pitchFamily="34" charset="0"/>
                  </a:rPr>
                  <a:t>Hva handler dette</a:t>
                </a:r>
                <a:br>
                  <a:rPr lang="en-US" altLang="en-US" sz="900">
                    <a:solidFill>
                      <a:srgbClr val="010101"/>
                    </a:solidFill>
                    <a:latin typeface="Arial" panose="020B0604020202020204" pitchFamily="34" charset="0"/>
                  </a:rPr>
                </a:br>
                <a:r>
                  <a:rPr lang="en-US" altLang="en-US" sz="900">
                    <a:solidFill>
                      <a:srgbClr val="010101"/>
                    </a:solidFill>
                    <a:latin typeface="Arial" panose="020B0604020202020204" pitchFamily="34" charset="0"/>
                  </a:rPr>
                  <a:t>prosseshjulet om?</a:t>
                </a:r>
                <a:endParaRPr lang="en-US" altLang="en-US" sz="900">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1</a:t>
              </a:r>
              <a:endParaRPr lang="en-GB" sz="800" b="1" cap="all">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2</a:t>
              </a:r>
              <a:endParaRPr lang="en-GB" sz="800" b="1" cap="all">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3</a:t>
              </a:r>
              <a:endParaRPr lang="en-GB" sz="800" b="1" cap="all">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4</a:t>
              </a:r>
              <a:endParaRPr lang="en-GB" sz="800" b="1" cap="all">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800" b="1" cap="all">
                  <a:solidFill>
                    <a:schemeClr val="bg1"/>
                  </a:solidFill>
                </a:rPr>
                <a:t>Argument 5</a:t>
              </a:r>
              <a:endParaRPr lang="en-GB" sz="800" b="1" cap="all">
                <a:solidFill>
                  <a:schemeClr val="bg1"/>
                </a:solidFill>
              </a:endParaRPr>
            </a:p>
          </p:txBody>
        </p:sp>
      </p:grpSp>
      <p:pic>
        <p:nvPicPr>
          <p:cNvPr id="309" name="Bilde 30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88036" y="288036"/>
            <a:ext cx="543600" cy="657234"/>
          </a:xfrm>
          <a:prstGeom prst="rect">
            <a:avLst/>
          </a:prstGeom>
        </p:spPr>
      </p:pic>
      <p:grpSp>
        <p:nvGrpSpPr>
          <p:cNvPr id="7" name="Verden" hidden="1"/>
          <p:cNvGrpSpPr>
            <a:grpSpLocks noChangeAspect="1"/>
          </p:cNvGrpSpPr>
          <p:nvPr/>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6" name="Vaskeboette" hidden="1"/>
          <p:cNvGrpSpPr>
            <a:grpSpLocks noChangeAspect="1"/>
          </p:cNvGrpSpPr>
          <p:nvPr/>
        </p:nvGrpSpPr>
        <p:grpSpPr bwMode="auto">
          <a:xfrm>
            <a:off x="4102895" y="1946275"/>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27" name="UtenlandskArbeidstaker" hidden="1"/>
          <p:cNvGrpSpPr>
            <a:grpSpLocks noChangeAspect="1"/>
          </p:cNvGrpSpPr>
          <p:nvPr/>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3" name="Transportmiddel_tog" hidden="1"/>
          <p:cNvGrpSpPr>
            <a:grpSpLocks noChangeAspect="1"/>
          </p:cNvGrpSpPr>
          <p:nvPr/>
        </p:nvGrpSpPr>
        <p:grpSpPr bwMode="auto">
          <a:xfrm>
            <a:off x="4068763" y="1806575"/>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39" name="SvartArbeid" hidden="1"/>
          <p:cNvGrpSpPr>
            <a:grpSpLocks noChangeAspect="1"/>
          </p:cNvGrpSpPr>
          <p:nvPr/>
        </p:nvGrpSpPr>
        <p:grpSpPr bwMode="auto">
          <a:xfrm>
            <a:off x="4143375" y="1974850"/>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45" name="Skjema" hidden="1"/>
          <p:cNvGrpSpPr>
            <a:grpSpLocks noChangeAspect="1"/>
          </p:cNvGrpSpPr>
          <p:nvPr/>
        </p:nvGrpSpPr>
        <p:grpSpPr bwMode="auto">
          <a:xfrm>
            <a:off x="3430588"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964" name="Regnskapsfoerer" hidden="1"/>
          <p:cNvGrpSpPr>
            <a:grpSpLocks noChangeAspect="1"/>
          </p:cNvGrpSpPr>
          <p:nvPr/>
        </p:nvGrpSpPr>
        <p:grpSpPr bwMode="auto">
          <a:xfrm>
            <a:off x="4132263" y="1943100"/>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0" name="Pensjonist" hidden="1"/>
          <p:cNvGrpSpPr>
            <a:grpSpLocks noChangeAspect="1"/>
          </p:cNvGrpSpPr>
          <p:nvPr/>
        </p:nvGrpSpPr>
        <p:grpSpPr bwMode="auto">
          <a:xfrm>
            <a:off x="4133057" y="1893887"/>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976" name="Pengeoverfoering" hidden="1"/>
          <p:cNvGrpSpPr>
            <a:grpSpLocks noChangeAspect="1"/>
          </p:cNvGrpSpPr>
          <p:nvPr/>
        </p:nvGrpSpPr>
        <p:grpSpPr bwMode="auto">
          <a:xfrm>
            <a:off x="3571082" y="1752600"/>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12" name="Nettbrett" hidden="1"/>
          <p:cNvGrpSpPr>
            <a:grpSpLocks noChangeAspect="1"/>
          </p:cNvGrpSpPr>
          <p:nvPr/>
        </p:nvGrpSpPr>
        <p:grpSpPr bwMode="auto">
          <a:xfrm>
            <a:off x="3467100" y="1872456"/>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18" name="Mobil" hidden="1"/>
          <p:cNvGrpSpPr>
            <a:grpSpLocks noChangeAspect="1"/>
          </p:cNvGrpSpPr>
          <p:nvPr/>
        </p:nvGrpSpPr>
        <p:grpSpPr bwMode="auto">
          <a:xfrm>
            <a:off x="3971925" y="1579562"/>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24" name="Institusjon" hidden="1"/>
          <p:cNvGrpSpPr>
            <a:grpSpLocks noChangeAspect="1"/>
          </p:cNvGrpSpPr>
          <p:nvPr/>
        </p:nvGrpSpPr>
        <p:grpSpPr bwMode="auto">
          <a:xfrm>
            <a:off x="3409950" y="1926431"/>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52" name="Handpenger" hidden="1"/>
          <p:cNvGrpSpPr>
            <a:grpSpLocks noChangeAspect="1"/>
          </p:cNvGrpSpPr>
          <p:nvPr/>
        </p:nvGrpSpPr>
        <p:grpSpPr bwMode="auto">
          <a:xfrm>
            <a:off x="3331369" y="1750218"/>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063" name="Familie" hidden="1"/>
          <p:cNvGrpSpPr>
            <a:grpSpLocks noChangeAspect="1"/>
          </p:cNvGrpSpPr>
          <p:nvPr/>
        </p:nvGrpSpPr>
        <p:grpSpPr bwMode="auto">
          <a:xfrm>
            <a:off x="3744119" y="1870075"/>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82" name="Ektepar" hidden="1"/>
          <p:cNvGrpSpPr>
            <a:grpSpLocks noChangeAspect="1"/>
          </p:cNvGrpSpPr>
          <p:nvPr/>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091" name="Byggekloss" hidden="1"/>
          <p:cNvGrpSpPr>
            <a:grpSpLocks noChangeAspect="1"/>
          </p:cNvGrpSpPr>
          <p:nvPr/>
        </p:nvGrpSpPr>
        <p:grpSpPr bwMode="auto">
          <a:xfrm>
            <a:off x="3734594" y="2005806"/>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06" name="Baby" hidden="1"/>
          <p:cNvGrpSpPr>
            <a:grpSpLocks noChangeAspect="1"/>
          </p:cNvGrpSpPr>
          <p:nvPr/>
        </p:nvGrpSpPr>
        <p:grpSpPr bwMode="auto">
          <a:xfrm>
            <a:off x="4132263" y="1843087"/>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grpSp>
        <p:nvGrpSpPr>
          <p:cNvPr id="1115" name="Utropstegn" hidden="1"/>
          <p:cNvGrpSpPr>
            <a:grpSpLocks noChangeAspect="1"/>
          </p:cNvGrpSpPr>
          <p:nvPr/>
        </p:nvGrpSpPr>
        <p:grpSpPr bwMode="auto">
          <a:xfrm>
            <a:off x="4279901"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grpSp>
        <p:nvGrpSpPr>
          <p:cNvPr id="1120" name="penger" hidden="1"/>
          <p:cNvGrpSpPr>
            <a:grpSpLocks noChangeAspect="1"/>
          </p:cNvGrpSpPr>
          <p:nvPr/>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2359313146"/>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Lst>
  <p:hf sldNum="0" hdr="0" ftr="0" dt="0"/>
  <p:txStyles>
    <p:title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p:titleStyle>
    <p:body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1091" rtl="0" eaLnBrk="1" latinLnBrk="0" hangingPunct="1">
        <a:defRPr sz="1300" kern="1200">
          <a:solidFill>
            <a:schemeClr val="tx1"/>
          </a:solidFill>
          <a:latin typeface="+mn-lt"/>
          <a:ea typeface="+mn-ea"/>
          <a:cs typeface="+mn-cs"/>
        </a:defRPr>
      </a:lvl1pPr>
      <a:lvl2pPr marL="340545" algn="l" defTabSz="681091" rtl="0" eaLnBrk="1" latinLnBrk="0" hangingPunct="1">
        <a:defRPr sz="1300" kern="1200">
          <a:solidFill>
            <a:schemeClr val="tx1"/>
          </a:solidFill>
          <a:latin typeface="+mn-lt"/>
          <a:ea typeface="+mn-ea"/>
          <a:cs typeface="+mn-cs"/>
        </a:defRPr>
      </a:lvl2pPr>
      <a:lvl3pPr marL="681091" algn="l" defTabSz="681091" rtl="0" eaLnBrk="1" latinLnBrk="0" hangingPunct="1">
        <a:defRPr sz="1300" kern="1200">
          <a:solidFill>
            <a:schemeClr val="tx1"/>
          </a:solidFill>
          <a:latin typeface="+mn-lt"/>
          <a:ea typeface="+mn-ea"/>
          <a:cs typeface="+mn-cs"/>
        </a:defRPr>
      </a:lvl3pPr>
      <a:lvl4pPr marL="1021636" algn="l" defTabSz="681091" rtl="0" eaLnBrk="1" latinLnBrk="0" hangingPunct="1">
        <a:defRPr sz="1300" kern="1200">
          <a:solidFill>
            <a:schemeClr val="tx1"/>
          </a:solidFill>
          <a:latin typeface="+mn-lt"/>
          <a:ea typeface="+mn-ea"/>
          <a:cs typeface="+mn-cs"/>
        </a:defRPr>
      </a:lvl4pPr>
      <a:lvl5pPr marL="1362183" algn="l" defTabSz="681091" rtl="0" eaLnBrk="1" latinLnBrk="0" hangingPunct="1">
        <a:defRPr sz="1300" kern="1200">
          <a:solidFill>
            <a:schemeClr val="tx1"/>
          </a:solidFill>
          <a:latin typeface="+mn-lt"/>
          <a:ea typeface="+mn-ea"/>
          <a:cs typeface="+mn-cs"/>
        </a:defRPr>
      </a:lvl5pPr>
      <a:lvl6pPr marL="1702727" algn="l" defTabSz="681091" rtl="0" eaLnBrk="1" latinLnBrk="0" hangingPunct="1">
        <a:defRPr sz="1300" kern="1200">
          <a:solidFill>
            <a:schemeClr val="tx1"/>
          </a:solidFill>
          <a:latin typeface="+mn-lt"/>
          <a:ea typeface="+mn-ea"/>
          <a:cs typeface="+mn-cs"/>
        </a:defRPr>
      </a:lvl6pPr>
      <a:lvl7pPr marL="2043272" algn="l" defTabSz="681091" rtl="0" eaLnBrk="1" latinLnBrk="0" hangingPunct="1">
        <a:defRPr sz="1300" kern="1200">
          <a:solidFill>
            <a:schemeClr val="tx1"/>
          </a:solidFill>
          <a:latin typeface="+mn-lt"/>
          <a:ea typeface="+mn-ea"/>
          <a:cs typeface="+mn-cs"/>
        </a:defRPr>
      </a:lvl7pPr>
      <a:lvl8pPr marL="2383818" algn="l" defTabSz="681091" rtl="0" eaLnBrk="1" latinLnBrk="0" hangingPunct="1">
        <a:defRPr sz="1300" kern="1200">
          <a:solidFill>
            <a:schemeClr val="tx1"/>
          </a:solidFill>
          <a:latin typeface="+mn-lt"/>
          <a:ea typeface="+mn-ea"/>
          <a:cs typeface="+mn-cs"/>
        </a:defRPr>
      </a:lvl8pPr>
      <a:lvl9pPr marL="2724363" algn="l" defTabSz="681091" rtl="0" eaLnBrk="1" latinLnBrk="0" hangingPunct="1">
        <a:defRPr sz="13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8036" y="1263758"/>
            <a:ext cx="8365168" cy="512448"/>
          </a:xfrm>
          <a:prstGeom prst="rect">
            <a:avLst/>
          </a:prstGeom>
        </p:spPr>
        <p:txBody>
          <a:bodyPr vert="horz" wrap="square" lIns="0" tIns="0" rIns="0" bIns="0" rtlCol="0" anchor="t" anchorCtr="0">
            <a:normAutofit/>
          </a:bodyPr>
          <a:lstStyle/>
          <a:p>
            <a:r>
              <a:rPr lang="nb-NO" dirty="0"/>
              <a:t>Klikk for å redigere tittelstil</a:t>
            </a:r>
            <a:endParaRPr lang="en-US" dirty="0"/>
          </a:p>
        </p:txBody>
      </p:sp>
      <p:sp>
        <p:nvSpPr>
          <p:cNvPr id="3" name="Text Placeholder 2"/>
          <p:cNvSpPr>
            <a:spLocks noGrp="1"/>
          </p:cNvSpPr>
          <p:nvPr>
            <p:ph type="body" idx="1"/>
          </p:nvPr>
        </p:nvSpPr>
        <p:spPr>
          <a:xfrm>
            <a:off x="288036" y="1980248"/>
            <a:ext cx="8371046" cy="2772346"/>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2"/>
          </p:nvPr>
        </p:nvSpPr>
        <p:spPr>
          <a:xfrm>
            <a:off x="7982414" y="268201"/>
            <a:ext cx="670791" cy="268200"/>
          </a:xfrm>
          <a:prstGeom prst="rect">
            <a:avLst/>
          </a:prstGeom>
        </p:spPr>
        <p:txBody>
          <a:bodyPr vert="horz" lIns="0" tIns="0" rIns="0" bIns="0" rtlCol="0" anchor="t" anchorCtr="0">
            <a:normAutofit/>
          </a:bodyPr>
          <a:lstStyle>
            <a:lvl1pPr algn="l">
              <a:defRPr sz="695" b="1">
                <a:solidFill>
                  <a:schemeClr val="tx1"/>
                </a:solidFill>
              </a:defRPr>
            </a:lvl1pPr>
          </a:lstStyle>
          <a:p>
            <a:fld id="{205AAB6B-C8DC-467C-B8C5-F1ADB02BF221}" type="datetime1">
              <a:rPr lang="nb-NO" smtClean="0"/>
              <a:t>19.10.2022</a:t>
            </a:fld>
            <a:endParaRPr lang="nb-NO" dirty="0"/>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695" b="1">
                <a:solidFill>
                  <a:schemeClr val="tx1"/>
                </a:solidFill>
              </a:defRPr>
            </a:lvl1pPr>
          </a:lstStyle>
          <a:p>
            <a:endParaRPr lang="nb-NO" dirty="0"/>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695" b="1">
                <a:solidFill>
                  <a:schemeClr val="tx1"/>
                </a:solidFill>
              </a:defRPr>
            </a:lvl1pPr>
          </a:lstStyle>
          <a:p>
            <a:fld id="{D8865200-363A-4A27-BFE2-9D2920C8E885}" type="slidenum">
              <a:rPr lang="nb-NO" smtClean="0"/>
              <a:pPr/>
              <a:t>‹#›</a:t>
            </a:fld>
            <a:endParaRPr lang="nb-NO" dirty="0"/>
          </a:p>
        </p:txBody>
      </p:sp>
      <p:grpSp>
        <p:nvGrpSpPr>
          <p:cNvPr id="156" name="prosses2" hidden="1"/>
          <p:cNvGrpSpPr>
            <a:grpSpLocks noChangeAspect="1"/>
          </p:cNvGrpSpPr>
          <p:nvPr userDrawn="1"/>
        </p:nvGrpSpPr>
        <p:grpSpPr bwMode="auto">
          <a:xfrm>
            <a:off x="3326607" y="1307523"/>
            <a:ext cx="2492375" cy="2493531"/>
            <a:chOff x="1310" y="590"/>
            <a:chExt cx="3140" cy="3140"/>
          </a:xfrm>
        </p:grpSpPr>
        <p:sp>
          <p:nvSpPr>
            <p:cNvPr id="294" name="Freeform 63"/>
            <p:cNvSpPr>
              <a:spLocks/>
            </p:cNvSpPr>
            <p:nvPr userDrawn="1"/>
          </p:nvSpPr>
          <p:spPr bwMode="auto">
            <a:xfrm>
              <a:off x="1310" y="1402"/>
              <a:ext cx="436" cy="1544"/>
            </a:xfrm>
            <a:custGeom>
              <a:avLst/>
              <a:gdLst>
                <a:gd name="T0" fmla="*/ 160 w 184"/>
                <a:gd name="T1" fmla="*/ 68 h 652"/>
                <a:gd name="T2" fmla="*/ 184 w 184"/>
                <a:gd name="T3" fmla="*/ 82 h 652"/>
                <a:gd name="T4" fmla="*/ 162 w 184"/>
                <a:gd name="T5" fmla="*/ 0 h 652"/>
                <a:gd name="T6" fmla="*/ 78 w 184"/>
                <a:gd name="T7" fmla="*/ 22 h 652"/>
                <a:gd name="T8" fmla="*/ 101 w 184"/>
                <a:gd name="T9" fmla="*/ 35 h 652"/>
                <a:gd name="T10" fmla="*/ 127 w 184"/>
                <a:gd name="T11" fmla="*/ 652 h 652"/>
                <a:gd name="T12" fmla="*/ 144 w 184"/>
                <a:gd name="T13" fmla="*/ 613 h 652"/>
                <a:gd name="T14" fmla="*/ 144 w 184"/>
                <a:gd name="T15" fmla="*/ 613 h 652"/>
                <a:gd name="T16" fmla="*/ 184 w 184"/>
                <a:gd name="T17" fmla="*/ 614 h 652"/>
                <a:gd name="T18" fmla="*/ 160 w 184"/>
                <a:gd name="T19" fmla="*/ 68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2">
                  <a:moveTo>
                    <a:pt x="160" y="68"/>
                  </a:moveTo>
                  <a:cubicBezTo>
                    <a:pt x="184" y="82"/>
                    <a:pt x="184" y="82"/>
                    <a:pt x="184" y="82"/>
                  </a:cubicBezTo>
                  <a:cubicBezTo>
                    <a:pt x="162" y="0"/>
                    <a:pt x="162" y="0"/>
                    <a:pt x="162" y="0"/>
                  </a:cubicBezTo>
                  <a:cubicBezTo>
                    <a:pt x="78" y="22"/>
                    <a:pt x="78" y="22"/>
                    <a:pt x="78" y="22"/>
                  </a:cubicBezTo>
                  <a:cubicBezTo>
                    <a:pt x="101" y="35"/>
                    <a:pt x="101" y="35"/>
                    <a:pt x="101" y="35"/>
                  </a:cubicBezTo>
                  <a:cubicBezTo>
                    <a:pt x="0" y="234"/>
                    <a:pt x="14" y="469"/>
                    <a:pt x="127" y="652"/>
                  </a:cubicBezTo>
                  <a:cubicBezTo>
                    <a:pt x="144" y="613"/>
                    <a:pt x="144" y="613"/>
                    <a:pt x="144" y="613"/>
                  </a:cubicBezTo>
                  <a:cubicBezTo>
                    <a:pt x="144" y="613"/>
                    <a:pt x="144" y="613"/>
                    <a:pt x="144" y="613"/>
                  </a:cubicBezTo>
                  <a:cubicBezTo>
                    <a:pt x="184" y="614"/>
                    <a:pt x="184" y="614"/>
                    <a:pt x="184" y="614"/>
                  </a:cubicBezTo>
                  <a:cubicBezTo>
                    <a:pt x="85" y="452"/>
                    <a:pt x="72" y="245"/>
                    <a:pt x="160" y="68"/>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5" name="Freeform 64"/>
            <p:cNvSpPr>
              <a:spLocks/>
            </p:cNvSpPr>
            <p:nvPr userDrawn="1"/>
          </p:nvSpPr>
          <p:spPr bwMode="auto">
            <a:xfrm>
              <a:off x="3444" y="777"/>
              <a:ext cx="194" cy="249"/>
            </a:xfrm>
            <a:custGeom>
              <a:avLst/>
              <a:gdLst>
                <a:gd name="T0" fmla="*/ 0 w 194"/>
                <a:gd name="T1" fmla="*/ 249 h 249"/>
                <a:gd name="T2" fmla="*/ 194 w 194"/>
                <a:gd name="T3" fmla="*/ 197 h 249"/>
                <a:gd name="T4" fmla="*/ 142 w 194"/>
                <a:gd name="T5" fmla="*/ 0 h 249"/>
                <a:gd name="T6" fmla="*/ 0 w 194"/>
                <a:gd name="T7" fmla="*/ 249 h 249"/>
              </a:gdLst>
              <a:ahLst/>
              <a:cxnLst>
                <a:cxn ang="0">
                  <a:pos x="T0" y="T1"/>
                </a:cxn>
                <a:cxn ang="0">
                  <a:pos x="T2" y="T3"/>
                </a:cxn>
                <a:cxn ang="0">
                  <a:pos x="T4" y="T5"/>
                </a:cxn>
                <a:cxn ang="0">
                  <a:pos x="T6" y="T7"/>
                </a:cxn>
              </a:cxnLst>
              <a:rect l="0" t="0" r="r" b="b"/>
              <a:pathLst>
                <a:path w="194" h="249">
                  <a:moveTo>
                    <a:pt x="0" y="249"/>
                  </a:moveTo>
                  <a:lnTo>
                    <a:pt x="194" y="197"/>
                  </a:lnTo>
                  <a:lnTo>
                    <a:pt x="142" y="0"/>
                  </a:lnTo>
                  <a:lnTo>
                    <a:pt x="0" y="249"/>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6" name="Freeform 65"/>
            <p:cNvSpPr>
              <a:spLocks/>
            </p:cNvSpPr>
            <p:nvPr userDrawn="1"/>
          </p:nvSpPr>
          <p:spPr bwMode="auto">
            <a:xfrm>
              <a:off x="2094" y="590"/>
              <a:ext cx="1544" cy="436"/>
            </a:xfrm>
            <a:custGeom>
              <a:avLst/>
              <a:gdLst>
                <a:gd name="T0" fmla="*/ 652 w 652"/>
                <a:gd name="T1" fmla="*/ 162 h 184"/>
                <a:gd name="T2" fmla="*/ 630 w 652"/>
                <a:gd name="T3" fmla="*/ 79 h 184"/>
                <a:gd name="T4" fmla="*/ 617 w 652"/>
                <a:gd name="T5" fmla="*/ 101 h 184"/>
                <a:gd name="T6" fmla="*/ 0 w 652"/>
                <a:gd name="T7" fmla="*/ 128 h 184"/>
                <a:gd name="T8" fmla="*/ 39 w 652"/>
                <a:gd name="T9" fmla="*/ 144 h 184"/>
                <a:gd name="T10" fmla="*/ 39 w 652"/>
                <a:gd name="T11" fmla="*/ 144 h 184"/>
                <a:gd name="T12" fmla="*/ 38 w 652"/>
                <a:gd name="T13" fmla="*/ 184 h 184"/>
                <a:gd name="T14" fmla="*/ 584 w 652"/>
                <a:gd name="T15" fmla="*/ 161 h 184"/>
                <a:gd name="T16" fmla="*/ 570 w 652"/>
                <a:gd name="T17" fmla="*/ 184 h 184"/>
                <a:gd name="T18" fmla="*/ 652 w 652"/>
                <a:gd name="T19" fmla="*/ 16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184">
                  <a:moveTo>
                    <a:pt x="652" y="162"/>
                  </a:moveTo>
                  <a:cubicBezTo>
                    <a:pt x="630" y="79"/>
                    <a:pt x="630" y="79"/>
                    <a:pt x="630" y="79"/>
                  </a:cubicBezTo>
                  <a:cubicBezTo>
                    <a:pt x="617" y="101"/>
                    <a:pt x="617" y="101"/>
                    <a:pt x="617" y="101"/>
                  </a:cubicBezTo>
                  <a:cubicBezTo>
                    <a:pt x="418" y="0"/>
                    <a:pt x="183" y="14"/>
                    <a:pt x="0" y="128"/>
                  </a:cubicBezTo>
                  <a:cubicBezTo>
                    <a:pt x="39" y="144"/>
                    <a:pt x="39" y="144"/>
                    <a:pt x="39" y="144"/>
                  </a:cubicBezTo>
                  <a:cubicBezTo>
                    <a:pt x="39" y="144"/>
                    <a:pt x="39" y="144"/>
                    <a:pt x="39" y="144"/>
                  </a:cubicBezTo>
                  <a:cubicBezTo>
                    <a:pt x="38" y="184"/>
                    <a:pt x="38" y="184"/>
                    <a:pt x="38" y="184"/>
                  </a:cubicBezTo>
                  <a:cubicBezTo>
                    <a:pt x="200" y="85"/>
                    <a:pt x="407" y="72"/>
                    <a:pt x="584" y="161"/>
                  </a:cubicBezTo>
                  <a:cubicBezTo>
                    <a:pt x="570" y="184"/>
                    <a:pt x="570" y="184"/>
                    <a:pt x="570" y="184"/>
                  </a:cubicBezTo>
                  <a:lnTo>
                    <a:pt x="652" y="16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7" name="Freeform 66"/>
            <p:cNvSpPr>
              <a:spLocks/>
            </p:cNvSpPr>
            <p:nvPr userDrawn="1"/>
          </p:nvSpPr>
          <p:spPr bwMode="auto">
            <a:xfrm>
              <a:off x="4014" y="1374"/>
              <a:ext cx="436" cy="1546"/>
            </a:xfrm>
            <a:custGeom>
              <a:avLst/>
              <a:gdLst>
                <a:gd name="T0" fmla="*/ 57 w 184"/>
                <a:gd name="T1" fmla="*/ 0 h 653"/>
                <a:gd name="T2" fmla="*/ 40 w 184"/>
                <a:gd name="T3" fmla="*/ 39 h 653"/>
                <a:gd name="T4" fmla="*/ 40 w 184"/>
                <a:gd name="T5" fmla="*/ 39 h 653"/>
                <a:gd name="T6" fmla="*/ 0 w 184"/>
                <a:gd name="T7" fmla="*/ 38 h 653"/>
                <a:gd name="T8" fmla="*/ 23 w 184"/>
                <a:gd name="T9" fmla="*/ 584 h 653"/>
                <a:gd name="T10" fmla="*/ 0 w 184"/>
                <a:gd name="T11" fmla="*/ 571 h 653"/>
                <a:gd name="T12" fmla="*/ 22 w 184"/>
                <a:gd name="T13" fmla="*/ 653 h 653"/>
                <a:gd name="T14" fmla="*/ 105 w 184"/>
                <a:gd name="T15" fmla="*/ 630 h 653"/>
                <a:gd name="T16" fmla="*/ 83 w 184"/>
                <a:gd name="T17" fmla="*/ 618 h 653"/>
                <a:gd name="T18" fmla="*/ 57 w 184"/>
                <a:gd name="T19"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653">
                  <a:moveTo>
                    <a:pt x="57" y="0"/>
                  </a:moveTo>
                  <a:cubicBezTo>
                    <a:pt x="40" y="39"/>
                    <a:pt x="40" y="39"/>
                    <a:pt x="40" y="39"/>
                  </a:cubicBezTo>
                  <a:cubicBezTo>
                    <a:pt x="40" y="39"/>
                    <a:pt x="40" y="39"/>
                    <a:pt x="40" y="39"/>
                  </a:cubicBezTo>
                  <a:cubicBezTo>
                    <a:pt x="0" y="38"/>
                    <a:pt x="0" y="38"/>
                    <a:pt x="0" y="38"/>
                  </a:cubicBezTo>
                  <a:cubicBezTo>
                    <a:pt x="99" y="200"/>
                    <a:pt x="112" y="407"/>
                    <a:pt x="23" y="584"/>
                  </a:cubicBezTo>
                  <a:cubicBezTo>
                    <a:pt x="0" y="571"/>
                    <a:pt x="0" y="571"/>
                    <a:pt x="0" y="571"/>
                  </a:cubicBezTo>
                  <a:cubicBezTo>
                    <a:pt x="22" y="653"/>
                    <a:pt x="22" y="653"/>
                    <a:pt x="22" y="653"/>
                  </a:cubicBezTo>
                  <a:cubicBezTo>
                    <a:pt x="105" y="630"/>
                    <a:pt x="105" y="630"/>
                    <a:pt x="105" y="630"/>
                  </a:cubicBezTo>
                  <a:cubicBezTo>
                    <a:pt x="83" y="618"/>
                    <a:pt x="83" y="618"/>
                    <a:pt x="83" y="618"/>
                  </a:cubicBezTo>
                  <a:cubicBezTo>
                    <a:pt x="184" y="418"/>
                    <a:pt x="170" y="184"/>
                    <a:pt x="57" y="0"/>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8" name="Freeform 67"/>
            <p:cNvSpPr>
              <a:spLocks/>
            </p:cNvSpPr>
            <p:nvPr userDrawn="1"/>
          </p:nvSpPr>
          <p:spPr bwMode="auto">
            <a:xfrm>
              <a:off x="2120" y="3294"/>
              <a:ext cx="1546" cy="436"/>
            </a:xfrm>
            <a:custGeom>
              <a:avLst/>
              <a:gdLst>
                <a:gd name="T0" fmla="*/ 653 w 653"/>
                <a:gd name="T1" fmla="*/ 57 h 184"/>
                <a:gd name="T2" fmla="*/ 614 w 653"/>
                <a:gd name="T3" fmla="*/ 41 h 184"/>
                <a:gd name="T4" fmla="*/ 614 w 653"/>
                <a:gd name="T5" fmla="*/ 41 h 184"/>
                <a:gd name="T6" fmla="*/ 615 w 653"/>
                <a:gd name="T7" fmla="*/ 0 h 184"/>
                <a:gd name="T8" fmla="*/ 69 w 653"/>
                <a:gd name="T9" fmla="*/ 24 h 184"/>
                <a:gd name="T10" fmla="*/ 82 w 653"/>
                <a:gd name="T11" fmla="*/ 0 h 184"/>
                <a:gd name="T12" fmla="*/ 0 w 653"/>
                <a:gd name="T13" fmla="*/ 22 h 184"/>
                <a:gd name="T14" fmla="*/ 23 w 653"/>
                <a:gd name="T15" fmla="*/ 106 h 184"/>
                <a:gd name="T16" fmla="*/ 36 w 653"/>
                <a:gd name="T17" fmla="*/ 83 h 184"/>
                <a:gd name="T18" fmla="*/ 653 w 653"/>
                <a:gd name="T19" fmla="*/ 5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3" h="184">
                  <a:moveTo>
                    <a:pt x="653" y="57"/>
                  </a:moveTo>
                  <a:cubicBezTo>
                    <a:pt x="614" y="41"/>
                    <a:pt x="614" y="41"/>
                    <a:pt x="614" y="41"/>
                  </a:cubicBezTo>
                  <a:cubicBezTo>
                    <a:pt x="614" y="41"/>
                    <a:pt x="614" y="41"/>
                    <a:pt x="614" y="41"/>
                  </a:cubicBezTo>
                  <a:cubicBezTo>
                    <a:pt x="615" y="0"/>
                    <a:pt x="615" y="0"/>
                    <a:pt x="615" y="0"/>
                  </a:cubicBezTo>
                  <a:cubicBezTo>
                    <a:pt x="453" y="99"/>
                    <a:pt x="246" y="112"/>
                    <a:pt x="69" y="24"/>
                  </a:cubicBezTo>
                  <a:cubicBezTo>
                    <a:pt x="82" y="0"/>
                    <a:pt x="82" y="0"/>
                    <a:pt x="82" y="0"/>
                  </a:cubicBezTo>
                  <a:cubicBezTo>
                    <a:pt x="0" y="22"/>
                    <a:pt x="0" y="22"/>
                    <a:pt x="0" y="22"/>
                  </a:cubicBezTo>
                  <a:cubicBezTo>
                    <a:pt x="23" y="106"/>
                    <a:pt x="23" y="106"/>
                    <a:pt x="23" y="106"/>
                  </a:cubicBezTo>
                  <a:cubicBezTo>
                    <a:pt x="36" y="83"/>
                    <a:pt x="36" y="83"/>
                    <a:pt x="36" y="83"/>
                  </a:cubicBezTo>
                  <a:cubicBezTo>
                    <a:pt x="235" y="184"/>
                    <a:pt x="469" y="170"/>
                    <a:pt x="653" y="57"/>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9" name="Rectangle 68"/>
            <p:cNvSpPr>
              <a:spLocks noChangeArrowheads="1"/>
            </p:cNvSpPr>
            <p:nvPr userDrawn="1"/>
          </p:nvSpPr>
          <p:spPr bwMode="auto">
            <a:xfrm>
              <a:off x="1435" y="3052"/>
              <a:ext cx="905"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1</a:t>
              </a:r>
              <a:endParaRPr lang="en-US" altLang="en-US" sz="894" dirty="0">
                <a:latin typeface="Arial" panose="020B0604020202020204" pitchFamily="34" charset="0"/>
              </a:endParaRPr>
            </a:p>
          </p:txBody>
        </p:sp>
        <p:sp>
          <p:nvSpPr>
            <p:cNvPr id="300" name="Rectangle 69"/>
            <p:cNvSpPr>
              <a:spLocks noChangeArrowheads="1"/>
            </p:cNvSpPr>
            <p:nvPr userDrawn="1"/>
          </p:nvSpPr>
          <p:spPr bwMode="auto">
            <a:xfrm>
              <a:off x="1435" y="1118"/>
              <a:ext cx="905"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2</a:t>
              </a:r>
              <a:endParaRPr lang="en-US" altLang="en-US" sz="894" dirty="0">
                <a:latin typeface="Arial" panose="020B0604020202020204" pitchFamily="34" charset="0"/>
              </a:endParaRPr>
            </a:p>
          </p:txBody>
        </p:sp>
        <p:sp>
          <p:nvSpPr>
            <p:cNvPr id="301" name="Rectangle 70"/>
            <p:cNvSpPr>
              <a:spLocks noChangeArrowheads="1"/>
            </p:cNvSpPr>
            <p:nvPr userDrawn="1"/>
          </p:nvSpPr>
          <p:spPr bwMode="auto">
            <a:xfrm>
              <a:off x="3497" y="3052"/>
              <a:ext cx="904" cy="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4</a:t>
              </a:r>
              <a:endParaRPr lang="en-US" altLang="en-US" sz="894" dirty="0">
                <a:latin typeface="Arial" panose="020B0604020202020204" pitchFamily="34" charset="0"/>
              </a:endParaRPr>
            </a:p>
          </p:txBody>
        </p:sp>
        <p:sp>
          <p:nvSpPr>
            <p:cNvPr id="302" name="Rectangle 71"/>
            <p:cNvSpPr>
              <a:spLocks noChangeArrowheads="1"/>
            </p:cNvSpPr>
            <p:nvPr userDrawn="1"/>
          </p:nvSpPr>
          <p:spPr bwMode="auto">
            <a:xfrm>
              <a:off x="3497" y="1118"/>
              <a:ext cx="904" cy="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3</a:t>
              </a:r>
              <a:endParaRPr lang="en-US" altLang="en-US" sz="894" dirty="0">
                <a:latin typeface="Arial" panose="020B0604020202020204" pitchFamily="34" charset="0"/>
              </a:endParaRPr>
            </a:p>
          </p:txBody>
        </p:sp>
      </p:grpSp>
      <p:grpSp>
        <p:nvGrpSpPr>
          <p:cNvPr id="157" name="prosses3" hidden="1"/>
          <p:cNvGrpSpPr>
            <a:grpSpLocks noChangeAspect="1"/>
          </p:cNvGrpSpPr>
          <p:nvPr userDrawn="1"/>
        </p:nvGrpSpPr>
        <p:grpSpPr bwMode="auto">
          <a:xfrm>
            <a:off x="3176986" y="1194761"/>
            <a:ext cx="2791618" cy="2719054"/>
            <a:chOff x="1125" y="481"/>
            <a:chExt cx="3517" cy="3424"/>
          </a:xfrm>
        </p:grpSpPr>
        <p:sp>
          <p:nvSpPr>
            <p:cNvPr id="285" name="Rectangle 75"/>
            <p:cNvSpPr>
              <a:spLocks noChangeArrowheads="1"/>
            </p:cNvSpPr>
            <p:nvPr userDrawn="1"/>
          </p:nvSpPr>
          <p:spPr bwMode="auto">
            <a:xfrm>
              <a:off x="2420" y="48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2</a:t>
              </a:r>
              <a:endParaRPr lang="en-US" altLang="en-US" sz="894" dirty="0">
                <a:latin typeface="Arial" panose="020B0604020202020204" pitchFamily="34" charset="0"/>
              </a:endParaRPr>
            </a:p>
          </p:txBody>
        </p:sp>
        <p:sp>
          <p:nvSpPr>
            <p:cNvPr id="286" name="Rectangle 76"/>
            <p:cNvSpPr>
              <a:spLocks noChangeArrowheads="1"/>
            </p:cNvSpPr>
            <p:nvPr userDrawn="1"/>
          </p:nvSpPr>
          <p:spPr bwMode="auto">
            <a:xfrm>
              <a:off x="2420" y="632"/>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dirty="0">
                  <a:solidFill>
                    <a:srgbClr val="010101"/>
                  </a:solidFill>
                  <a:latin typeface="Arial" panose="020B0604020202020204" pitchFamily="34" charset="0"/>
                </a:rPr>
                <a:t>prosseshjulet om.</a:t>
              </a:r>
              <a:endParaRPr lang="en-US" altLang="en-US" sz="695" dirty="0">
                <a:latin typeface="Arial" panose="020B0604020202020204" pitchFamily="34" charset="0"/>
              </a:endParaRPr>
            </a:p>
          </p:txBody>
        </p:sp>
        <p:sp>
          <p:nvSpPr>
            <p:cNvPr id="287" name="Rectangle 78"/>
            <p:cNvSpPr>
              <a:spLocks noChangeArrowheads="1"/>
            </p:cNvSpPr>
            <p:nvPr userDrawn="1"/>
          </p:nvSpPr>
          <p:spPr bwMode="auto">
            <a:xfrm>
              <a:off x="1125"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1</a:t>
              </a:r>
              <a:endParaRPr lang="en-US" altLang="en-US" sz="894" dirty="0">
                <a:latin typeface="Arial" panose="020B0604020202020204" pitchFamily="34" charset="0"/>
              </a:endParaRPr>
            </a:p>
          </p:txBody>
        </p:sp>
        <p:sp>
          <p:nvSpPr>
            <p:cNvPr id="288" name="Rectangle 79"/>
            <p:cNvSpPr>
              <a:spLocks noChangeArrowheads="1"/>
            </p:cNvSpPr>
            <p:nvPr userDrawn="1"/>
          </p:nvSpPr>
          <p:spPr bwMode="auto">
            <a:xfrm>
              <a:off x="1125"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dirty="0">
                  <a:solidFill>
                    <a:srgbClr val="010101"/>
                  </a:solidFill>
                  <a:latin typeface="Arial" panose="020B0604020202020204" pitchFamily="34" charset="0"/>
                </a:rPr>
                <a:t>prosseshjulet om.</a:t>
              </a:r>
              <a:endParaRPr lang="en-US" altLang="en-US" sz="695" dirty="0">
                <a:latin typeface="Arial" panose="020B0604020202020204" pitchFamily="34" charset="0"/>
              </a:endParaRPr>
            </a:p>
          </p:txBody>
        </p:sp>
        <p:sp>
          <p:nvSpPr>
            <p:cNvPr id="289" name="Rectangle 81"/>
            <p:cNvSpPr>
              <a:spLocks noChangeArrowheads="1"/>
            </p:cNvSpPr>
            <p:nvPr userDrawn="1"/>
          </p:nvSpPr>
          <p:spPr bwMode="auto">
            <a:xfrm>
              <a:off x="3738" y="2778"/>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3</a:t>
              </a:r>
              <a:endParaRPr lang="en-US" altLang="en-US" sz="894" dirty="0">
                <a:latin typeface="Arial" panose="020B0604020202020204" pitchFamily="34" charset="0"/>
              </a:endParaRPr>
            </a:p>
          </p:txBody>
        </p:sp>
        <p:sp>
          <p:nvSpPr>
            <p:cNvPr id="290" name="Rectangle 82"/>
            <p:cNvSpPr>
              <a:spLocks noChangeArrowheads="1"/>
            </p:cNvSpPr>
            <p:nvPr userDrawn="1"/>
          </p:nvSpPr>
          <p:spPr bwMode="auto">
            <a:xfrm>
              <a:off x="3738" y="2930"/>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defRPr/>
              </a:pPr>
              <a:r>
                <a:rPr lang="en-US" altLang="en-US" sz="695" dirty="0">
                  <a:solidFill>
                    <a:srgbClr val="010101"/>
                  </a:solidFill>
                  <a:latin typeface="Arial" panose="020B0604020202020204" pitchFamily="34" charset="0"/>
                </a:rPr>
                <a:t>prosseshjulet om.</a:t>
              </a:r>
              <a:endParaRPr lang="en-US" altLang="en-US" sz="695" dirty="0">
                <a:latin typeface="Arial" panose="020B0604020202020204" pitchFamily="34" charset="0"/>
              </a:endParaRPr>
            </a:p>
          </p:txBody>
        </p:sp>
        <p:sp>
          <p:nvSpPr>
            <p:cNvPr id="291" name="Freeform 84"/>
            <p:cNvSpPr>
              <a:spLocks/>
            </p:cNvSpPr>
            <p:nvPr userDrawn="1"/>
          </p:nvSpPr>
          <p:spPr bwMode="auto">
            <a:xfrm>
              <a:off x="1343" y="946"/>
              <a:ext cx="996" cy="1536"/>
            </a:xfrm>
            <a:custGeom>
              <a:avLst/>
              <a:gdLst>
                <a:gd name="T0" fmla="*/ 421 w 421"/>
                <a:gd name="T1" fmla="*/ 32 h 649"/>
                <a:gd name="T2" fmla="*/ 341 w 421"/>
                <a:gd name="T3" fmla="*/ 0 h 649"/>
                <a:gd name="T4" fmla="*/ 351 w 421"/>
                <a:gd name="T5" fmla="*/ 24 h 649"/>
                <a:gd name="T6" fmla="*/ 3 w 421"/>
                <a:gd name="T7" fmla="*/ 534 h 649"/>
                <a:gd name="T8" fmla="*/ 3 w 421"/>
                <a:gd name="T9" fmla="*/ 534 h 649"/>
                <a:gd name="T10" fmla="*/ 4 w 421"/>
                <a:gd name="T11" fmla="*/ 649 h 649"/>
                <a:gd name="T12" fmla="*/ 35 w 421"/>
                <a:gd name="T13" fmla="*/ 621 h 649"/>
                <a:gd name="T14" fmla="*/ 35 w 421"/>
                <a:gd name="T15" fmla="*/ 621 h 649"/>
                <a:gd name="T16" fmla="*/ 35 w 421"/>
                <a:gd name="T17" fmla="*/ 621 h 649"/>
                <a:gd name="T18" fmla="*/ 71 w 421"/>
                <a:gd name="T19" fmla="*/ 640 h 649"/>
                <a:gd name="T20" fmla="*/ 87 w 421"/>
                <a:gd name="T21" fmla="*/ 449 h 649"/>
                <a:gd name="T22" fmla="*/ 86 w 421"/>
                <a:gd name="T23" fmla="*/ 449 h 649"/>
                <a:gd name="T24" fmla="*/ 379 w 421"/>
                <a:gd name="T25" fmla="*/ 86 h 649"/>
                <a:gd name="T26" fmla="*/ 390 w 421"/>
                <a:gd name="T27" fmla="*/ 111 h 649"/>
                <a:gd name="T28" fmla="*/ 421 w 421"/>
                <a:gd name="T29" fmla="*/ 32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1" h="649">
                  <a:moveTo>
                    <a:pt x="421" y="32"/>
                  </a:moveTo>
                  <a:cubicBezTo>
                    <a:pt x="341" y="0"/>
                    <a:pt x="341" y="0"/>
                    <a:pt x="341" y="0"/>
                  </a:cubicBezTo>
                  <a:cubicBezTo>
                    <a:pt x="351" y="24"/>
                    <a:pt x="351" y="24"/>
                    <a:pt x="351" y="24"/>
                  </a:cubicBezTo>
                  <a:cubicBezTo>
                    <a:pt x="151" y="123"/>
                    <a:pt x="22" y="320"/>
                    <a:pt x="3" y="534"/>
                  </a:cubicBezTo>
                  <a:cubicBezTo>
                    <a:pt x="3" y="534"/>
                    <a:pt x="3" y="534"/>
                    <a:pt x="3" y="534"/>
                  </a:cubicBezTo>
                  <a:cubicBezTo>
                    <a:pt x="0" y="572"/>
                    <a:pt x="0" y="610"/>
                    <a:pt x="4" y="649"/>
                  </a:cubicBezTo>
                  <a:cubicBezTo>
                    <a:pt x="35" y="621"/>
                    <a:pt x="35" y="621"/>
                    <a:pt x="35" y="621"/>
                  </a:cubicBezTo>
                  <a:cubicBezTo>
                    <a:pt x="35" y="621"/>
                    <a:pt x="35" y="621"/>
                    <a:pt x="35" y="621"/>
                  </a:cubicBezTo>
                  <a:cubicBezTo>
                    <a:pt x="35" y="621"/>
                    <a:pt x="35" y="621"/>
                    <a:pt x="35" y="621"/>
                  </a:cubicBezTo>
                  <a:cubicBezTo>
                    <a:pt x="71" y="640"/>
                    <a:pt x="71" y="640"/>
                    <a:pt x="71" y="640"/>
                  </a:cubicBezTo>
                  <a:cubicBezTo>
                    <a:pt x="65" y="576"/>
                    <a:pt x="71" y="511"/>
                    <a:pt x="87" y="449"/>
                  </a:cubicBezTo>
                  <a:cubicBezTo>
                    <a:pt x="86" y="449"/>
                    <a:pt x="86" y="449"/>
                    <a:pt x="86" y="449"/>
                  </a:cubicBezTo>
                  <a:cubicBezTo>
                    <a:pt x="126" y="296"/>
                    <a:pt x="230" y="161"/>
                    <a:pt x="379" y="86"/>
                  </a:cubicBezTo>
                  <a:cubicBezTo>
                    <a:pt x="390" y="111"/>
                    <a:pt x="390" y="111"/>
                    <a:pt x="390" y="111"/>
                  </a:cubicBezTo>
                  <a:lnTo>
                    <a:pt x="421" y="32"/>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2" name="Freeform 85"/>
            <p:cNvSpPr>
              <a:spLocks/>
            </p:cNvSpPr>
            <p:nvPr userDrawn="1"/>
          </p:nvSpPr>
          <p:spPr bwMode="auto">
            <a:xfrm>
              <a:off x="1954" y="3408"/>
              <a:ext cx="1760" cy="497"/>
            </a:xfrm>
            <a:custGeom>
              <a:avLst/>
              <a:gdLst>
                <a:gd name="T0" fmla="*/ 0 w 744"/>
                <a:gd name="T1" fmla="*/ 13 h 210"/>
                <a:gd name="T2" fmla="*/ 14 w 744"/>
                <a:gd name="T3" fmla="*/ 98 h 210"/>
                <a:gd name="T4" fmla="*/ 29 w 744"/>
                <a:gd name="T5" fmla="*/ 77 h 210"/>
                <a:gd name="T6" fmla="*/ 645 w 744"/>
                <a:gd name="T7" fmla="*/ 117 h 210"/>
                <a:gd name="T8" fmla="*/ 645 w 744"/>
                <a:gd name="T9" fmla="*/ 117 h 210"/>
                <a:gd name="T10" fmla="*/ 744 w 744"/>
                <a:gd name="T11" fmla="*/ 58 h 210"/>
                <a:gd name="T12" fmla="*/ 704 w 744"/>
                <a:gd name="T13" fmla="*/ 45 h 210"/>
                <a:gd name="T14" fmla="*/ 704 w 744"/>
                <a:gd name="T15" fmla="*/ 45 h 210"/>
                <a:gd name="T16" fmla="*/ 704 w 744"/>
                <a:gd name="T17" fmla="*/ 45 h 210"/>
                <a:gd name="T18" fmla="*/ 702 w 744"/>
                <a:gd name="T19" fmla="*/ 4 h 210"/>
                <a:gd name="T20" fmla="*/ 530 w 744"/>
                <a:gd name="T21" fmla="*/ 88 h 210"/>
                <a:gd name="T22" fmla="*/ 530 w 744"/>
                <a:gd name="T23" fmla="*/ 88 h 210"/>
                <a:gd name="T24" fmla="*/ 69 w 744"/>
                <a:gd name="T25" fmla="*/ 21 h 210"/>
                <a:gd name="T26" fmla="*/ 84 w 744"/>
                <a:gd name="T27" fmla="*/ 0 h 210"/>
                <a:gd name="T28" fmla="*/ 0 w 744"/>
                <a:gd name="T29" fmla="*/ 1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4" h="210">
                  <a:moveTo>
                    <a:pt x="0" y="13"/>
                  </a:moveTo>
                  <a:cubicBezTo>
                    <a:pt x="14" y="98"/>
                    <a:pt x="14" y="98"/>
                    <a:pt x="14" y="98"/>
                  </a:cubicBezTo>
                  <a:cubicBezTo>
                    <a:pt x="29" y="77"/>
                    <a:pt x="29" y="77"/>
                    <a:pt x="29" y="77"/>
                  </a:cubicBezTo>
                  <a:cubicBezTo>
                    <a:pt x="216" y="199"/>
                    <a:pt x="451" y="210"/>
                    <a:pt x="645" y="117"/>
                  </a:cubicBezTo>
                  <a:cubicBezTo>
                    <a:pt x="645" y="117"/>
                    <a:pt x="645" y="117"/>
                    <a:pt x="645" y="117"/>
                  </a:cubicBezTo>
                  <a:cubicBezTo>
                    <a:pt x="679" y="100"/>
                    <a:pt x="713" y="81"/>
                    <a:pt x="744" y="58"/>
                  </a:cubicBezTo>
                  <a:cubicBezTo>
                    <a:pt x="704" y="45"/>
                    <a:pt x="704" y="45"/>
                    <a:pt x="704" y="45"/>
                  </a:cubicBezTo>
                  <a:cubicBezTo>
                    <a:pt x="704" y="45"/>
                    <a:pt x="704" y="45"/>
                    <a:pt x="704" y="45"/>
                  </a:cubicBezTo>
                  <a:cubicBezTo>
                    <a:pt x="704" y="45"/>
                    <a:pt x="704" y="45"/>
                    <a:pt x="704" y="45"/>
                  </a:cubicBezTo>
                  <a:cubicBezTo>
                    <a:pt x="702" y="4"/>
                    <a:pt x="702" y="4"/>
                    <a:pt x="702" y="4"/>
                  </a:cubicBezTo>
                  <a:cubicBezTo>
                    <a:pt x="649" y="42"/>
                    <a:pt x="591" y="70"/>
                    <a:pt x="530" y="88"/>
                  </a:cubicBezTo>
                  <a:cubicBezTo>
                    <a:pt x="530" y="88"/>
                    <a:pt x="530" y="88"/>
                    <a:pt x="530" y="88"/>
                  </a:cubicBezTo>
                  <a:cubicBezTo>
                    <a:pt x="377" y="132"/>
                    <a:pt x="208" y="112"/>
                    <a:pt x="69" y="21"/>
                  </a:cubicBezTo>
                  <a:cubicBezTo>
                    <a:pt x="84" y="0"/>
                    <a:pt x="84" y="0"/>
                    <a:pt x="84" y="0"/>
                  </a:cubicBezTo>
                  <a:lnTo>
                    <a:pt x="0" y="13"/>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93" name="Freeform 86"/>
            <p:cNvSpPr>
              <a:spLocks/>
            </p:cNvSpPr>
            <p:nvPr userDrawn="1"/>
          </p:nvSpPr>
          <p:spPr bwMode="auto">
            <a:xfrm>
              <a:off x="3388" y="981"/>
              <a:ext cx="998" cy="1584"/>
            </a:xfrm>
            <a:custGeom>
              <a:avLst/>
              <a:gdLst>
                <a:gd name="T0" fmla="*/ 354 w 422"/>
                <a:gd name="T1" fmla="*/ 669 h 669"/>
                <a:gd name="T2" fmla="*/ 422 w 422"/>
                <a:gd name="T3" fmla="*/ 615 h 669"/>
                <a:gd name="T4" fmla="*/ 396 w 422"/>
                <a:gd name="T5" fmla="*/ 612 h 669"/>
                <a:gd name="T6" fmla="*/ 126 w 422"/>
                <a:gd name="T7" fmla="*/ 56 h 669"/>
                <a:gd name="T8" fmla="*/ 126 w 422"/>
                <a:gd name="T9" fmla="*/ 57 h 669"/>
                <a:gd name="T10" fmla="*/ 26 w 422"/>
                <a:gd name="T11" fmla="*/ 0 h 669"/>
                <a:gd name="T12" fmla="*/ 34 w 422"/>
                <a:gd name="T13" fmla="*/ 41 h 669"/>
                <a:gd name="T14" fmla="*/ 34 w 422"/>
                <a:gd name="T15" fmla="*/ 41 h 669"/>
                <a:gd name="T16" fmla="*/ 34 w 422"/>
                <a:gd name="T17" fmla="*/ 41 h 669"/>
                <a:gd name="T18" fmla="*/ 0 w 422"/>
                <a:gd name="T19" fmla="*/ 63 h 669"/>
                <a:gd name="T20" fmla="*/ 158 w 422"/>
                <a:gd name="T21" fmla="*/ 171 h 669"/>
                <a:gd name="T22" fmla="*/ 158 w 422"/>
                <a:gd name="T23" fmla="*/ 171 h 669"/>
                <a:gd name="T24" fmla="*/ 328 w 422"/>
                <a:gd name="T25" fmla="*/ 605 h 669"/>
                <a:gd name="T26" fmla="*/ 301 w 422"/>
                <a:gd name="T27" fmla="*/ 602 h 669"/>
                <a:gd name="T28" fmla="*/ 354 w 422"/>
                <a:gd name="T2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669">
                  <a:moveTo>
                    <a:pt x="354" y="669"/>
                  </a:moveTo>
                  <a:cubicBezTo>
                    <a:pt x="422" y="615"/>
                    <a:pt x="422" y="615"/>
                    <a:pt x="422" y="615"/>
                  </a:cubicBezTo>
                  <a:cubicBezTo>
                    <a:pt x="396" y="612"/>
                    <a:pt x="396" y="612"/>
                    <a:pt x="396" y="612"/>
                  </a:cubicBezTo>
                  <a:cubicBezTo>
                    <a:pt x="409" y="389"/>
                    <a:pt x="303" y="179"/>
                    <a:pt x="126" y="56"/>
                  </a:cubicBezTo>
                  <a:cubicBezTo>
                    <a:pt x="126" y="57"/>
                    <a:pt x="126" y="57"/>
                    <a:pt x="126" y="57"/>
                  </a:cubicBezTo>
                  <a:cubicBezTo>
                    <a:pt x="95" y="35"/>
                    <a:pt x="61" y="16"/>
                    <a:pt x="26" y="0"/>
                  </a:cubicBezTo>
                  <a:cubicBezTo>
                    <a:pt x="34" y="41"/>
                    <a:pt x="34" y="41"/>
                    <a:pt x="34" y="41"/>
                  </a:cubicBezTo>
                  <a:cubicBezTo>
                    <a:pt x="34" y="41"/>
                    <a:pt x="34" y="41"/>
                    <a:pt x="34" y="41"/>
                  </a:cubicBezTo>
                  <a:cubicBezTo>
                    <a:pt x="34" y="41"/>
                    <a:pt x="34" y="41"/>
                    <a:pt x="34" y="41"/>
                  </a:cubicBezTo>
                  <a:cubicBezTo>
                    <a:pt x="0" y="63"/>
                    <a:pt x="0" y="63"/>
                    <a:pt x="0" y="63"/>
                  </a:cubicBezTo>
                  <a:cubicBezTo>
                    <a:pt x="59" y="90"/>
                    <a:pt x="113" y="126"/>
                    <a:pt x="158" y="171"/>
                  </a:cubicBezTo>
                  <a:cubicBezTo>
                    <a:pt x="158" y="171"/>
                    <a:pt x="158" y="171"/>
                    <a:pt x="158" y="171"/>
                  </a:cubicBezTo>
                  <a:cubicBezTo>
                    <a:pt x="272" y="282"/>
                    <a:pt x="337" y="439"/>
                    <a:pt x="328" y="605"/>
                  </a:cubicBezTo>
                  <a:cubicBezTo>
                    <a:pt x="301" y="602"/>
                    <a:pt x="301" y="602"/>
                    <a:pt x="301" y="602"/>
                  </a:cubicBezTo>
                  <a:lnTo>
                    <a:pt x="354" y="669"/>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58" name="prosses5" hidden="1"/>
          <p:cNvGrpSpPr>
            <a:grpSpLocks noChangeAspect="1"/>
          </p:cNvGrpSpPr>
          <p:nvPr userDrawn="1"/>
        </p:nvGrpSpPr>
        <p:grpSpPr bwMode="auto">
          <a:xfrm>
            <a:off x="2987675" y="1254317"/>
            <a:ext cx="3170240" cy="2599940"/>
            <a:chOff x="885" y="514"/>
            <a:chExt cx="3994" cy="3274"/>
          </a:xfrm>
        </p:grpSpPr>
        <p:sp>
          <p:nvSpPr>
            <p:cNvPr id="273" name="Freeform 133"/>
            <p:cNvSpPr>
              <a:spLocks/>
            </p:cNvSpPr>
            <p:nvPr userDrawn="1"/>
          </p:nvSpPr>
          <p:spPr bwMode="auto">
            <a:xfrm>
              <a:off x="1299" y="2163"/>
              <a:ext cx="1420" cy="1466"/>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4" name="Freeform 134"/>
            <p:cNvSpPr>
              <a:spLocks/>
            </p:cNvSpPr>
            <p:nvPr userDrawn="1"/>
          </p:nvSpPr>
          <p:spPr bwMode="auto">
            <a:xfrm>
              <a:off x="1356" y="599"/>
              <a:ext cx="1465"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5" name="Freeform 135"/>
            <p:cNvSpPr>
              <a:spLocks/>
            </p:cNvSpPr>
            <p:nvPr userDrawn="1"/>
          </p:nvSpPr>
          <p:spPr bwMode="auto">
            <a:xfrm>
              <a:off x="2965" y="658"/>
              <a:ext cx="1420" cy="1463"/>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6" name="Freeform 136"/>
            <p:cNvSpPr>
              <a:spLocks/>
            </p:cNvSpPr>
            <p:nvPr userDrawn="1"/>
          </p:nvSpPr>
          <p:spPr bwMode="auto">
            <a:xfrm>
              <a:off x="2863" y="2265"/>
              <a:ext cx="1465" cy="1421"/>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77" name="Rectangle 137"/>
            <p:cNvSpPr>
              <a:spLocks noChangeArrowheads="1"/>
            </p:cNvSpPr>
            <p:nvPr userDrawn="1"/>
          </p:nvSpPr>
          <p:spPr bwMode="auto">
            <a:xfrm>
              <a:off x="88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1</a:t>
              </a:r>
              <a:endParaRPr lang="en-US" altLang="en-US" sz="894" dirty="0">
                <a:latin typeface="Arial" panose="020B0604020202020204" pitchFamily="34" charset="0"/>
              </a:endParaRPr>
            </a:p>
          </p:txBody>
        </p:sp>
        <p:sp>
          <p:nvSpPr>
            <p:cNvPr id="278" name="Rectangle 138"/>
            <p:cNvSpPr>
              <a:spLocks noChangeArrowheads="1"/>
            </p:cNvSpPr>
            <p:nvPr userDrawn="1"/>
          </p:nvSpPr>
          <p:spPr bwMode="auto">
            <a:xfrm>
              <a:off x="885" y="665"/>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sp>
          <p:nvSpPr>
            <p:cNvPr id="279" name="Rectangle 140"/>
            <p:cNvSpPr>
              <a:spLocks noChangeArrowheads="1"/>
            </p:cNvSpPr>
            <p:nvPr userDrawn="1"/>
          </p:nvSpPr>
          <p:spPr bwMode="auto">
            <a:xfrm>
              <a:off x="88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4</a:t>
              </a:r>
              <a:endParaRPr lang="en-US" altLang="en-US" sz="894" dirty="0">
                <a:latin typeface="Arial" panose="020B0604020202020204" pitchFamily="34" charset="0"/>
              </a:endParaRPr>
            </a:p>
          </p:txBody>
        </p:sp>
        <p:sp>
          <p:nvSpPr>
            <p:cNvPr id="280" name="Rectangle 141"/>
            <p:cNvSpPr>
              <a:spLocks noChangeArrowheads="1"/>
            </p:cNvSpPr>
            <p:nvPr userDrawn="1"/>
          </p:nvSpPr>
          <p:spPr bwMode="auto">
            <a:xfrm>
              <a:off x="88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sp>
          <p:nvSpPr>
            <p:cNvPr id="281" name="Rectangle 143"/>
            <p:cNvSpPr>
              <a:spLocks noChangeArrowheads="1"/>
            </p:cNvSpPr>
            <p:nvPr userDrawn="1"/>
          </p:nvSpPr>
          <p:spPr bwMode="auto">
            <a:xfrm>
              <a:off x="3975" y="51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2</a:t>
              </a:r>
              <a:endParaRPr lang="en-US" altLang="en-US" sz="894" dirty="0">
                <a:latin typeface="Arial" panose="020B0604020202020204" pitchFamily="34" charset="0"/>
              </a:endParaRPr>
            </a:p>
          </p:txBody>
        </p:sp>
        <p:sp>
          <p:nvSpPr>
            <p:cNvPr id="282" name="Rectangle 144"/>
            <p:cNvSpPr>
              <a:spLocks noChangeArrowheads="1"/>
            </p:cNvSpPr>
            <p:nvPr userDrawn="1"/>
          </p:nvSpPr>
          <p:spPr bwMode="auto">
            <a:xfrm>
              <a:off x="3975" y="665"/>
              <a:ext cx="890"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sp>
          <p:nvSpPr>
            <p:cNvPr id="283" name="Rectangle 146"/>
            <p:cNvSpPr>
              <a:spLocks noChangeArrowheads="1"/>
            </p:cNvSpPr>
            <p:nvPr userDrawn="1"/>
          </p:nvSpPr>
          <p:spPr bwMode="auto">
            <a:xfrm>
              <a:off x="3975" y="336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010101"/>
                  </a:solidFill>
                  <a:latin typeface="Arial" panose="020B0604020202020204" pitchFamily="34" charset="0"/>
                </a:rPr>
                <a:t>ARGUMENT 3</a:t>
              </a:r>
              <a:endParaRPr lang="en-US" altLang="en-US" sz="894" dirty="0">
                <a:latin typeface="Arial" panose="020B0604020202020204" pitchFamily="34" charset="0"/>
              </a:endParaRPr>
            </a:p>
          </p:txBody>
        </p:sp>
        <p:sp>
          <p:nvSpPr>
            <p:cNvPr id="284" name="Rectangle 147"/>
            <p:cNvSpPr>
              <a:spLocks noChangeArrowheads="1"/>
            </p:cNvSpPr>
            <p:nvPr userDrawn="1"/>
          </p:nvSpPr>
          <p:spPr bwMode="auto">
            <a:xfrm>
              <a:off x="3975" y="3517"/>
              <a:ext cx="897" cy="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Hva handler dette</a:t>
              </a:r>
            </a:p>
            <a:p>
              <a:pPr defTabSz="454011" eaLnBrk="0" fontAlgn="base" hangingPunct="0">
                <a:spcBef>
                  <a:spcPct val="0"/>
                </a:spcBef>
                <a:spcAft>
                  <a:spcPct val="0"/>
                </a:spcAft>
              </a:pPr>
              <a:r>
                <a:rPr lang="en-US" altLang="en-US" sz="695"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grpSp>
      <p:grpSp>
        <p:nvGrpSpPr>
          <p:cNvPr id="159" name="prosses6" hidden="1"/>
          <p:cNvGrpSpPr>
            <a:grpSpLocks noChangeAspect="1"/>
          </p:cNvGrpSpPr>
          <p:nvPr userDrawn="1"/>
        </p:nvGrpSpPr>
        <p:grpSpPr bwMode="auto">
          <a:xfrm>
            <a:off x="2974181" y="954935"/>
            <a:ext cx="3197226" cy="3198706"/>
            <a:chOff x="865" y="145"/>
            <a:chExt cx="4028" cy="4028"/>
          </a:xfrm>
        </p:grpSpPr>
        <p:sp>
          <p:nvSpPr>
            <p:cNvPr id="258" name="Freeform 152"/>
            <p:cNvSpPr>
              <a:spLocks/>
            </p:cNvSpPr>
            <p:nvPr userDrawn="1"/>
          </p:nvSpPr>
          <p:spPr bwMode="auto">
            <a:xfrm>
              <a:off x="1172" y="145"/>
              <a:ext cx="2218" cy="1649"/>
            </a:xfrm>
            <a:custGeom>
              <a:avLst/>
              <a:gdLst>
                <a:gd name="T0" fmla="*/ 280 w 937"/>
                <a:gd name="T1" fmla="*/ 450 h 697"/>
                <a:gd name="T2" fmla="*/ 417 w 937"/>
                <a:gd name="T3" fmla="*/ 697 h 697"/>
                <a:gd name="T4" fmla="*/ 480 w 937"/>
                <a:gd name="T5" fmla="*/ 610 h 697"/>
                <a:gd name="T6" fmla="*/ 721 w 937"/>
                <a:gd name="T7" fmla="*/ 510 h 697"/>
                <a:gd name="T8" fmla="*/ 737 w 937"/>
                <a:gd name="T9" fmla="*/ 511 h 697"/>
                <a:gd name="T10" fmla="*/ 937 w 937"/>
                <a:gd name="T11" fmla="*/ 296 h 697"/>
                <a:gd name="T12" fmla="*/ 937 w 937"/>
                <a:gd name="T13" fmla="*/ 295 h 697"/>
                <a:gd name="T14" fmla="*/ 899 w 937"/>
                <a:gd name="T15" fmla="*/ 19 h 697"/>
                <a:gd name="T16" fmla="*/ 721 w 937"/>
                <a:gd name="T17" fmla="*/ 0 h 697"/>
                <a:gd name="T18" fmla="*/ 119 w 937"/>
                <a:gd name="T19" fmla="*/ 249 h 697"/>
                <a:gd name="T20" fmla="*/ 0 w 937"/>
                <a:gd name="T21" fmla="*/ 397 h 697"/>
                <a:gd name="T22" fmla="*/ 279 w 937"/>
                <a:gd name="T23" fmla="*/ 448 h 697"/>
                <a:gd name="T24" fmla="*/ 280 w 937"/>
                <a:gd name="T25" fmla="*/ 450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7" h="697">
                  <a:moveTo>
                    <a:pt x="280" y="450"/>
                  </a:moveTo>
                  <a:cubicBezTo>
                    <a:pt x="417" y="697"/>
                    <a:pt x="417" y="697"/>
                    <a:pt x="417" y="697"/>
                  </a:cubicBezTo>
                  <a:cubicBezTo>
                    <a:pt x="433" y="665"/>
                    <a:pt x="454" y="636"/>
                    <a:pt x="480" y="610"/>
                  </a:cubicBezTo>
                  <a:cubicBezTo>
                    <a:pt x="544" y="546"/>
                    <a:pt x="630" y="510"/>
                    <a:pt x="721" y="510"/>
                  </a:cubicBezTo>
                  <a:cubicBezTo>
                    <a:pt x="726" y="510"/>
                    <a:pt x="732" y="510"/>
                    <a:pt x="737" y="511"/>
                  </a:cubicBezTo>
                  <a:cubicBezTo>
                    <a:pt x="937" y="296"/>
                    <a:pt x="937" y="296"/>
                    <a:pt x="937" y="296"/>
                  </a:cubicBezTo>
                  <a:cubicBezTo>
                    <a:pt x="937" y="295"/>
                    <a:pt x="937" y="295"/>
                    <a:pt x="937" y="295"/>
                  </a:cubicBezTo>
                  <a:cubicBezTo>
                    <a:pt x="899" y="19"/>
                    <a:pt x="899" y="19"/>
                    <a:pt x="899" y="19"/>
                  </a:cubicBezTo>
                  <a:cubicBezTo>
                    <a:pt x="841" y="6"/>
                    <a:pt x="781" y="0"/>
                    <a:pt x="721" y="0"/>
                  </a:cubicBezTo>
                  <a:cubicBezTo>
                    <a:pt x="493" y="0"/>
                    <a:pt x="280" y="88"/>
                    <a:pt x="119" y="249"/>
                  </a:cubicBezTo>
                  <a:cubicBezTo>
                    <a:pt x="74" y="295"/>
                    <a:pt x="34" y="344"/>
                    <a:pt x="0" y="397"/>
                  </a:cubicBezTo>
                  <a:cubicBezTo>
                    <a:pt x="279" y="448"/>
                    <a:pt x="279" y="448"/>
                    <a:pt x="279" y="448"/>
                  </a:cubicBezTo>
                  <a:lnTo>
                    <a:pt x="280" y="45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59" name="Freeform 153"/>
            <p:cNvSpPr>
              <a:spLocks/>
            </p:cNvSpPr>
            <p:nvPr userDrawn="1"/>
          </p:nvSpPr>
          <p:spPr bwMode="auto">
            <a:xfrm>
              <a:off x="865" y="1146"/>
              <a:ext cx="1446" cy="2307"/>
            </a:xfrm>
            <a:custGeom>
              <a:avLst/>
              <a:gdLst>
                <a:gd name="T0" fmla="*/ 334 w 611"/>
                <a:gd name="T1" fmla="*/ 725 h 975"/>
                <a:gd name="T2" fmla="*/ 611 w 611"/>
                <a:gd name="T3" fmla="*/ 670 h 975"/>
                <a:gd name="T4" fmla="*/ 610 w 611"/>
                <a:gd name="T5" fmla="*/ 669 h 975"/>
                <a:gd name="T6" fmla="*/ 510 w 611"/>
                <a:gd name="T7" fmla="*/ 428 h 975"/>
                <a:gd name="T8" fmla="*/ 532 w 611"/>
                <a:gd name="T9" fmla="*/ 306 h 975"/>
                <a:gd name="T10" fmla="*/ 391 w 611"/>
                <a:gd name="T11" fmla="*/ 50 h 975"/>
                <a:gd name="T12" fmla="*/ 390 w 611"/>
                <a:gd name="T13" fmla="*/ 50 h 975"/>
                <a:gd name="T14" fmla="*/ 115 w 611"/>
                <a:gd name="T15" fmla="*/ 0 h 975"/>
                <a:gd name="T16" fmla="*/ 0 w 611"/>
                <a:gd name="T17" fmla="*/ 428 h 975"/>
                <a:gd name="T18" fmla="*/ 198 w 611"/>
                <a:gd name="T19" fmla="*/ 975 h 975"/>
                <a:gd name="T20" fmla="*/ 331 w 611"/>
                <a:gd name="T21" fmla="*/ 725 h 975"/>
                <a:gd name="T22" fmla="*/ 334 w 611"/>
                <a:gd name="T23" fmla="*/ 725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1" h="975">
                  <a:moveTo>
                    <a:pt x="334" y="725"/>
                  </a:moveTo>
                  <a:cubicBezTo>
                    <a:pt x="611" y="670"/>
                    <a:pt x="611" y="670"/>
                    <a:pt x="611" y="670"/>
                  </a:cubicBezTo>
                  <a:cubicBezTo>
                    <a:pt x="611" y="670"/>
                    <a:pt x="610" y="670"/>
                    <a:pt x="610" y="669"/>
                  </a:cubicBezTo>
                  <a:cubicBezTo>
                    <a:pt x="545" y="605"/>
                    <a:pt x="510" y="519"/>
                    <a:pt x="510" y="428"/>
                  </a:cubicBezTo>
                  <a:cubicBezTo>
                    <a:pt x="510" y="386"/>
                    <a:pt x="518" y="345"/>
                    <a:pt x="532" y="306"/>
                  </a:cubicBezTo>
                  <a:cubicBezTo>
                    <a:pt x="391" y="50"/>
                    <a:pt x="391" y="50"/>
                    <a:pt x="391" y="50"/>
                  </a:cubicBezTo>
                  <a:cubicBezTo>
                    <a:pt x="390" y="50"/>
                    <a:pt x="390" y="50"/>
                    <a:pt x="390" y="50"/>
                  </a:cubicBezTo>
                  <a:cubicBezTo>
                    <a:pt x="115" y="0"/>
                    <a:pt x="115" y="0"/>
                    <a:pt x="115" y="0"/>
                  </a:cubicBezTo>
                  <a:cubicBezTo>
                    <a:pt x="40" y="129"/>
                    <a:pt x="0" y="275"/>
                    <a:pt x="0" y="428"/>
                  </a:cubicBezTo>
                  <a:cubicBezTo>
                    <a:pt x="0" y="630"/>
                    <a:pt x="70" y="822"/>
                    <a:pt x="198" y="975"/>
                  </a:cubicBezTo>
                  <a:cubicBezTo>
                    <a:pt x="331" y="725"/>
                    <a:pt x="331" y="725"/>
                    <a:pt x="331" y="725"/>
                  </a:cubicBezTo>
                  <a:lnTo>
                    <a:pt x="334" y="725"/>
                  </a:ln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0" name="Freeform 154"/>
            <p:cNvSpPr>
              <a:spLocks/>
            </p:cNvSpPr>
            <p:nvPr userDrawn="1"/>
          </p:nvSpPr>
          <p:spPr bwMode="auto">
            <a:xfrm>
              <a:off x="3002" y="204"/>
              <a:ext cx="1882" cy="2040"/>
            </a:xfrm>
            <a:custGeom>
              <a:avLst/>
              <a:gdLst>
                <a:gd name="T0" fmla="*/ 193 w 795"/>
                <a:gd name="T1" fmla="*/ 282 h 862"/>
                <a:gd name="T2" fmla="*/ 0 w 795"/>
                <a:gd name="T3" fmla="*/ 489 h 862"/>
                <a:gd name="T4" fmla="*/ 189 w 795"/>
                <a:gd name="T5" fmla="*/ 585 h 862"/>
                <a:gd name="T6" fmla="*/ 277 w 795"/>
                <a:gd name="T7" fmla="*/ 738 h 862"/>
                <a:gd name="T8" fmla="*/ 542 w 795"/>
                <a:gd name="T9" fmla="*/ 862 h 862"/>
                <a:gd name="T10" fmla="*/ 543 w 795"/>
                <a:gd name="T11" fmla="*/ 862 h 862"/>
                <a:gd name="T12" fmla="*/ 795 w 795"/>
                <a:gd name="T13" fmla="*/ 740 h 862"/>
                <a:gd name="T14" fmla="*/ 550 w 795"/>
                <a:gd name="T15" fmla="*/ 224 h 862"/>
                <a:gd name="T16" fmla="*/ 155 w 795"/>
                <a:gd name="T17" fmla="*/ 0 h 862"/>
                <a:gd name="T18" fmla="*/ 194 w 795"/>
                <a:gd name="T19" fmla="*/ 281 h 862"/>
                <a:gd name="T20" fmla="*/ 193 w 795"/>
                <a:gd name="T21" fmla="*/ 282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5" h="862">
                  <a:moveTo>
                    <a:pt x="193" y="282"/>
                  </a:moveTo>
                  <a:cubicBezTo>
                    <a:pt x="0" y="489"/>
                    <a:pt x="0" y="489"/>
                    <a:pt x="0" y="489"/>
                  </a:cubicBezTo>
                  <a:cubicBezTo>
                    <a:pt x="71" y="500"/>
                    <a:pt x="137" y="533"/>
                    <a:pt x="189" y="585"/>
                  </a:cubicBezTo>
                  <a:cubicBezTo>
                    <a:pt x="232" y="628"/>
                    <a:pt x="262" y="680"/>
                    <a:pt x="277" y="738"/>
                  </a:cubicBezTo>
                  <a:cubicBezTo>
                    <a:pt x="542" y="862"/>
                    <a:pt x="542" y="862"/>
                    <a:pt x="542" y="862"/>
                  </a:cubicBezTo>
                  <a:cubicBezTo>
                    <a:pt x="543" y="862"/>
                    <a:pt x="543" y="862"/>
                    <a:pt x="543" y="862"/>
                  </a:cubicBezTo>
                  <a:cubicBezTo>
                    <a:pt x="795" y="740"/>
                    <a:pt x="795" y="740"/>
                    <a:pt x="795" y="740"/>
                  </a:cubicBezTo>
                  <a:cubicBezTo>
                    <a:pt x="776" y="545"/>
                    <a:pt x="690" y="365"/>
                    <a:pt x="550" y="224"/>
                  </a:cubicBezTo>
                  <a:cubicBezTo>
                    <a:pt x="439" y="114"/>
                    <a:pt x="303" y="37"/>
                    <a:pt x="155" y="0"/>
                  </a:cubicBezTo>
                  <a:cubicBezTo>
                    <a:pt x="194" y="281"/>
                    <a:pt x="194" y="281"/>
                    <a:pt x="194" y="281"/>
                  </a:cubicBezTo>
                  <a:lnTo>
                    <a:pt x="193" y="282"/>
                  </a:ln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1" name="Freeform 155"/>
            <p:cNvSpPr>
              <a:spLocks/>
            </p:cNvSpPr>
            <p:nvPr userDrawn="1"/>
          </p:nvSpPr>
          <p:spPr bwMode="auto">
            <a:xfrm>
              <a:off x="3229" y="2029"/>
              <a:ext cx="1664" cy="1976"/>
            </a:xfrm>
            <a:custGeom>
              <a:avLst/>
              <a:gdLst>
                <a:gd name="T0" fmla="*/ 701 w 703"/>
                <a:gd name="T1" fmla="*/ 0 h 835"/>
                <a:gd name="T2" fmla="*/ 446 w 703"/>
                <a:gd name="T3" fmla="*/ 122 h 835"/>
                <a:gd name="T4" fmla="*/ 444 w 703"/>
                <a:gd name="T5" fmla="*/ 121 h 835"/>
                <a:gd name="T6" fmla="*/ 189 w 703"/>
                <a:gd name="T7" fmla="*/ 1 h 835"/>
                <a:gd name="T8" fmla="*/ 193 w 703"/>
                <a:gd name="T9" fmla="*/ 55 h 835"/>
                <a:gd name="T10" fmla="*/ 93 w 703"/>
                <a:gd name="T11" fmla="*/ 296 h 835"/>
                <a:gd name="T12" fmla="*/ 37 w 703"/>
                <a:gd name="T13" fmla="*/ 341 h 835"/>
                <a:gd name="T14" fmla="*/ 0 w 703"/>
                <a:gd name="T15" fmla="*/ 632 h 835"/>
                <a:gd name="T16" fmla="*/ 1 w 703"/>
                <a:gd name="T17" fmla="*/ 632 h 835"/>
                <a:gd name="T18" fmla="*/ 194 w 703"/>
                <a:gd name="T19" fmla="*/ 835 h 835"/>
                <a:gd name="T20" fmla="*/ 454 w 703"/>
                <a:gd name="T21" fmla="*/ 657 h 835"/>
                <a:gd name="T22" fmla="*/ 703 w 703"/>
                <a:gd name="T23" fmla="*/ 55 h 835"/>
                <a:gd name="T24" fmla="*/ 701 w 703"/>
                <a:gd name="T25" fmla="*/ 0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3" h="835">
                  <a:moveTo>
                    <a:pt x="701" y="0"/>
                  </a:moveTo>
                  <a:cubicBezTo>
                    <a:pt x="446" y="122"/>
                    <a:pt x="446" y="122"/>
                    <a:pt x="446" y="122"/>
                  </a:cubicBezTo>
                  <a:cubicBezTo>
                    <a:pt x="444" y="121"/>
                    <a:pt x="444" y="121"/>
                    <a:pt x="444" y="121"/>
                  </a:cubicBezTo>
                  <a:cubicBezTo>
                    <a:pt x="189" y="1"/>
                    <a:pt x="189" y="1"/>
                    <a:pt x="189" y="1"/>
                  </a:cubicBezTo>
                  <a:cubicBezTo>
                    <a:pt x="191" y="19"/>
                    <a:pt x="193" y="37"/>
                    <a:pt x="193" y="55"/>
                  </a:cubicBezTo>
                  <a:cubicBezTo>
                    <a:pt x="193" y="146"/>
                    <a:pt x="157" y="232"/>
                    <a:pt x="93" y="296"/>
                  </a:cubicBezTo>
                  <a:cubicBezTo>
                    <a:pt x="76" y="313"/>
                    <a:pt x="57" y="328"/>
                    <a:pt x="37" y="341"/>
                  </a:cubicBezTo>
                  <a:cubicBezTo>
                    <a:pt x="0" y="632"/>
                    <a:pt x="0" y="632"/>
                    <a:pt x="0" y="632"/>
                  </a:cubicBezTo>
                  <a:cubicBezTo>
                    <a:pt x="1" y="632"/>
                    <a:pt x="1" y="632"/>
                    <a:pt x="1" y="632"/>
                  </a:cubicBezTo>
                  <a:cubicBezTo>
                    <a:pt x="194" y="835"/>
                    <a:pt x="194" y="835"/>
                    <a:pt x="194" y="835"/>
                  </a:cubicBezTo>
                  <a:cubicBezTo>
                    <a:pt x="290" y="793"/>
                    <a:pt x="378" y="733"/>
                    <a:pt x="454" y="657"/>
                  </a:cubicBezTo>
                  <a:cubicBezTo>
                    <a:pt x="615" y="496"/>
                    <a:pt x="703" y="283"/>
                    <a:pt x="703" y="55"/>
                  </a:cubicBezTo>
                  <a:cubicBezTo>
                    <a:pt x="703" y="37"/>
                    <a:pt x="702" y="18"/>
                    <a:pt x="701"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2" name="Freeform 156"/>
            <p:cNvSpPr>
              <a:spLocks/>
            </p:cNvSpPr>
            <p:nvPr userDrawn="1"/>
          </p:nvSpPr>
          <p:spPr bwMode="auto">
            <a:xfrm>
              <a:off x="1381" y="2788"/>
              <a:ext cx="2241" cy="1385"/>
            </a:xfrm>
            <a:custGeom>
              <a:avLst/>
              <a:gdLst>
                <a:gd name="T0" fmla="*/ 752 w 947"/>
                <a:gd name="T1" fmla="*/ 318 h 585"/>
                <a:gd name="T2" fmla="*/ 787 w 947"/>
                <a:gd name="T3" fmla="*/ 38 h 585"/>
                <a:gd name="T4" fmla="*/ 633 w 947"/>
                <a:gd name="T5" fmla="*/ 75 h 585"/>
                <a:gd name="T6" fmla="*/ 420 w 947"/>
                <a:gd name="T7" fmla="*/ 0 h 585"/>
                <a:gd name="T8" fmla="*/ 132 w 947"/>
                <a:gd name="T9" fmla="*/ 56 h 585"/>
                <a:gd name="T10" fmla="*/ 132 w 947"/>
                <a:gd name="T11" fmla="*/ 57 h 585"/>
                <a:gd name="T12" fmla="*/ 0 w 947"/>
                <a:gd name="T13" fmla="*/ 304 h 585"/>
                <a:gd name="T14" fmla="*/ 31 w 947"/>
                <a:gd name="T15" fmla="*/ 336 h 585"/>
                <a:gd name="T16" fmla="*/ 633 w 947"/>
                <a:gd name="T17" fmla="*/ 585 h 585"/>
                <a:gd name="T18" fmla="*/ 947 w 947"/>
                <a:gd name="T19" fmla="*/ 526 h 585"/>
                <a:gd name="T20" fmla="*/ 751 w 947"/>
                <a:gd name="T21" fmla="*/ 321 h 585"/>
                <a:gd name="T22" fmla="*/ 752 w 947"/>
                <a:gd name="T23" fmla="*/ 318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7" h="585">
                  <a:moveTo>
                    <a:pt x="752" y="318"/>
                  </a:moveTo>
                  <a:cubicBezTo>
                    <a:pt x="787" y="38"/>
                    <a:pt x="787" y="38"/>
                    <a:pt x="787" y="38"/>
                  </a:cubicBezTo>
                  <a:cubicBezTo>
                    <a:pt x="740" y="62"/>
                    <a:pt x="688" y="75"/>
                    <a:pt x="633" y="75"/>
                  </a:cubicBezTo>
                  <a:cubicBezTo>
                    <a:pt x="554" y="75"/>
                    <a:pt x="480" y="49"/>
                    <a:pt x="420" y="0"/>
                  </a:cubicBezTo>
                  <a:cubicBezTo>
                    <a:pt x="132" y="56"/>
                    <a:pt x="132" y="56"/>
                    <a:pt x="132" y="56"/>
                  </a:cubicBezTo>
                  <a:cubicBezTo>
                    <a:pt x="132" y="57"/>
                    <a:pt x="132" y="57"/>
                    <a:pt x="132" y="57"/>
                  </a:cubicBezTo>
                  <a:cubicBezTo>
                    <a:pt x="0" y="304"/>
                    <a:pt x="0" y="304"/>
                    <a:pt x="0" y="304"/>
                  </a:cubicBezTo>
                  <a:cubicBezTo>
                    <a:pt x="10" y="315"/>
                    <a:pt x="20" y="325"/>
                    <a:pt x="31" y="336"/>
                  </a:cubicBezTo>
                  <a:cubicBezTo>
                    <a:pt x="192" y="497"/>
                    <a:pt x="405" y="585"/>
                    <a:pt x="633" y="585"/>
                  </a:cubicBezTo>
                  <a:cubicBezTo>
                    <a:pt x="742" y="585"/>
                    <a:pt x="848" y="565"/>
                    <a:pt x="947" y="526"/>
                  </a:cubicBezTo>
                  <a:cubicBezTo>
                    <a:pt x="751" y="321"/>
                    <a:pt x="751" y="321"/>
                    <a:pt x="751" y="321"/>
                  </a:cubicBezTo>
                  <a:lnTo>
                    <a:pt x="752" y="318"/>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63" name="Rectangle 157"/>
            <p:cNvSpPr>
              <a:spLocks noChangeArrowheads="1"/>
            </p:cNvSpPr>
            <p:nvPr userDrawn="1"/>
          </p:nvSpPr>
          <p:spPr bwMode="auto">
            <a:xfrm>
              <a:off x="2010" y="68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1</a:t>
              </a:r>
              <a:endParaRPr lang="en-US" altLang="en-US" sz="894" dirty="0">
                <a:latin typeface="Arial" panose="020B0604020202020204" pitchFamily="34" charset="0"/>
              </a:endParaRPr>
            </a:p>
          </p:txBody>
        </p:sp>
        <p:sp>
          <p:nvSpPr>
            <p:cNvPr id="264" name="Rectangle 158"/>
            <p:cNvSpPr>
              <a:spLocks noChangeArrowheads="1"/>
            </p:cNvSpPr>
            <p:nvPr userDrawn="1"/>
          </p:nvSpPr>
          <p:spPr bwMode="auto">
            <a:xfrm>
              <a:off x="2010" y="835"/>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65" name="Rectangle 159"/>
            <p:cNvSpPr>
              <a:spLocks noChangeArrowheads="1"/>
            </p:cNvSpPr>
            <p:nvPr userDrawn="1"/>
          </p:nvSpPr>
          <p:spPr bwMode="auto">
            <a:xfrm>
              <a:off x="3591" y="1260"/>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2</a:t>
              </a:r>
              <a:endParaRPr lang="en-US" altLang="en-US" sz="894" dirty="0">
                <a:latin typeface="Arial" panose="020B0604020202020204" pitchFamily="34" charset="0"/>
              </a:endParaRPr>
            </a:p>
          </p:txBody>
        </p:sp>
        <p:sp>
          <p:nvSpPr>
            <p:cNvPr id="266" name="Rectangle 160"/>
            <p:cNvSpPr>
              <a:spLocks noChangeArrowheads="1"/>
            </p:cNvSpPr>
            <p:nvPr userDrawn="1"/>
          </p:nvSpPr>
          <p:spPr bwMode="auto">
            <a:xfrm>
              <a:off x="3591" y="141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67" name="Rectangle 161"/>
            <p:cNvSpPr>
              <a:spLocks noChangeArrowheads="1"/>
            </p:cNvSpPr>
            <p:nvPr userDrawn="1"/>
          </p:nvSpPr>
          <p:spPr bwMode="auto">
            <a:xfrm>
              <a:off x="3591" y="2871"/>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3</a:t>
              </a:r>
              <a:endParaRPr lang="en-US" altLang="en-US" sz="894" dirty="0">
                <a:latin typeface="Arial" panose="020B0604020202020204" pitchFamily="34" charset="0"/>
              </a:endParaRPr>
            </a:p>
          </p:txBody>
        </p:sp>
        <p:sp>
          <p:nvSpPr>
            <p:cNvPr id="268" name="Rectangle 162"/>
            <p:cNvSpPr>
              <a:spLocks noChangeArrowheads="1"/>
            </p:cNvSpPr>
            <p:nvPr userDrawn="1"/>
          </p:nvSpPr>
          <p:spPr bwMode="auto">
            <a:xfrm>
              <a:off x="3591" y="3022"/>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69" name="Rectangle 163"/>
            <p:cNvSpPr>
              <a:spLocks noChangeArrowheads="1"/>
            </p:cNvSpPr>
            <p:nvPr userDrawn="1"/>
          </p:nvSpPr>
          <p:spPr bwMode="auto">
            <a:xfrm>
              <a:off x="2010" y="3286"/>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4</a:t>
              </a:r>
              <a:endParaRPr lang="en-US" altLang="en-US" sz="894" dirty="0">
                <a:latin typeface="Arial" panose="020B0604020202020204" pitchFamily="34" charset="0"/>
              </a:endParaRPr>
            </a:p>
          </p:txBody>
        </p:sp>
        <p:sp>
          <p:nvSpPr>
            <p:cNvPr id="270" name="Rectangle 164"/>
            <p:cNvSpPr>
              <a:spLocks noChangeArrowheads="1"/>
            </p:cNvSpPr>
            <p:nvPr userDrawn="1"/>
          </p:nvSpPr>
          <p:spPr bwMode="auto">
            <a:xfrm>
              <a:off x="2010" y="3438"/>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sp>
          <p:nvSpPr>
            <p:cNvPr id="271" name="Rectangle 165"/>
            <p:cNvSpPr>
              <a:spLocks noChangeArrowheads="1"/>
            </p:cNvSpPr>
            <p:nvPr userDrawn="1"/>
          </p:nvSpPr>
          <p:spPr bwMode="auto">
            <a:xfrm>
              <a:off x="1054" y="2064"/>
              <a:ext cx="90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794" b="1" dirty="0">
                  <a:solidFill>
                    <a:srgbClr val="FFFFFF"/>
                  </a:solidFill>
                  <a:latin typeface="Arial" panose="020B0604020202020204" pitchFamily="34" charset="0"/>
                </a:rPr>
                <a:t>ARGUMENT 5</a:t>
              </a:r>
              <a:endParaRPr lang="en-US" altLang="en-US" sz="894" dirty="0">
                <a:latin typeface="Arial" panose="020B0604020202020204" pitchFamily="34" charset="0"/>
              </a:endParaRPr>
            </a:p>
          </p:txBody>
        </p:sp>
        <p:sp>
          <p:nvSpPr>
            <p:cNvPr id="272" name="Rectangle 166"/>
            <p:cNvSpPr>
              <a:spLocks noChangeArrowheads="1"/>
            </p:cNvSpPr>
            <p:nvPr userDrawn="1"/>
          </p:nvSpPr>
          <p:spPr bwMode="auto">
            <a:xfrm>
              <a:off x="1054" y="2216"/>
              <a:ext cx="592"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695" dirty="0">
                  <a:solidFill>
                    <a:srgbClr val="FFFFFF"/>
                  </a:solidFill>
                  <a:latin typeface="Arial" panose="020B0604020202020204" pitchFamily="34" charset="0"/>
                </a:rPr>
                <a:t>1 123 456</a:t>
              </a:r>
              <a:endParaRPr lang="en-US" altLang="en-US" sz="894" dirty="0">
                <a:latin typeface="Arial" panose="020B0604020202020204" pitchFamily="34" charset="0"/>
              </a:endParaRPr>
            </a:p>
          </p:txBody>
        </p:sp>
      </p:grpSp>
      <p:grpSp>
        <p:nvGrpSpPr>
          <p:cNvPr id="161" name="hus" hidden="1"/>
          <p:cNvGrpSpPr>
            <a:grpSpLocks noChangeAspect="1"/>
          </p:cNvGrpSpPr>
          <p:nvPr userDrawn="1"/>
        </p:nvGrpSpPr>
        <p:grpSpPr bwMode="auto">
          <a:xfrm>
            <a:off x="3996532" y="1927729"/>
            <a:ext cx="1152526" cy="1253118"/>
            <a:chOff x="2154" y="1370"/>
            <a:chExt cx="1452" cy="1578"/>
          </a:xfrm>
        </p:grpSpPr>
        <p:sp>
          <p:nvSpPr>
            <p:cNvPr id="219" name="Freeform 189"/>
            <p:cNvSpPr>
              <a:spLocks noEditPoints="1"/>
            </p:cNvSpPr>
            <p:nvPr userDrawn="1"/>
          </p:nvSpPr>
          <p:spPr bwMode="auto">
            <a:xfrm>
              <a:off x="2154" y="1742"/>
              <a:ext cx="954" cy="1151"/>
            </a:xfrm>
            <a:custGeom>
              <a:avLst/>
              <a:gdLst>
                <a:gd name="T0" fmla="*/ 286 w 402"/>
                <a:gd name="T1" fmla="*/ 47 h 485"/>
                <a:gd name="T2" fmla="*/ 354 w 402"/>
                <a:gd name="T3" fmla="*/ 54 h 485"/>
                <a:gd name="T4" fmla="*/ 348 w 402"/>
                <a:gd name="T5" fmla="*/ 136 h 485"/>
                <a:gd name="T6" fmla="*/ 280 w 402"/>
                <a:gd name="T7" fmla="*/ 130 h 485"/>
                <a:gd name="T8" fmla="*/ 280 w 402"/>
                <a:gd name="T9" fmla="*/ 187 h 485"/>
                <a:gd name="T10" fmla="*/ 348 w 402"/>
                <a:gd name="T11" fmla="*/ 181 h 485"/>
                <a:gd name="T12" fmla="*/ 354 w 402"/>
                <a:gd name="T13" fmla="*/ 263 h 485"/>
                <a:gd name="T14" fmla="*/ 286 w 402"/>
                <a:gd name="T15" fmla="*/ 270 h 485"/>
                <a:gd name="T16" fmla="*/ 280 w 402"/>
                <a:gd name="T17" fmla="*/ 187 h 485"/>
                <a:gd name="T18" fmla="*/ 286 w 402"/>
                <a:gd name="T19" fmla="*/ 318 h 485"/>
                <a:gd name="T20" fmla="*/ 354 w 402"/>
                <a:gd name="T21" fmla="*/ 325 h 485"/>
                <a:gd name="T22" fmla="*/ 348 w 402"/>
                <a:gd name="T23" fmla="*/ 407 h 485"/>
                <a:gd name="T24" fmla="*/ 280 w 402"/>
                <a:gd name="T25" fmla="*/ 401 h 485"/>
                <a:gd name="T26" fmla="*/ 163 w 402"/>
                <a:gd name="T27" fmla="*/ 54 h 485"/>
                <a:gd name="T28" fmla="*/ 232 w 402"/>
                <a:gd name="T29" fmla="*/ 47 h 485"/>
                <a:gd name="T30" fmla="*/ 238 w 402"/>
                <a:gd name="T31" fmla="*/ 130 h 485"/>
                <a:gd name="T32" fmla="*/ 170 w 402"/>
                <a:gd name="T33" fmla="*/ 136 h 485"/>
                <a:gd name="T34" fmla="*/ 163 w 402"/>
                <a:gd name="T35" fmla="*/ 54 h 485"/>
                <a:gd name="T36" fmla="*/ 170 w 402"/>
                <a:gd name="T37" fmla="*/ 181 h 485"/>
                <a:gd name="T38" fmla="*/ 238 w 402"/>
                <a:gd name="T39" fmla="*/ 187 h 485"/>
                <a:gd name="T40" fmla="*/ 232 w 402"/>
                <a:gd name="T41" fmla="*/ 270 h 485"/>
                <a:gd name="T42" fmla="*/ 163 w 402"/>
                <a:gd name="T43" fmla="*/ 263 h 485"/>
                <a:gd name="T44" fmla="*/ 402 w 402"/>
                <a:gd name="T45" fmla="*/ 485 h 485"/>
                <a:gd name="T46" fmla="*/ 371 w 402"/>
                <a:gd name="T47" fmla="*/ 0 h 485"/>
                <a:gd name="T48" fmla="*/ 0 w 402"/>
                <a:gd name="T49" fmla="*/ 30 h 485"/>
                <a:gd name="T50" fmla="*/ 163 w 402"/>
                <a:gd name="T51" fmla="*/ 485 h 485"/>
                <a:gd name="T52" fmla="*/ 170 w 402"/>
                <a:gd name="T53" fmla="*/ 318 h 485"/>
                <a:gd name="T54" fmla="*/ 238 w 402"/>
                <a:gd name="T55" fmla="*/ 325 h 485"/>
                <a:gd name="T56" fmla="*/ 402 w 402"/>
                <a:gd name="T57" fmla="*/ 485 h 485"/>
                <a:gd name="T58" fmla="*/ 116 w 402"/>
                <a:gd name="T59" fmla="*/ 407 h 485"/>
                <a:gd name="T60" fmla="*/ 47 w 402"/>
                <a:gd name="T61" fmla="*/ 401 h 485"/>
                <a:gd name="T62" fmla="*/ 54 w 402"/>
                <a:gd name="T63" fmla="*/ 318 h 485"/>
                <a:gd name="T64" fmla="*/ 122 w 402"/>
                <a:gd name="T65" fmla="*/ 325 h 485"/>
                <a:gd name="T66" fmla="*/ 122 w 402"/>
                <a:gd name="T67" fmla="*/ 263 h 485"/>
                <a:gd name="T68" fmla="*/ 54 w 402"/>
                <a:gd name="T69" fmla="*/ 270 h 485"/>
                <a:gd name="T70" fmla="*/ 47 w 402"/>
                <a:gd name="T71" fmla="*/ 187 h 485"/>
                <a:gd name="T72" fmla="*/ 116 w 402"/>
                <a:gd name="T73" fmla="*/ 181 h 485"/>
                <a:gd name="T74" fmla="*/ 122 w 402"/>
                <a:gd name="T75" fmla="*/ 263 h 485"/>
                <a:gd name="T76" fmla="*/ 54 w 402"/>
                <a:gd name="T77" fmla="*/ 136 h 485"/>
                <a:gd name="T78" fmla="*/ 47 w 402"/>
                <a:gd name="T79" fmla="*/ 54 h 485"/>
                <a:gd name="T80" fmla="*/ 116 w 402"/>
                <a:gd name="T81" fmla="*/ 47 h 485"/>
                <a:gd name="T82" fmla="*/ 122 w 402"/>
                <a:gd name="T83" fmla="*/ 13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2" h="485">
                  <a:moveTo>
                    <a:pt x="280" y="54"/>
                  </a:moveTo>
                  <a:cubicBezTo>
                    <a:pt x="280" y="50"/>
                    <a:pt x="282" y="47"/>
                    <a:pt x="286" y="47"/>
                  </a:cubicBezTo>
                  <a:cubicBezTo>
                    <a:pt x="348" y="47"/>
                    <a:pt x="348" y="47"/>
                    <a:pt x="348" y="47"/>
                  </a:cubicBezTo>
                  <a:cubicBezTo>
                    <a:pt x="352" y="47"/>
                    <a:pt x="354" y="50"/>
                    <a:pt x="354" y="54"/>
                  </a:cubicBezTo>
                  <a:cubicBezTo>
                    <a:pt x="354" y="130"/>
                    <a:pt x="354" y="130"/>
                    <a:pt x="354" y="130"/>
                  </a:cubicBezTo>
                  <a:cubicBezTo>
                    <a:pt x="354" y="133"/>
                    <a:pt x="352" y="136"/>
                    <a:pt x="348" y="136"/>
                  </a:cubicBezTo>
                  <a:cubicBezTo>
                    <a:pt x="286" y="136"/>
                    <a:pt x="286" y="136"/>
                    <a:pt x="286" y="136"/>
                  </a:cubicBezTo>
                  <a:cubicBezTo>
                    <a:pt x="282" y="136"/>
                    <a:pt x="280" y="133"/>
                    <a:pt x="280" y="130"/>
                  </a:cubicBezTo>
                  <a:lnTo>
                    <a:pt x="280" y="54"/>
                  </a:lnTo>
                  <a:close/>
                  <a:moveTo>
                    <a:pt x="280" y="187"/>
                  </a:moveTo>
                  <a:cubicBezTo>
                    <a:pt x="280" y="184"/>
                    <a:pt x="282" y="181"/>
                    <a:pt x="286" y="181"/>
                  </a:cubicBezTo>
                  <a:cubicBezTo>
                    <a:pt x="348" y="181"/>
                    <a:pt x="348" y="181"/>
                    <a:pt x="348" y="181"/>
                  </a:cubicBezTo>
                  <a:cubicBezTo>
                    <a:pt x="352" y="181"/>
                    <a:pt x="354" y="184"/>
                    <a:pt x="354" y="187"/>
                  </a:cubicBezTo>
                  <a:cubicBezTo>
                    <a:pt x="354" y="263"/>
                    <a:pt x="354" y="263"/>
                    <a:pt x="354" y="263"/>
                  </a:cubicBezTo>
                  <a:cubicBezTo>
                    <a:pt x="354" y="267"/>
                    <a:pt x="352" y="270"/>
                    <a:pt x="348" y="270"/>
                  </a:cubicBezTo>
                  <a:cubicBezTo>
                    <a:pt x="286" y="270"/>
                    <a:pt x="286" y="270"/>
                    <a:pt x="286" y="270"/>
                  </a:cubicBezTo>
                  <a:cubicBezTo>
                    <a:pt x="282" y="270"/>
                    <a:pt x="280" y="267"/>
                    <a:pt x="280" y="263"/>
                  </a:cubicBezTo>
                  <a:lnTo>
                    <a:pt x="280" y="187"/>
                  </a:lnTo>
                  <a:close/>
                  <a:moveTo>
                    <a:pt x="280" y="325"/>
                  </a:moveTo>
                  <a:cubicBezTo>
                    <a:pt x="280" y="321"/>
                    <a:pt x="282" y="318"/>
                    <a:pt x="286" y="318"/>
                  </a:cubicBezTo>
                  <a:cubicBezTo>
                    <a:pt x="348" y="318"/>
                    <a:pt x="348" y="318"/>
                    <a:pt x="348" y="318"/>
                  </a:cubicBezTo>
                  <a:cubicBezTo>
                    <a:pt x="352" y="318"/>
                    <a:pt x="354" y="321"/>
                    <a:pt x="354" y="325"/>
                  </a:cubicBezTo>
                  <a:cubicBezTo>
                    <a:pt x="354" y="401"/>
                    <a:pt x="354" y="401"/>
                    <a:pt x="354" y="401"/>
                  </a:cubicBezTo>
                  <a:cubicBezTo>
                    <a:pt x="354" y="404"/>
                    <a:pt x="352" y="407"/>
                    <a:pt x="348" y="407"/>
                  </a:cubicBezTo>
                  <a:cubicBezTo>
                    <a:pt x="286" y="407"/>
                    <a:pt x="286" y="407"/>
                    <a:pt x="286" y="407"/>
                  </a:cubicBezTo>
                  <a:cubicBezTo>
                    <a:pt x="282" y="407"/>
                    <a:pt x="280" y="404"/>
                    <a:pt x="280" y="401"/>
                  </a:cubicBezTo>
                  <a:lnTo>
                    <a:pt x="280" y="325"/>
                  </a:lnTo>
                  <a:close/>
                  <a:moveTo>
                    <a:pt x="163" y="54"/>
                  </a:moveTo>
                  <a:cubicBezTo>
                    <a:pt x="163" y="50"/>
                    <a:pt x="166" y="47"/>
                    <a:pt x="170" y="47"/>
                  </a:cubicBezTo>
                  <a:cubicBezTo>
                    <a:pt x="232" y="47"/>
                    <a:pt x="232" y="47"/>
                    <a:pt x="232" y="47"/>
                  </a:cubicBezTo>
                  <a:cubicBezTo>
                    <a:pt x="235" y="47"/>
                    <a:pt x="238" y="50"/>
                    <a:pt x="238" y="54"/>
                  </a:cubicBezTo>
                  <a:cubicBezTo>
                    <a:pt x="238" y="130"/>
                    <a:pt x="238" y="130"/>
                    <a:pt x="238" y="130"/>
                  </a:cubicBezTo>
                  <a:cubicBezTo>
                    <a:pt x="238" y="133"/>
                    <a:pt x="235" y="136"/>
                    <a:pt x="232" y="136"/>
                  </a:cubicBezTo>
                  <a:cubicBezTo>
                    <a:pt x="170" y="136"/>
                    <a:pt x="170" y="136"/>
                    <a:pt x="170" y="136"/>
                  </a:cubicBezTo>
                  <a:cubicBezTo>
                    <a:pt x="166" y="136"/>
                    <a:pt x="163" y="133"/>
                    <a:pt x="163" y="130"/>
                  </a:cubicBezTo>
                  <a:lnTo>
                    <a:pt x="163" y="54"/>
                  </a:lnTo>
                  <a:close/>
                  <a:moveTo>
                    <a:pt x="163" y="187"/>
                  </a:moveTo>
                  <a:cubicBezTo>
                    <a:pt x="163" y="184"/>
                    <a:pt x="166" y="181"/>
                    <a:pt x="170" y="181"/>
                  </a:cubicBezTo>
                  <a:cubicBezTo>
                    <a:pt x="232" y="181"/>
                    <a:pt x="232" y="181"/>
                    <a:pt x="232" y="181"/>
                  </a:cubicBezTo>
                  <a:cubicBezTo>
                    <a:pt x="235" y="181"/>
                    <a:pt x="238" y="184"/>
                    <a:pt x="238" y="187"/>
                  </a:cubicBezTo>
                  <a:cubicBezTo>
                    <a:pt x="238" y="263"/>
                    <a:pt x="238" y="263"/>
                    <a:pt x="238" y="263"/>
                  </a:cubicBezTo>
                  <a:cubicBezTo>
                    <a:pt x="238" y="267"/>
                    <a:pt x="235" y="270"/>
                    <a:pt x="232" y="270"/>
                  </a:cubicBezTo>
                  <a:cubicBezTo>
                    <a:pt x="170" y="270"/>
                    <a:pt x="170" y="270"/>
                    <a:pt x="170" y="270"/>
                  </a:cubicBezTo>
                  <a:cubicBezTo>
                    <a:pt x="166" y="270"/>
                    <a:pt x="163" y="267"/>
                    <a:pt x="163" y="263"/>
                  </a:cubicBezTo>
                  <a:lnTo>
                    <a:pt x="163" y="187"/>
                  </a:lnTo>
                  <a:close/>
                  <a:moveTo>
                    <a:pt x="402" y="485"/>
                  </a:moveTo>
                  <a:cubicBezTo>
                    <a:pt x="402" y="30"/>
                    <a:pt x="402" y="30"/>
                    <a:pt x="402" y="30"/>
                  </a:cubicBezTo>
                  <a:cubicBezTo>
                    <a:pt x="402" y="13"/>
                    <a:pt x="388" y="0"/>
                    <a:pt x="371" y="0"/>
                  </a:cubicBezTo>
                  <a:cubicBezTo>
                    <a:pt x="30" y="0"/>
                    <a:pt x="30" y="0"/>
                    <a:pt x="30" y="0"/>
                  </a:cubicBezTo>
                  <a:cubicBezTo>
                    <a:pt x="13" y="0"/>
                    <a:pt x="0" y="13"/>
                    <a:pt x="0" y="30"/>
                  </a:cubicBezTo>
                  <a:cubicBezTo>
                    <a:pt x="0" y="485"/>
                    <a:pt x="0" y="485"/>
                    <a:pt x="0" y="485"/>
                  </a:cubicBezTo>
                  <a:cubicBezTo>
                    <a:pt x="163" y="485"/>
                    <a:pt x="163" y="485"/>
                    <a:pt x="163" y="485"/>
                  </a:cubicBezTo>
                  <a:cubicBezTo>
                    <a:pt x="163" y="325"/>
                    <a:pt x="163" y="325"/>
                    <a:pt x="163" y="325"/>
                  </a:cubicBezTo>
                  <a:cubicBezTo>
                    <a:pt x="163" y="321"/>
                    <a:pt x="166" y="318"/>
                    <a:pt x="170" y="318"/>
                  </a:cubicBezTo>
                  <a:cubicBezTo>
                    <a:pt x="232" y="318"/>
                    <a:pt x="232" y="318"/>
                    <a:pt x="232" y="318"/>
                  </a:cubicBezTo>
                  <a:cubicBezTo>
                    <a:pt x="235" y="318"/>
                    <a:pt x="238" y="321"/>
                    <a:pt x="238" y="325"/>
                  </a:cubicBezTo>
                  <a:cubicBezTo>
                    <a:pt x="238" y="485"/>
                    <a:pt x="238" y="485"/>
                    <a:pt x="238" y="485"/>
                  </a:cubicBezTo>
                  <a:lnTo>
                    <a:pt x="402" y="485"/>
                  </a:lnTo>
                  <a:close/>
                  <a:moveTo>
                    <a:pt x="122" y="401"/>
                  </a:moveTo>
                  <a:cubicBezTo>
                    <a:pt x="122" y="404"/>
                    <a:pt x="119" y="407"/>
                    <a:pt x="116" y="407"/>
                  </a:cubicBezTo>
                  <a:cubicBezTo>
                    <a:pt x="54" y="407"/>
                    <a:pt x="54" y="407"/>
                    <a:pt x="54" y="407"/>
                  </a:cubicBezTo>
                  <a:cubicBezTo>
                    <a:pt x="50" y="407"/>
                    <a:pt x="47" y="404"/>
                    <a:pt x="47" y="401"/>
                  </a:cubicBezTo>
                  <a:cubicBezTo>
                    <a:pt x="47" y="325"/>
                    <a:pt x="47" y="325"/>
                    <a:pt x="47" y="325"/>
                  </a:cubicBezTo>
                  <a:cubicBezTo>
                    <a:pt x="47" y="321"/>
                    <a:pt x="50" y="318"/>
                    <a:pt x="54" y="318"/>
                  </a:cubicBezTo>
                  <a:cubicBezTo>
                    <a:pt x="116" y="318"/>
                    <a:pt x="116" y="318"/>
                    <a:pt x="116" y="318"/>
                  </a:cubicBezTo>
                  <a:cubicBezTo>
                    <a:pt x="119" y="318"/>
                    <a:pt x="122" y="321"/>
                    <a:pt x="122" y="325"/>
                  </a:cubicBezTo>
                  <a:lnTo>
                    <a:pt x="122" y="401"/>
                  </a:lnTo>
                  <a:close/>
                  <a:moveTo>
                    <a:pt x="122" y="263"/>
                  </a:moveTo>
                  <a:cubicBezTo>
                    <a:pt x="122" y="267"/>
                    <a:pt x="119" y="270"/>
                    <a:pt x="116" y="270"/>
                  </a:cubicBezTo>
                  <a:cubicBezTo>
                    <a:pt x="54" y="270"/>
                    <a:pt x="54" y="270"/>
                    <a:pt x="54" y="270"/>
                  </a:cubicBezTo>
                  <a:cubicBezTo>
                    <a:pt x="50" y="270"/>
                    <a:pt x="47" y="267"/>
                    <a:pt x="47" y="263"/>
                  </a:cubicBezTo>
                  <a:cubicBezTo>
                    <a:pt x="47" y="187"/>
                    <a:pt x="47" y="187"/>
                    <a:pt x="47" y="187"/>
                  </a:cubicBezTo>
                  <a:cubicBezTo>
                    <a:pt x="47" y="184"/>
                    <a:pt x="50" y="181"/>
                    <a:pt x="54" y="181"/>
                  </a:cubicBezTo>
                  <a:cubicBezTo>
                    <a:pt x="116" y="181"/>
                    <a:pt x="116" y="181"/>
                    <a:pt x="116" y="181"/>
                  </a:cubicBezTo>
                  <a:cubicBezTo>
                    <a:pt x="119" y="181"/>
                    <a:pt x="122" y="184"/>
                    <a:pt x="122" y="187"/>
                  </a:cubicBezTo>
                  <a:lnTo>
                    <a:pt x="122" y="263"/>
                  </a:lnTo>
                  <a:close/>
                  <a:moveTo>
                    <a:pt x="116" y="136"/>
                  </a:moveTo>
                  <a:cubicBezTo>
                    <a:pt x="54" y="136"/>
                    <a:pt x="54" y="136"/>
                    <a:pt x="54" y="136"/>
                  </a:cubicBezTo>
                  <a:cubicBezTo>
                    <a:pt x="50" y="136"/>
                    <a:pt x="47" y="133"/>
                    <a:pt x="47" y="130"/>
                  </a:cubicBezTo>
                  <a:cubicBezTo>
                    <a:pt x="47" y="54"/>
                    <a:pt x="47" y="54"/>
                    <a:pt x="47" y="54"/>
                  </a:cubicBezTo>
                  <a:cubicBezTo>
                    <a:pt x="47" y="50"/>
                    <a:pt x="50" y="47"/>
                    <a:pt x="54" y="47"/>
                  </a:cubicBezTo>
                  <a:cubicBezTo>
                    <a:pt x="116" y="47"/>
                    <a:pt x="116" y="47"/>
                    <a:pt x="116" y="47"/>
                  </a:cubicBezTo>
                  <a:cubicBezTo>
                    <a:pt x="119" y="47"/>
                    <a:pt x="122" y="50"/>
                    <a:pt x="122" y="54"/>
                  </a:cubicBezTo>
                  <a:cubicBezTo>
                    <a:pt x="122" y="130"/>
                    <a:pt x="122" y="130"/>
                    <a:pt x="122" y="130"/>
                  </a:cubicBezTo>
                  <a:cubicBezTo>
                    <a:pt x="122" y="133"/>
                    <a:pt x="119" y="136"/>
                    <a:pt x="116" y="13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0" name="Freeform 190"/>
            <p:cNvSpPr>
              <a:spLocks/>
            </p:cNvSpPr>
            <p:nvPr userDrawn="1"/>
          </p:nvSpPr>
          <p:spPr bwMode="auto">
            <a:xfrm>
              <a:off x="2265" y="2497"/>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1" name="Freeform 191"/>
            <p:cNvSpPr>
              <a:spLocks/>
            </p:cNvSpPr>
            <p:nvPr userDrawn="1"/>
          </p:nvSpPr>
          <p:spPr bwMode="auto">
            <a:xfrm>
              <a:off x="2818" y="2497"/>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2" name="Freeform 192"/>
            <p:cNvSpPr>
              <a:spLocks/>
            </p:cNvSpPr>
            <p:nvPr userDrawn="1"/>
          </p:nvSpPr>
          <p:spPr bwMode="auto">
            <a:xfrm>
              <a:off x="2265" y="2172"/>
              <a:ext cx="178" cy="211"/>
            </a:xfrm>
            <a:custGeom>
              <a:avLst/>
              <a:gdLst>
                <a:gd name="T0" fmla="*/ 69 w 75"/>
                <a:gd name="T1" fmla="*/ 0 h 89"/>
                <a:gd name="T2" fmla="*/ 7 w 75"/>
                <a:gd name="T3" fmla="*/ 0 h 89"/>
                <a:gd name="T4" fmla="*/ 0 w 75"/>
                <a:gd name="T5" fmla="*/ 6 h 89"/>
                <a:gd name="T6" fmla="*/ 0 w 75"/>
                <a:gd name="T7" fmla="*/ 82 h 89"/>
                <a:gd name="T8" fmla="*/ 7 w 75"/>
                <a:gd name="T9" fmla="*/ 89 h 89"/>
                <a:gd name="T10" fmla="*/ 69 w 75"/>
                <a:gd name="T11" fmla="*/ 89 h 89"/>
                <a:gd name="T12" fmla="*/ 75 w 75"/>
                <a:gd name="T13" fmla="*/ 82 h 89"/>
                <a:gd name="T14" fmla="*/ 75 w 75"/>
                <a:gd name="T15" fmla="*/ 6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6"/>
                  </a:cubicBezTo>
                  <a:cubicBezTo>
                    <a:pt x="0" y="82"/>
                    <a:pt x="0" y="82"/>
                    <a:pt x="0" y="82"/>
                  </a:cubicBezTo>
                  <a:cubicBezTo>
                    <a:pt x="0" y="86"/>
                    <a:pt x="3" y="89"/>
                    <a:pt x="7" y="89"/>
                  </a:cubicBezTo>
                  <a:cubicBezTo>
                    <a:pt x="69" y="89"/>
                    <a:pt x="69" y="89"/>
                    <a:pt x="69" y="89"/>
                  </a:cubicBezTo>
                  <a:cubicBezTo>
                    <a:pt x="72" y="89"/>
                    <a:pt x="75" y="86"/>
                    <a:pt x="75" y="82"/>
                  </a:cubicBezTo>
                  <a:cubicBezTo>
                    <a:pt x="75" y="6"/>
                    <a:pt x="75" y="6"/>
                    <a:pt x="75" y="6"/>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3" name="Freeform 193"/>
            <p:cNvSpPr>
              <a:spLocks/>
            </p:cNvSpPr>
            <p:nvPr userDrawn="1"/>
          </p:nvSpPr>
          <p:spPr bwMode="auto">
            <a:xfrm>
              <a:off x="2818" y="2172"/>
              <a:ext cx="176" cy="211"/>
            </a:xfrm>
            <a:custGeom>
              <a:avLst/>
              <a:gdLst>
                <a:gd name="T0" fmla="*/ 6 w 74"/>
                <a:gd name="T1" fmla="*/ 89 h 89"/>
                <a:gd name="T2" fmla="*/ 68 w 74"/>
                <a:gd name="T3" fmla="*/ 89 h 89"/>
                <a:gd name="T4" fmla="*/ 74 w 74"/>
                <a:gd name="T5" fmla="*/ 82 h 89"/>
                <a:gd name="T6" fmla="*/ 74 w 74"/>
                <a:gd name="T7" fmla="*/ 6 h 89"/>
                <a:gd name="T8" fmla="*/ 68 w 74"/>
                <a:gd name="T9" fmla="*/ 0 h 89"/>
                <a:gd name="T10" fmla="*/ 6 w 74"/>
                <a:gd name="T11" fmla="*/ 0 h 89"/>
                <a:gd name="T12" fmla="*/ 0 w 74"/>
                <a:gd name="T13" fmla="*/ 6 h 89"/>
                <a:gd name="T14" fmla="*/ 0 w 74"/>
                <a:gd name="T15" fmla="*/ 82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2"/>
                  </a:cubicBezTo>
                  <a:cubicBezTo>
                    <a:pt x="74" y="6"/>
                    <a:pt x="74" y="6"/>
                    <a:pt x="74" y="6"/>
                  </a:cubicBezTo>
                  <a:cubicBezTo>
                    <a:pt x="74" y="3"/>
                    <a:pt x="72" y="0"/>
                    <a:pt x="68" y="0"/>
                  </a:cubicBezTo>
                  <a:cubicBezTo>
                    <a:pt x="6" y="0"/>
                    <a:pt x="6" y="0"/>
                    <a:pt x="6" y="0"/>
                  </a:cubicBezTo>
                  <a:cubicBezTo>
                    <a:pt x="2" y="0"/>
                    <a:pt x="0" y="3"/>
                    <a:pt x="0" y="6"/>
                  </a:cubicBezTo>
                  <a:cubicBezTo>
                    <a:pt x="0" y="82"/>
                    <a:pt x="0" y="82"/>
                    <a:pt x="0" y="82"/>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4" name="Freeform 194"/>
            <p:cNvSpPr>
              <a:spLocks/>
            </p:cNvSpPr>
            <p:nvPr userDrawn="1"/>
          </p:nvSpPr>
          <p:spPr bwMode="auto">
            <a:xfrm>
              <a:off x="2541" y="2172"/>
              <a:ext cx="178" cy="211"/>
            </a:xfrm>
            <a:custGeom>
              <a:avLst/>
              <a:gdLst>
                <a:gd name="T0" fmla="*/ 7 w 75"/>
                <a:gd name="T1" fmla="*/ 89 h 89"/>
                <a:gd name="T2" fmla="*/ 69 w 75"/>
                <a:gd name="T3" fmla="*/ 89 h 89"/>
                <a:gd name="T4" fmla="*/ 75 w 75"/>
                <a:gd name="T5" fmla="*/ 82 h 89"/>
                <a:gd name="T6" fmla="*/ 75 w 75"/>
                <a:gd name="T7" fmla="*/ 6 h 89"/>
                <a:gd name="T8" fmla="*/ 69 w 75"/>
                <a:gd name="T9" fmla="*/ 0 h 89"/>
                <a:gd name="T10" fmla="*/ 7 w 75"/>
                <a:gd name="T11" fmla="*/ 0 h 89"/>
                <a:gd name="T12" fmla="*/ 0 w 75"/>
                <a:gd name="T13" fmla="*/ 6 h 89"/>
                <a:gd name="T14" fmla="*/ 0 w 75"/>
                <a:gd name="T15" fmla="*/ 82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2"/>
                  </a:cubicBezTo>
                  <a:cubicBezTo>
                    <a:pt x="75" y="6"/>
                    <a:pt x="75" y="6"/>
                    <a:pt x="75" y="6"/>
                  </a:cubicBezTo>
                  <a:cubicBezTo>
                    <a:pt x="75" y="3"/>
                    <a:pt x="72" y="0"/>
                    <a:pt x="69" y="0"/>
                  </a:cubicBezTo>
                  <a:cubicBezTo>
                    <a:pt x="7" y="0"/>
                    <a:pt x="7" y="0"/>
                    <a:pt x="7" y="0"/>
                  </a:cubicBezTo>
                  <a:cubicBezTo>
                    <a:pt x="3" y="0"/>
                    <a:pt x="0" y="3"/>
                    <a:pt x="0" y="6"/>
                  </a:cubicBezTo>
                  <a:cubicBezTo>
                    <a:pt x="0" y="82"/>
                    <a:pt x="0" y="82"/>
                    <a:pt x="0" y="82"/>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5" name="Freeform 195"/>
            <p:cNvSpPr>
              <a:spLocks/>
            </p:cNvSpPr>
            <p:nvPr userDrawn="1"/>
          </p:nvSpPr>
          <p:spPr bwMode="auto">
            <a:xfrm>
              <a:off x="2265" y="1854"/>
              <a:ext cx="178" cy="211"/>
            </a:xfrm>
            <a:custGeom>
              <a:avLst/>
              <a:gdLst>
                <a:gd name="T0" fmla="*/ 69 w 75"/>
                <a:gd name="T1" fmla="*/ 0 h 89"/>
                <a:gd name="T2" fmla="*/ 7 w 75"/>
                <a:gd name="T3" fmla="*/ 0 h 89"/>
                <a:gd name="T4" fmla="*/ 0 w 75"/>
                <a:gd name="T5" fmla="*/ 7 h 89"/>
                <a:gd name="T6" fmla="*/ 0 w 75"/>
                <a:gd name="T7" fmla="*/ 83 h 89"/>
                <a:gd name="T8" fmla="*/ 7 w 75"/>
                <a:gd name="T9" fmla="*/ 89 h 89"/>
                <a:gd name="T10" fmla="*/ 69 w 75"/>
                <a:gd name="T11" fmla="*/ 89 h 89"/>
                <a:gd name="T12" fmla="*/ 75 w 75"/>
                <a:gd name="T13" fmla="*/ 83 h 89"/>
                <a:gd name="T14" fmla="*/ 75 w 75"/>
                <a:gd name="T15" fmla="*/ 7 h 89"/>
                <a:gd name="T16" fmla="*/ 69 w 75"/>
                <a:gd name="T1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0"/>
                  </a:moveTo>
                  <a:cubicBezTo>
                    <a:pt x="7" y="0"/>
                    <a:pt x="7" y="0"/>
                    <a:pt x="7" y="0"/>
                  </a:cubicBezTo>
                  <a:cubicBezTo>
                    <a:pt x="3" y="0"/>
                    <a:pt x="0" y="3"/>
                    <a:pt x="0" y="7"/>
                  </a:cubicBezTo>
                  <a:cubicBezTo>
                    <a:pt x="0" y="83"/>
                    <a:pt x="0" y="83"/>
                    <a:pt x="0" y="83"/>
                  </a:cubicBezTo>
                  <a:cubicBezTo>
                    <a:pt x="0" y="86"/>
                    <a:pt x="3" y="89"/>
                    <a:pt x="7" y="89"/>
                  </a:cubicBezTo>
                  <a:cubicBezTo>
                    <a:pt x="69" y="89"/>
                    <a:pt x="69" y="89"/>
                    <a:pt x="69" y="89"/>
                  </a:cubicBezTo>
                  <a:cubicBezTo>
                    <a:pt x="72" y="89"/>
                    <a:pt x="75" y="86"/>
                    <a:pt x="75" y="83"/>
                  </a:cubicBezTo>
                  <a:cubicBezTo>
                    <a:pt x="75" y="7"/>
                    <a:pt x="75" y="7"/>
                    <a:pt x="75" y="7"/>
                  </a:cubicBezTo>
                  <a:cubicBezTo>
                    <a:pt x="75" y="3"/>
                    <a:pt x="72" y="0"/>
                    <a:pt x="6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6" name="Freeform 196"/>
            <p:cNvSpPr>
              <a:spLocks/>
            </p:cNvSpPr>
            <p:nvPr userDrawn="1"/>
          </p:nvSpPr>
          <p:spPr bwMode="auto">
            <a:xfrm>
              <a:off x="2818" y="1854"/>
              <a:ext cx="176" cy="211"/>
            </a:xfrm>
            <a:custGeom>
              <a:avLst/>
              <a:gdLst>
                <a:gd name="T0" fmla="*/ 6 w 74"/>
                <a:gd name="T1" fmla="*/ 89 h 89"/>
                <a:gd name="T2" fmla="*/ 68 w 74"/>
                <a:gd name="T3" fmla="*/ 89 h 89"/>
                <a:gd name="T4" fmla="*/ 74 w 74"/>
                <a:gd name="T5" fmla="*/ 83 h 89"/>
                <a:gd name="T6" fmla="*/ 74 w 74"/>
                <a:gd name="T7" fmla="*/ 7 h 89"/>
                <a:gd name="T8" fmla="*/ 68 w 74"/>
                <a:gd name="T9" fmla="*/ 0 h 89"/>
                <a:gd name="T10" fmla="*/ 6 w 74"/>
                <a:gd name="T11" fmla="*/ 0 h 89"/>
                <a:gd name="T12" fmla="*/ 0 w 74"/>
                <a:gd name="T13" fmla="*/ 7 h 89"/>
                <a:gd name="T14" fmla="*/ 0 w 74"/>
                <a:gd name="T15" fmla="*/ 83 h 89"/>
                <a:gd name="T16" fmla="*/ 6 w 74"/>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89">
                  <a:moveTo>
                    <a:pt x="6" y="89"/>
                  </a:moveTo>
                  <a:cubicBezTo>
                    <a:pt x="68" y="89"/>
                    <a:pt x="68" y="89"/>
                    <a:pt x="68" y="89"/>
                  </a:cubicBezTo>
                  <a:cubicBezTo>
                    <a:pt x="72" y="89"/>
                    <a:pt x="74" y="86"/>
                    <a:pt x="74" y="83"/>
                  </a:cubicBezTo>
                  <a:cubicBezTo>
                    <a:pt x="74" y="7"/>
                    <a:pt x="74" y="7"/>
                    <a:pt x="74" y="7"/>
                  </a:cubicBezTo>
                  <a:cubicBezTo>
                    <a:pt x="74" y="3"/>
                    <a:pt x="72" y="0"/>
                    <a:pt x="68" y="0"/>
                  </a:cubicBezTo>
                  <a:cubicBezTo>
                    <a:pt x="6" y="0"/>
                    <a:pt x="6" y="0"/>
                    <a:pt x="6" y="0"/>
                  </a:cubicBezTo>
                  <a:cubicBezTo>
                    <a:pt x="2" y="0"/>
                    <a:pt x="0" y="3"/>
                    <a:pt x="0" y="7"/>
                  </a:cubicBezTo>
                  <a:cubicBezTo>
                    <a:pt x="0" y="83"/>
                    <a:pt x="0" y="83"/>
                    <a:pt x="0" y="83"/>
                  </a:cubicBezTo>
                  <a:cubicBezTo>
                    <a:pt x="0" y="86"/>
                    <a:pt x="2" y="89"/>
                    <a:pt x="6"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7" name="Freeform 197"/>
            <p:cNvSpPr>
              <a:spLocks/>
            </p:cNvSpPr>
            <p:nvPr userDrawn="1"/>
          </p:nvSpPr>
          <p:spPr bwMode="auto">
            <a:xfrm>
              <a:off x="2541" y="1854"/>
              <a:ext cx="178" cy="211"/>
            </a:xfrm>
            <a:custGeom>
              <a:avLst/>
              <a:gdLst>
                <a:gd name="T0" fmla="*/ 7 w 75"/>
                <a:gd name="T1" fmla="*/ 89 h 89"/>
                <a:gd name="T2" fmla="*/ 69 w 75"/>
                <a:gd name="T3" fmla="*/ 89 h 89"/>
                <a:gd name="T4" fmla="*/ 75 w 75"/>
                <a:gd name="T5" fmla="*/ 83 h 89"/>
                <a:gd name="T6" fmla="*/ 75 w 75"/>
                <a:gd name="T7" fmla="*/ 7 h 89"/>
                <a:gd name="T8" fmla="*/ 69 w 75"/>
                <a:gd name="T9" fmla="*/ 0 h 89"/>
                <a:gd name="T10" fmla="*/ 7 w 75"/>
                <a:gd name="T11" fmla="*/ 0 h 89"/>
                <a:gd name="T12" fmla="*/ 0 w 75"/>
                <a:gd name="T13" fmla="*/ 7 h 89"/>
                <a:gd name="T14" fmla="*/ 0 w 75"/>
                <a:gd name="T15" fmla="*/ 83 h 89"/>
                <a:gd name="T16" fmla="*/ 7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7" y="89"/>
                  </a:moveTo>
                  <a:cubicBezTo>
                    <a:pt x="69" y="89"/>
                    <a:pt x="69" y="89"/>
                    <a:pt x="69" y="89"/>
                  </a:cubicBezTo>
                  <a:cubicBezTo>
                    <a:pt x="72" y="89"/>
                    <a:pt x="75" y="86"/>
                    <a:pt x="75" y="83"/>
                  </a:cubicBezTo>
                  <a:cubicBezTo>
                    <a:pt x="75" y="7"/>
                    <a:pt x="75" y="7"/>
                    <a:pt x="75" y="7"/>
                  </a:cubicBezTo>
                  <a:cubicBezTo>
                    <a:pt x="75" y="3"/>
                    <a:pt x="72" y="0"/>
                    <a:pt x="69" y="0"/>
                  </a:cubicBezTo>
                  <a:cubicBezTo>
                    <a:pt x="7" y="0"/>
                    <a:pt x="7" y="0"/>
                    <a:pt x="7" y="0"/>
                  </a:cubicBezTo>
                  <a:cubicBezTo>
                    <a:pt x="3" y="0"/>
                    <a:pt x="0" y="3"/>
                    <a:pt x="0" y="7"/>
                  </a:cubicBezTo>
                  <a:cubicBezTo>
                    <a:pt x="0" y="83"/>
                    <a:pt x="0" y="83"/>
                    <a:pt x="0" y="83"/>
                  </a:cubicBezTo>
                  <a:cubicBezTo>
                    <a:pt x="0" y="86"/>
                    <a:pt x="3" y="89"/>
                    <a:pt x="7"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8" name="Freeform 198"/>
            <p:cNvSpPr>
              <a:spLocks/>
            </p:cNvSpPr>
            <p:nvPr userDrawn="1"/>
          </p:nvSpPr>
          <p:spPr bwMode="auto">
            <a:xfrm>
              <a:off x="2569" y="1396"/>
              <a:ext cx="1008" cy="1526"/>
            </a:xfrm>
            <a:custGeom>
              <a:avLst/>
              <a:gdLst>
                <a:gd name="T0" fmla="*/ 0 w 425"/>
                <a:gd name="T1" fmla="*/ 643 h 643"/>
                <a:gd name="T2" fmla="*/ 0 w 425"/>
                <a:gd name="T3" fmla="*/ 43 h 643"/>
                <a:gd name="T4" fmla="*/ 42 w 425"/>
                <a:gd name="T5" fmla="*/ 0 h 643"/>
                <a:gd name="T6" fmla="*/ 383 w 425"/>
                <a:gd name="T7" fmla="*/ 0 h 643"/>
                <a:gd name="T8" fmla="*/ 425 w 425"/>
                <a:gd name="T9" fmla="*/ 43 h 643"/>
                <a:gd name="T10" fmla="*/ 425 w 425"/>
                <a:gd name="T11" fmla="*/ 643 h 643"/>
                <a:gd name="T12" fmla="*/ 0 w 425"/>
                <a:gd name="T13" fmla="*/ 643 h 643"/>
              </a:gdLst>
              <a:ahLst/>
              <a:cxnLst>
                <a:cxn ang="0">
                  <a:pos x="T0" y="T1"/>
                </a:cxn>
                <a:cxn ang="0">
                  <a:pos x="T2" y="T3"/>
                </a:cxn>
                <a:cxn ang="0">
                  <a:pos x="T4" y="T5"/>
                </a:cxn>
                <a:cxn ang="0">
                  <a:pos x="T6" y="T7"/>
                </a:cxn>
                <a:cxn ang="0">
                  <a:pos x="T8" y="T9"/>
                </a:cxn>
                <a:cxn ang="0">
                  <a:pos x="T10" y="T11"/>
                </a:cxn>
                <a:cxn ang="0">
                  <a:pos x="T12" y="T13"/>
                </a:cxn>
              </a:cxnLst>
              <a:rect l="0" t="0" r="r" b="b"/>
              <a:pathLst>
                <a:path w="425" h="643">
                  <a:moveTo>
                    <a:pt x="0" y="643"/>
                  </a:moveTo>
                  <a:cubicBezTo>
                    <a:pt x="0" y="43"/>
                    <a:pt x="0" y="43"/>
                    <a:pt x="0" y="43"/>
                  </a:cubicBezTo>
                  <a:cubicBezTo>
                    <a:pt x="0" y="19"/>
                    <a:pt x="19" y="0"/>
                    <a:pt x="42" y="0"/>
                  </a:cubicBezTo>
                  <a:cubicBezTo>
                    <a:pt x="383" y="0"/>
                    <a:pt x="383" y="0"/>
                    <a:pt x="383" y="0"/>
                  </a:cubicBezTo>
                  <a:cubicBezTo>
                    <a:pt x="406" y="0"/>
                    <a:pt x="425" y="19"/>
                    <a:pt x="425" y="43"/>
                  </a:cubicBezTo>
                  <a:cubicBezTo>
                    <a:pt x="425" y="643"/>
                    <a:pt x="425" y="643"/>
                    <a:pt x="425" y="643"/>
                  </a:cubicBezTo>
                  <a:lnTo>
                    <a:pt x="0" y="643"/>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29" name="Freeform 199"/>
            <p:cNvSpPr>
              <a:spLocks noEditPoints="1"/>
            </p:cNvSpPr>
            <p:nvPr userDrawn="1"/>
          </p:nvSpPr>
          <p:spPr bwMode="auto">
            <a:xfrm>
              <a:off x="2541" y="1370"/>
              <a:ext cx="1065" cy="1578"/>
            </a:xfrm>
            <a:custGeom>
              <a:avLst/>
              <a:gdLst>
                <a:gd name="T0" fmla="*/ 395 w 449"/>
                <a:gd name="T1" fmla="*/ 23 h 665"/>
                <a:gd name="T2" fmla="*/ 426 w 449"/>
                <a:gd name="T3" fmla="*/ 54 h 665"/>
                <a:gd name="T4" fmla="*/ 426 w 449"/>
                <a:gd name="T5" fmla="*/ 642 h 665"/>
                <a:gd name="T6" fmla="*/ 23 w 449"/>
                <a:gd name="T7" fmla="*/ 642 h 665"/>
                <a:gd name="T8" fmla="*/ 23 w 449"/>
                <a:gd name="T9" fmla="*/ 54 h 665"/>
                <a:gd name="T10" fmla="*/ 54 w 449"/>
                <a:gd name="T11" fmla="*/ 23 h 665"/>
                <a:gd name="T12" fmla="*/ 395 w 449"/>
                <a:gd name="T13" fmla="*/ 23 h 665"/>
                <a:gd name="T14" fmla="*/ 395 w 449"/>
                <a:gd name="T15" fmla="*/ 0 h 665"/>
                <a:gd name="T16" fmla="*/ 54 w 449"/>
                <a:gd name="T17" fmla="*/ 0 h 665"/>
                <a:gd name="T18" fmla="*/ 0 w 449"/>
                <a:gd name="T19" fmla="*/ 54 h 665"/>
                <a:gd name="T20" fmla="*/ 0 w 449"/>
                <a:gd name="T21" fmla="*/ 642 h 665"/>
                <a:gd name="T22" fmla="*/ 0 w 449"/>
                <a:gd name="T23" fmla="*/ 665 h 665"/>
                <a:gd name="T24" fmla="*/ 23 w 449"/>
                <a:gd name="T25" fmla="*/ 665 h 665"/>
                <a:gd name="T26" fmla="*/ 426 w 449"/>
                <a:gd name="T27" fmla="*/ 665 h 665"/>
                <a:gd name="T28" fmla="*/ 449 w 449"/>
                <a:gd name="T29" fmla="*/ 665 h 665"/>
                <a:gd name="T30" fmla="*/ 449 w 449"/>
                <a:gd name="T31" fmla="*/ 642 h 665"/>
                <a:gd name="T32" fmla="*/ 449 w 449"/>
                <a:gd name="T33" fmla="*/ 54 h 665"/>
                <a:gd name="T34" fmla="*/ 395 w 449"/>
                <a:gd name="T35" fmla="*/ 0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9" h="665">
                  <a:moveTo>
                    <a:pt x="395" y="23"/>
                  </a:moveTo>
                  <a:cubicBezTo>
                    <a:pt x="412" y="23"/>
                    <a:pt x="426" y="37"/>
                    <a:pt x="426" y="54"/>
                  </a:cubicBezTo>
                  <a:cubicBezTo>
                    <a:pt x="426" y="642"/>
                    <a:pt x="426" y="642"/>
                    <a:pt x="426" y="642"/>
                  </a:cubicBezTo>
                  <a:cubicBezTo>
                    <a:pt x="23" y="642"/>
                    <a:pt x="23" y="642"/>
                    <a:pt x="23" y="642"/>
                  </a:cubicBezTo>
                  <a:cubicBezTo>
                    <a:pt x="23" y="54"/>
                    <a:pt x="23" y="54"/>
                    <a:pt x="23" y="54"/>
                  </a:cubicBezTo>
                  <a:cubicBezTo>
                    <a:pt x="23" y="37"/>
                    <a:pt x="37" y="23"/>
                    <a:pt x="54" y="23"/>
                  </a:cubicBezTo>
                  <a:cubicBezTo>
                    <a:pt x="395" y="23"/>
                    <a:pt x="395" y="23"/>
                    <a:pt x="395" y="23"/>
                  </a:cubicBezTo>
                  <a:moveTo>
                    <a:pt x="395" y="0"/>
                  </a:moveTo>
                  <a:cubicBezTo>
                    <a:pt x="54" y="0"/>
                    <a:pt x="54" y="0"/>
                    <a:pt x="54" y="0"/>
                  </a:cubicBezTo>
                  <a:cubicBezTo>
                    <a:pt x="24" y="0"/>
                    <a:pt x="0" y="24"/>
                    <a:pt x="0" y="54"/>
                  </a:cubicBezTo>
                  <a:cubicBezTo>
                    <a:pt x="0" y="642"/>
                    <a:pt x="0" y="642"/>
                    <a:pt x="0" y="642"/>
                  </a:cubicBezTo>
                  <a:cubicBezTo>
                    <a:pt x="0" y="665"/>
                    <a:pt x="0" y="665"/>
                    <a:pt x="0" y="665"/>
                  </a:cubicBezTo>
                  <a:cubicBezTo>
                    <a:pt x="23" y="665"/>
                    <a:pt x="23" y="665"/>
                    <a:pt x="23" y="665"/>
                  </a:cubicBezTo>
                  <a:cubicBezTo>
                    <a:pt x="426" y="665"/>
                    <a:pt x="426" y="665"/>
                    <a:pt x="426" y="665"/>
                  </a:cubicBezTo>
                  <a:cubicBezTo>
                    <a:pt x="449" y="665"/>
                    <a:pt x="449" y="665"/>
                    <a:pt x="449" y="665"/>
                  </a:cubicBezTo>
                  <a:cubicBezTo>
                    <a:pt x="449" y="642"/>
                    <a:pt x="449" y="642"/>
                    <a:pt x="449" y="642"/>
                  </a:cubicBezTo>
                  <a:cubicBezTo>
                    <a:pt x="449" y="54"/>
                    <a:pt x="449" y="54"/>
                    <a:pt x="449" y="54"/>
                  </a:cubicBezTo>
                  <a:cubicBezTo>
                    <a:pt x="449" y="24"/>
                    <a:pt x="425" y="0"/>
                    <a:pt x="39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0" name="Freeform 200"/>
            <p:cNvSpPr>
              <a:spLocks/>
            </p:cNvSpPr>
            <p:nvPr userDrawn="1"/>
          </p:nvSpPr>
          <p:spPr bwMode="auto">
            <a:xfrm>
              <a:off x="2984" y="2497"/>
              <a:ext cx="178" cy="427"/>
            </a:xfrm>
            <a:custGeom>
              <a:avLst/>
              <a:gdLst>
                <a:gd name="T0" fmla="*/ 68 w 75"/>
                <a:gd name="T1" fmla="*/ 180 h 180"/>
                <a:gd name="T2" fmla="*/ 6 w 75"/>
                <a:gd name="T3" fmla="*/ 180 h 180"/>
                <a:gd name="T4" fmla="*/ 0 w 75"/>
                <a:gd name="T5" fmla="*/ 174 h 180"/>
                <a:gd name="T6" fmla="*/ 0 w 75"/>
                <a:gd name="T7" fmla="*/ 7 h 180"/>
                <a:gd name="T8" fmla="*/ 6 w 75"/>
                <a:gd name="T9" fmla="*/ 0 h 180"/>
                <a:gd name="T10" fmla="*/ 68 w 75"/>
                <a:gd name="T11" fmla="*/ 0 h 180"/>
                <a:gd name="T12" fmla="*/ 75 w 75"/>
                <a:gd name="T13" fmla="*/ 7 h 180"/>
                <a:gd name="T14" fmla="*/ 75 w 75"/>
                <a:gd name="T15" fmla="*/ 174 h 180"/>
                <a:gd name="T16" fmla="*/ 68 w 75"/>
                <a:gd name="T1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0">
                  <a:moveTo>
                    <a:pt x="68" y="180"/>
                  </a:moveTo>
                  <a:cubicBezTo>
                    <a:pt x="6" y="180"/>
                    <a:pt x="6" y="180"/>
                    <a:pt x="6" y="180"/>
                  </a:cubicBezTo>
                  <a:cubicBezTo>
                    <a:pt x="3" y="180"/>
                    <a:pt x="0" y="177"/>
                    <a:pt x="0" y="174"/>
                  </a:cubicBezTo>
                  <a:cubicBezTo>
                    <a:pt x="0" y="7"/>
                    <a:pt x="0" y="7"/>
                    <a:pt x="0" y="7"/>
                  </a:cubicBezTo>
                  <a:cubicBezTo>
                    <a:pt x="0" y="3"/>
                    <a:pt x="3" y="0"/>
                    <a:pt x="6" y="0"/>
                  </a:cubicBezTo>
                  <a:cubicBezTo>
                    <a:pt x="68" y="0"/>
                    <a:pt x="68" y="0"/>
                    <a:pt x="68" y="0"/>
                  </a:cubicBezTo>
                  <a:cubicBezTo>
                    <a:pt x="72" y="0"/>
                    <a:pt x="75" y="3"/>
                    <a:pt x="75" y="7"/>
                  </a:cubicBezTo>
                  <a:cubicBezTo>
                    <a:pt x="75" y="174"/>
                    <a:pt x="75" y="174"/>
                    <a:pt x="75" y="174"/>
                  </a:cubicBezTo>
                  <a:cubicBezTo>
                    <a:pt x="75" y="177"/>
                    <a:pt x="72" y="180"/>
                    <a:pt x="68" y="1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1" name="Freeform 201"/>
            <p:cNvSpPr>
              <a:spLocks/>
            </p:cNvSpPr>
            <p:nvPr userDrawn="1"/>
          </p:nvSpPr>
          <p:spPr bwMode="auto">
            <a:xfrm>
              <a:off x="2709" y="2497"/>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2" name="Freeform 202"/>
            <p:cNvSpPr>
              <a:spLocks/>
            </p:cNvSpPr>
            <p:nvPr userDrawn="1"/>
          </p:nvSpPr>
          <p:spPr bwMode="auto">
            <a:xfrm>
              <a:off x="2709"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3" name="Freeform 203"/>
            <p:cNvSpPr>
              <a:spLocks/>
            </p:cNvSpPr>
            <p:nvPr userDrawn="1"/>
          </p:nvSpPr>
          <p:spPr bwMode="auto">
            <a:xfrm>
              <a:off x="3260" y="2497"/>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4" name="Freeform 204"/>
            <p:cNvSpPr>
              <a:spLocks/>
            </p:cNvSpPr>
            <p:nvPr userDrawn="1"/>
          </p:nvSpPr>
          <p:spPr bwMode="auto">
            <a:xfrm>
              <a:off x="3260" y="2181"/>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5" name="Freeform 205"/>
            <p:cNvSpPr>
              <a:spLocks/>
            </p:cNvSpPr>
            <p:nvPr userDrawn="1"/>
          </p:nvSpPr>
          <p:spPr bwMode="auto">
            <a:xfrm>
              <a:off x="2984" y="2181"/>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6" name="Freeform 206"/>
            <p:cNvSpPr>
              <a:spLocks/>
            </p:cNvSpPr>
            <p:nvPr userDrawn="1"/>
          </p:nvSpPr>
          <p:spPr bwMode="auto">
            <a:xfrm>
              <a:off x="2709"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7" name="Freeform 207"/>
            <p:cNvSpPr>
              <a:spLocks/>
            </p:cNvSpPr>
            <p:nvPr userDrawn="1"/>
          </p:nvSpPr>
          <p:spPr bwMode="auto">
            <a:xfrm>
              <a:off x="3260" y="1854"/>
              <a:ext cx="177" cy="211"/>
            </a:xfrm>
            <a:custGeom>
              <a:avLst/>
              <a:gdLst>
                <a:gd name="T0" fmla="*/ 69 w 75"/>
                <a:gd name="T1" fmla="*/ 89 h 89"/>
                <a:gd name="T2" fmla="*/ 6 w 75"/>
                <a:gd name="T3" fmla="*/ 89 h 89"/>
                <a:gd name="T4" fmla="*/ 0 w 75"/>
                <a:gd name="T5" fmla="*/ 83 h 89"/>
                <a:gd name="T6" fmla="*/ 0 w 75"/>
                <a:gd name="T7" fmla="*/ 7 h 89"/>
                <a:gd name="T8" fmla="*/ 6 w 75"/>
                <a:gd name="T9" fmla="*/ 0 h 89"/>
                <a:gd name="T10" fmla="*/ 69 w 75"/>
                <a:gd name="T11" fmla="*/ 0 h 89"/>
                <a:gd name="T12" fmla="*/ 75 w 75"/>
                <a:gd name="T13" fmla="*/ 7 h 89"/>
                <a:gd name="T14" fmla="*/ 75 w 75"/>
                <a:gd name="T15" fmla="*/ 83 h 89"/>
                <a:gd name="T16" fmla="*/ 69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9" y="89"/>
                  </a:moveTo>
                  <a:cubicBezTo>
                    <a:pt x="6" y="89"/>
                    <a:pt x="6" y="89"/>
                    <a:pt x="6" y="89"/>
                  </a:cubicBezTo>
                  <a:cubicBezTo>
                    <a:pt x="3" y="89"/>
                    <a:pt x="0" y="86"/>
                    <a:pt x="0" y="83"/>
                  </a:cubicBezTo>
                  <a:cubicBezTo>
                    <a:pt x="0" y="7"/>
                    <a:pt x="0" y="7"/>
                    <a:pt x="0" y="7"/>
                  </a:cubicBezTo>
                  <a:cubicBezTo>
                    <a:pt x="0" y="3"/>
                    <a:pt x="3" y="0"/>
                    <a:pt x="6" y="0"/>
                  </a:cubicBezTo>
                  <a:cubicBezTo>
                    <a:pt x="69" y="0"/>
                    <a:pt x="69" y="0"/>
                    <a:pt x="69" y="0"/>
                  </a:cubicBezTo>
                  <a:cubicBezTo>
                    <a:pt x="72" y="0"/>
                    <a:pt x="75" y="3"/>
                    <a:pt x="75" y="7"/>
                  </a:cubicBezTo>
                  <a:cubicBezTo>
                    <a:pt x="75" y="83"/>
                    <a:pt x="75" y="83"/>
                    <a:pt x="75" y="83"/>
                  </a:cubicBezTo>
                  <a:cubicBezTo>
                    <a:pt x="75" y="86"/>
                    <a:pt x="72" y="89"/>
                    <a:pt x="69"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8" name="Freeform 208"/>
            <p:cNvSpPr>
              <a:spLocks/>
            </p:cNvSpPr>
            <p:nvPr userDrawn="1"/>
          </p:nvSpPr>
          <p:spPr bwMode="auto">
            <a:xfrm>
              <a:off x="2984" y="1854"/>
              <a:ext cx="178" cy="211"/>
            </a:xfrm>
            <a:custGeom>
              <a:avLst/>
              <a:gdLst>
                <a:gd name="T0" fmla="*/ 68 w 75"/>
                <a:gd name="T1" fmla="*/ 89 h 89"/>
                <a:gd name="T2" fmla="*/ 6 w 75"/>
                <a:gd name="T3" fmla="*/ 89 h 89"/>
                <a:gd name="T4" fmla="*/ 0 w 75"/>
                <a:gd name="T5" fmla="*/ 83 h 89"/>
                <a:gd name="T6" fmla="*/ 0 w 75"/>
                <a:gd name="T7" fmla="*/ 7 h 89"/>
                <a:gd name="T8" fmla="*/ 6 w 75"/>
                <a:gd name="T9" fmla="*/ 0 h 89"/>
                <a:gd name="T10" fmla="*/ 68 w 75"/>
                <a:gd name="T11" fmla="*/ 0 h 89"/>
                <a:gd name="T12" fmla="*/ 75 w 75"/>
                <a:gd name="T13" fmla="*/ 7 h 89"/>
                <a:gd name="T14" fmla="*/ 75 w 75"/>
                <a:gd name="T15" fmla="*/ 83 h 89"/>
                <a:gd name="T16" fmla="*/ 68 w 75"/>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9">
                  <a:moveTo>
                    <a:pt x="68" y="89"/>
                  </a:moveTo>
                  <a:cubicBezTo>
                    <a:pt x="6" y="89"/>
                    <a:pt x="6" y="89"/>
                    <a:pt x="6" y="89"/>
                  </a:cubicBezTo>
                  <a:cubicBezTo>
                    <a:pt x="3" y="89"/>
                    <a:pt x="0" y="86"/>
                    <a:pt x="0" y="83"/>
                  </a:cubicBezTo>
                  <a:cubicBezTo>
                    <a:pt x="0" y="7"/>
                    <a:pt x="0" y="7"/>
                    <a:pt x="0" y="7"/>
                  </a:cubicBezTo>
                  <a:cubicBezTo>
                    <a:pt x="0" y="3"/>
                    <a:pt x="3" y="0"/>
                    <a:pt x="6" y="0"/>
                  </a:cubicBezTo>
                  <a:cubicBezTo>
                    <a:pt x="68" y="0"/>
                    <a:pt x="68" y="0"/>
                    <a:pt x="68" y="0"/>
                  </a:cubicBezTo>
                  <a:cubicBezTo>
                    <a:pt x="72" y="0"/>
                    <a:pt x="75" y="3"/>
                    <a:pt x="75" y="7"/>
                  </a:cubicBezTo>
                  <a:cubicBezTo>
                    <a:pt x="75" y="83"/>
                    <a:pt x="75" y="83"/>
                    <a:pt x="75" y="83"/>
                  </a:cubicBezTo>
                  <a:cubicBezTo>
                    <a:pt x="75" y="86"/>
                    <a:pt x="72" y="89"/>
                    <a:pt x="68" y="8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39" name="Freeform 209"/>
            <p:cNvSpPr>
              <a:spLocks/>
            </p:cNvSpPr>
            <p:nvPr userDrawn="1"/>
          </p:nvSpPr>
          <p:spPr bwMode="auto">
            <a:xfrm>
              <a:off x="2709"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40" name="Freeform 210"/>
            <p:cNvSpPr>
              <a:spLocks/>
            </p:cNvSpPr>
            <p:nvPr userDrawn="1"/>
          </p:nvSpPr>
          <p:spPr bwMode="auto">
            <a:xfrm>
              <a:off x="3260" y="1538"/>
              <a:ext cx="177" cy="209"/>
            </a:xfrm>
            <a:custGeom>
              <a:avLst/>
              <a:gdLst>
                <a:gd name="T0" fmla="*/ 69 w 75"/>
                <a:gd name="T1" fmla="*/ 88 h 88"/>
                <a:gd name="T2" fmla="*/ 6 w 75"/>
                <a:gd name="T3" fmla="*/ 88 h 88"/>
                <a:gd name="T4" fmla="*/ 0 w 75"/>
                <a:gd name="T5" fmla="*/ 82 h 88"/>
                <a:gd name="T6" fmla="*/ 0 w 75"/>
                <a:gd name="T7" fmla="*/ 6 h 88"/>
                <a:gd name="T8" fmla="*/ 6 w 75"/>
                <a:gd name="T9" fmla="*/ 0 h 88"/>
                <a:gd name="T10" fmla="*/ 69 w 75"/>
                <a:gd name="T11" fmla="*/ 0 h 88"/>
                <a:gd name="T12" fmla="*/ 75 w 75"/>
                <a:gd name="T13" fmla="*/ 6 h 88"/>
                <a:gd name="T14" fmla="*/ 75 w 75"/>
                <a:gd name="T15" fmla="*/ 82 h 88"/>
                <a:gd name="T16" fmla="*/ 69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9" y="88"/>
                  </a:moveTo>
                  <a:cubicBezTo>
                    <a:pt x="6" y="88"/>
                    <a:pt x="6" y="88"/>
                    <a:pt x="6" y="88"/>
                  </a:cubicBezTo>
                  <a:cubicBezTo>
                    <a:pt x="3" y="88"/>
                    <a:pt x="0" y="85"/>
                    <a:pt x="0" y="82"/>
                  </a:cubicBezTo>
                  <a:cubicBezTo>
                    <a:pt x="0" y="6"/>
                    <a:pt x="0" y="6"/>
                    <a:pt x="0" y="6"/>
                  </a:cubicBezTo>
                  <a:cubicBezTo>
                    <a:pt x="0" y="2"/>
                    <a:pt x="3" y="0"/>
                    <a:pt x="6" y="0"/>
                  </a:cubicBezTo>
                  <a:cubicBezTo>
                    <a:pt x="69" y="0"/>
                    <a:pt x="69" y="0"/>
                    <a:pt x="69" y="0"/>
                  </a:cubicBezTo>
                  <a:cubicBezTo>
                    <a:pt x="72" y="0"/>
                    <a:pt x="75" y="2"/>
                    <a:pt x="75" y="6"/>
                  </a:cubicBezTo>
                  <a:cubicBezTo>
                    <a:pt x="75" y="82"/>
                    <a:pt x="75" y="82"/>
                    <a:pt x="75" y="82"/>
                  </a:cubicBezTo>
                  <a:cubicBezTo>
                    <a:pt x="75" y="85"/>
                    <a:pt x="72" y="88"/>
                    <a:pt x="69"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41" name="Freeform 211"/>
            <p:cNvSpPr>
              <a:spLocks/>
            </p:cNvSpPr>
            <p:nvPr userDrawn="1"/>
          </p:nvSpPr>
          <p:spPr bwMode="auto">
            <a:xfrm>
              <a:off x="2984" y="1538"/>
              <a:ext cx="178" cy="209"/>
            </a:xfrm>
            <a:custGeom>
              <a:avLst/>
              <a:gdLst>
                <a:gd name="T0" fmla="*/ 68 w 75"/>
                <a:gd name="T1" fmla="*/ 88 h 88"/>
                <a:gd name="T2" fmla="*/ 6 w 75"/>
                <a:gd name="T3" fmla="*/ 88 h 88"/>
                <a:gd name="T4" fmla="*/ 0 w 75"/>
                <a:gd name="T5" fmla="*/ 82 h 88"/>
                <a:gd name="T6" fmla="*/ 0 w 75"/>
                <a:gd name="T7" fmla="*/ 6 h 88"/>
                <a:gd name="T8" fmla="*/ 6 w 75"/>
                <a:gd name="T9" fmla="*/ 0 h 88"/>
                <a:gd name="T10" fmla="*/ 68 w 75"/>
                <a:gd name="T11" fmla="*/ 0 h 88"/>
                <a:gd name="T12" fmla="*/ 75 w 75"/>
                <a:gd name="T13" fmla="*/ 6 h 88"/>
                <a:gd name="T14" fmla="*/ 75 w 75"/>
                <a:gd name="T15" fmla="*/ 82 h 88"/>
                <a:gd name="T16" fmla="*/ 68 w 75"/>
                <a:gd name="T1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88">
                  <a:moveTo>
                    <a:pt x="68" y="88"/>
                  </a:moveTo>
                  <a:cubicBezTo>
                    <a:pt x="6" y="88"/>
                    <a:pt x="6" y="88"/>
                    <a:pt x="6" y="88"/>
                  </a:cubicBezTo>
                  <a:cubicBezTo>
                    <a:pt x="3" y="88"/>
                    <a:pt x="0" y="85"/>
                    <a:pt x="0" y="82"/>
                  </a:cubicBezTo>
                  <a:cubicBezTo>
                    <a:pt x="0" y="6"/>
                    <a:pt x="0" y="6"/>
                    <a:pt x="0" y="6"/>
                  </a:cubicBezTo>
                  <a:cubicBezTo>
                    <a:pt x="0" y="2"/>
                    <a:pt x="3" y="0"/>
                    <a:pt x="6" y="0"/>
                  </a:cubicBezTo>
                  <a:cubicBezTo>
                    <a:pt x="68" y="0"/>
                    <a:pt x="68" y="0"/>
                    <a:pt x="68" y="0"/>
                  </a:cubicBezTo>
                  <a:cubicBezTo>
                    <a:pt x="72" y="0"/>
                    <a:pt x="75" y="2"/>
                    <a:pt x="75" y="6"/>
                  </a:cubicBezTo>
                  <a:cubicBezTo>
                    <a:pt x="75" y="82"/>
                    <a:pt x="75" y="82"/>
                    <a:pt x="75" y="82"/>
                  </a:cubicBezTo>
                  <a:cubicBezTo>
                    <a:pt x="75" y="85"/>
                    <a:pt x="72" y="88"/>
                    <a:pt x="68"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2" name="app" hidden="1"/>
          <p:cNvGrpSpPr>
            <a:grpSpLocks noChangeAspect="1"/>
          </p:cNvGrpSpPr>
          <p:nvPr userDrawn="1"/>
        </p:nvGrpSpPr>
        <p:grpSpPr bwMode="auto">
          <a:xfrm>
            <a:off x="4197350" y="1946788"/>
            <a:ext cx="750888" cy="1215000"/>
            <a:chOff x="2407" y="1397"/>
            <a:chExt cx="946" cy="1530"/>
          </a:xfrm>
        </p:grpSpPr>
        <p:sp>
          <p:nvSpPr>
            <p:cNvPr id="215" name="Freeform 215"/>
            <p:cNvSpPr>
              <a:spLocks/>
            </p:cNvSpPr>
            <p:nvPr userDrawn="1"/>
          </p:nvSpPr>
          <p:spPr bwMode="auto">
            <a:xfrm>
              <a:off x="2407" y="1397"/>
              <a:ext cx="946" cy="1530"/>
            </a:xfrm>
            <a:custGeom>
              <a:avLst/>
              <a:gdLst>
                <a:gd name="T0" fmla="*/ 341 w 397"/>
                <a:gd name="T1" fmla="*/ 645 h 645"/>
                <a:gd name="T2" fmla="*/ 56 w 397"/>
                <a:gd name="T3" fmla="*/ 645 h 645"/>
                <a:gd name="T4" fmla="*/ 0 w 397"/>
                <a:gd name="T5" fmla="*/ 589 h 645"/>
                <a:gd name="T6" fmla="*/ 0 w 397"/>
                <a:gd name="T7" fmla="*/ 56 h 645"/>
                <a:gd name="T8" fmla="*/ 56 w 397"/>
                <a:gd name="T9" fmla="*/ 0 h 645"/>
                <a:gd name="T10" fmla="*/ 341 w 397"/>
                <a:gd name="T11" fmla="*/ 0 h 645"/>
                <a:gd name="T12" fmla="*/ 397 w 397"/>
                <a:gd name="T13" fmla="*/ 56 h 645"/>
                <a:gd name="T14" fmla="*/ 397 w 397"/>
                <a:gd name="T15" fmla="*/ 589 h 645"/>
                <a:gd name="T16" fmla="*/ 341 w 397"/>
                <a:gd name="T17" fmla="*/ 645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645">
                  <a:moveTo>
                    <a:pt x="341" y="645"/>
                  </a:moveTo>
                  <a:cubicBezTo>
                    <a:pt x="56" y="645"/>
                    <a:pt x="56" y="645"/>
                    <a:pt x="56" y="645"/>
                  </a:cubicBezTo>
                  <a:cubicBezTo>
                    <a:pt x="25" y="645"/>
                    <a:pt x="0" y="620"/>
                    <a:pt x="0" y="589"/>
                  </a:cubicBezTo>
                  <a:cubicBezTo>
                    <a:pt x="0" y="56"/>
                    <a:pt x="0" y="56"/>
                    <a:pt x="0" y="56"/>
                  </a:cubicBezTo>
                  <a:cubicBezTo>
                    <a:pt x="0" y="25"/>
                    <a:pt x="25" y="0"/>
                    <a:pt x="56" y="0"/>
                  </a:cubicBezTo>
                  <a:cubicBezTo>
                    <a:pt x="341" y="0"/>
                    <a:pt x="341" y="0"/>
                    <a:pt x="341" y="0"/>
                  </a:cubicBezTo>
                  <a:cubicBezTo>
                    <a:pt x="372" y="0"/>
                    <a:pt x="397" y="25"/>
                    <a:pt x="397" y="56"/>
                  </a:cubicBezTo>
                  <a:cubicBezTo>
                    <a:pt x="397" y="589"/>
                    <a:pt x="397" y="589"/>
                    <a:pt x="397" y="589"/>
                  </a:cubicBezTo>
                  <a:cubicBezTo>
                    <a:pt x="397" y="620"/>
                    <a:pt x="372" y="645"/>
                    <a:pt x="341" y="645"/>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6" name="Rectangle 216"/>
            <p:cNvSpPr>
              <a:spLocks noChangeArrowheads="1"/>
            </p:cNvSpPr>
            <p:nvPr userDrawn="1"/>
          </p:nvSpPr>
          <p:spPr bwMode="auto">
            <a:xfrm>
              <a:off x="2522" y="1630"/>
              <a:ext cx="716" cy="10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7" name="Oval 217"/>
            <p:cNvSpPr>
              <a:spLocks noChangeArrowheads="1"/>
            </p:cNvSpPr>
            <p:nvPr userDrawn="1"/>
          </p:nvSpPr>
          <p:spPr bwMode="auto">
            <a:xfrm>
              <a:off x="2812" y="2707"/>
              <a:ext cx="136" cy="13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8" name="Freeform 218"/>
            <p:cNvSpPr>
              <a:spLocks/>
            </p:cNvSpPr>
            <p:nvPr userDrawn="1"/>
          </p:nvSpPr>
          <p:spPr bwMode="auto">
            <a:xfrm>
              <a:off x="2643" y="1770"/>
              <a:ext cx="436" cy="726"/>
            </a:xfrm>
            <a:custGeom>
              <a:avLst/>
              <a:gdLst>
                <a:gd name="T0" fmla="*/ 177 w 183"/>
                <a:gd name="T1" fmla="*/ 137 h 306"/>
                <a:gd name="T2" fmla="*/ 96 w 183"/>
                <a:gd name="T3" fmla="*/ 137 h 306"/>
                <a:gd name="T4" fmla="*/ 101 w 183"/>
                <a:gd name="T5" fmla="*/ 119 h 306"/>
                <a:gd name="T6" fmla="*/ 114 w 183"/>
                <a:gd name="T7" fmla="*/ 73 h 306"/>
                <a:gd name="T8" fmla="*/ 132 w 183"/>
                <a:gd name="T9" fmla="*/ 8 h 306"/>
                <a:gd name="T10" fmla="*/ 125 w 183"/>
                <a:gd name="T11" fmla="*/ 4 h 306"/>
                <a:gd name="T12" fmla="*/ 3 w 183"/>
                <a:gd name="T13" fmla="*/ 160 h 306"/>
                <a:gd name="T14" fmla="*/ 6 w 183"/>
                <a:gd name="T15" fmla="*/ 169 h 306"/>
                <a:gd name="T16" fmla="*/ 87 w 183"/>
                <a:gd name="T17" fmla="*/ 169 h 306"/>
                <a:gd name="T18" fmla="*/ 82 w 183"/>
                <a:gd name="T19" fmla="*/ 188 h 306"/>
                <a:gd name="T20" fmla="*/ 69 w 183"/>
                <a:gd name="T21" fmla="*/ 233 h 306"/>
                <a:gd name="T22" fmla="*/ 51 w 183"/>
                <a:gd name="T23" fmla="*/ 299 h 306"/>
                <a:gd name="T24" fmla="*/ 58 w 183"/>
                <a:gd name="T25" fmla="*/ 303 h 306"/>
                <a:gd name="T26" fmla="*/ 180 w 183"/>
                <a:gd name="T27" fmla="*/ 146 h 306"/>
                <a:gd name="T28" fmla="*/ 177 w 183"/>
                <a:gd name="T29" fmla="*/ 13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3" h="306">
                  <a:moveTo>
                    <a:pt x="177" y="137"/>
                  </a:moveTo>
                  <a:cubicBezTo>
                    <a:pt x="96" y="137"/>
                    <a:pt x="96" y="137"/>
                    <a:pt x="96" y="137"/>
                  </a:cubicBezTo>
                  <a:cubicBezTo>
                    <a:pt x="101" y="119"/>
                    <a:pt x="101" y="119"/>
                    <a:pt x="101" y="119"/>
                  </a:cubicBezTo>
                  <a:cubicBezTo>
                    <a:pt x="114" y="73"/>
                    <a:pt x="114" y="73"/>
                    <a:pt x="114" y="73"/>
                  </a:cubicBezTo>
                  <a:cubicBezTo>
                    <a:pt x="132" y="8"/>
                    <a:pt x="132" y="8"/>
                    <a:pt x="132" y="8"/>
                  </a:cubicBezTo>
                  <a:cubicBezTo>
                    <a:pt x="134" y="3"/>
                    <a:pt x="128" y="0"/>
                    <a:pt x="125" y="4"/>
                  </a:cubicBezTo>
                  <a:cubicBezTo>
                    <a:pt x="3" y="160"/>
                    <a:pt x="3" y="160"/>
                    <a:pt x="3" y="160"/>
                  </a:cubicBezTo>
                  <a:cubicBezTo>
                    <a:pt x="0" y="163"/>
                    <a:pt x="2" y="168"/>
                    <a:pt x="6" y="169"/>
                  </a:cubicBezTo>
                  <a:cubicBezTo>
                    <a:pt x="87" y="169"/>
                    <a:pt x="87" y="169"/>
                    <a:pt x="87" y="169"/>
                  </a:cubicBezTo>
                  <a:cubicBezTo>
                    <a:pt x="82" y="188"/>
                    <a:pt x="82" y="188"/>
                    <a:pt x="82" y="188"/>
                  </a:cubicBezTo>
                  <a:cubicBezTo>
                    <a:pt x="69" y="233"/>
                    <a:pt x="69" y="233"/>
                    <a:pt x="69" y="233"/>
                  </a:cubicBezTo>
                  <a:cubicBezTo>
                    <a:pt x="51" y="299"/>
                    <a:pt x="51" y="299"/>
                    <a:pt x="51" y="299"/>
                  </a:cubicBezTo>
                  <a:cubicBezTo>
                    <a:pt x="49" y="303"/>
                    <a:pt x="55" y="306"/>
                    <a:pt x="58" y="303"/>
                  </a:cubicBezTo>
                  <a:cubicBezTo>
                    <a:pt x="180" y="146"/>
                    <a:pt x="180" y="146"/>
                    <a:pt x="180" y="146"/>
                  </a:cubicBezTo>
                  <a:cubicBezTo>
                    <a:pt x="183" y="143"/>
                    <a:pt x="181" y="139"/>
                    <a:pt x="177" y="137"/>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3" name="person" hidden="1"/>
          <p:cNvGrpSpPr>
            <a:grpSpLocks noChangeAspect="1"/>
          </p:cNvGrpSpPr>
          <p:nvPr userDrawn="1"/>
        </p:nvGrpSpPr>
        <p:grpSpPr bwMode="auto">
          <a:xfrm>
            <a:off x="4187825" y="2047639"/>
            <a:ext cx="769938" cy="1013296"/>
            <a:chOff x="2395" y="1524"/>
            <a:chExt cx="970" cy="1276"/>
          </a:xfrm>
        </p:grpSpPr>
        <p:sp>
          <p:nvSpPr>
            <p:cNvPr id="211" name="Freeform 222"/>
            <p:cNvSpPr>
              <a:spLocks/>
            </p:cNvSpPr>
            <p:nvPr userDrawn="1"/>
          </p:nvSpPr>
          <p:spPr bwMode="auto">
            <a:xfrm>
              <a:off x="2414" y="2064"/>
              <a:ext cx="932" cy="717"/>
            </a:xfrm>
            <a:custGeom>
              <a:avLst/>
              <a:gdLst>
                <a:gd name="T0" fmla="*/ 196 w 392"/>
                <a:gd name="T1" fmla="*/ 302 h 302"/>
                <a:gd name="T2" fmla="*/ 2 w 392"/>
                <a:gd name="T3" fmla="*/ 214 h 302"/>
                <a:gd name="T4" fmla="*/ 0 w 392"/>
                <a:gd name="T5" fmla="*/ 212 h 302"/>
                <a:gd name="T6" fmla="*/ 0 w 392"/>
                <a:gd name="T7" fmla="*/ 209 h 302"/>
                <a:gd name="T8" fmla="*/ 57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2" name="Freeform 223"/>
            <p:cNvSpPr>
              <a:spLocks noEditPoints="1"/>
            </p:cNvSpPr>
            <p:nvPr userDrawn="1"/>
          </p:nvSpPr>
          <p:spPr bwMode="auto">
            <a:xfrm>
              <a:off x="2395" y="2045"/>
              <a:ext cx="970"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3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7"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0" y="286"/>
                    <a:pt x="403"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3" name="Oval 224"/>
            <p:cNvSpPr>
              <a:spLocks noChangeArrowheads="1"/>
            </p:cNvSpPr>
            <p:nvPr userDrawn="1"/>
          </p:nvSpPr>
          <p:spPr bwMode="auto">
            <a:xfrm>
              <a:off x="2626" y="1543"/>
              <a:ext cx="508"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4" name="Freeform 225"/>
            <p:cNvSpPr>
              <a:spLocks noEditPoints="1"/>
            </p:cNvSpPr>
            <p:nvPr userDrawn="1"/>
          </p:nvSpPr>
          <p:spPr bwMode="auto">
            <a:xfrm>
              <a:off x="2607" y="1524"/>
              <a:ext cx="544" cy="554"/>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5" y="172"/>
                    <a:pt x="15" y="116"/>
                  </a:cubicBezTo>
                  <a:cubicBezTo>
                    <a:pt x="15"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4" name="person_slips" hidden="1"/>
          <p:cNvGrpSpPr>
            <a:grpSpLocks noChangeAspect="1"/>
          </p:cNvGrpSpPr>
          <p:nvPr userDrawn="1"/>
        </p:nvGrpSpPr>
        <p:grpSpPr bwMode="auto">
          <a:xfrm>
            <a:off x="4187428" y="2047639"/>
            <a:ext cx="770732" cy="1013296"/>
            <a:chOff x="460" y="1095"/>
            <a:chExt cx="971" cy="1276"/>
          </a:xfrm>
        </p:grpSpPr>
        <p:sp>
          <p:nvSpPr>
            <p:cNvPr id="206" name="Freeform 229"/>
            <p:cNvSpPr>
              <a:spLocks/>
            </p:cNvSpPr>
            <p:nvPr userDrawn="1"/>
          </p:nvSpPr>
          <p:spPr bwMode="auto">
            <a:xfrm>
              <a:off x="479" y="1635"/>
              <a:ext cx="933" cy="717"/>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70"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7" name="Freeform 230"/>
            <p:cNvSpPr>
              <a:spLocks noEditPoints="1"/>
            </p:cNvSpPr>
            <p:nvPr userDrawn="1"/>
          </p:nvSpPr>
          <p:spPr bwMode="auto">
            <a:xfrm>
              <a:off x="460" y="1616"/>
              <a:ext cx="971" cy="755"/>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8" y="16"/>
                    <a:pt x="392" y="89"/>
                    <a:pt x="392" y="217"/>
                  </a:cubicBezTo>
                  <a:cubicBezTo>
                    <a:pt x="344" y="270"/>
                    <a:pt x="278" y="302"/>
                    <a:pt x="204" y="302"/>
                  </a:cubicBezTo>
                  <a:cubicBezTo>
                    <a:pt x="130" y="302"/>
                    <a:pt x="64" y="270"/>
                    <a:pt x="16" y="217"/>
                  </a:cubicBezTo>
                  <a:cubicBezTo>
                    <a:pt x="16" y="89"/>
                    <a:pt x="101" y="16"/>
                    <a:pt x="204" y="16"/>
                  </a:cubicBezTo>
                  <a:moveTo>
                    <a:pt x="204" y="0"/>
                  </a:moveTo>
                  <a:cubicBezTo>
                    <a:pt x="148" y="0"/>
                    <a:pt x="97"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8" name="Oval 231"/>
            <p:cNvSpPr>
              <a:spLocks noChangeArrowheads="1"/>
            </p:cNvSpPr>
            <p:nvPr userDrawn="1"/>
          </p:nvSpPr>
          <p:spPr bwMode="auto">
            <a:xfrm>
              <a:off x="691" y="1114"/>
              <a:ext cx="509" cy="516"/>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9" name="Freeform 232"/>
            <p:cNvSpPr>
              <a:spLocks noEditPoints="1"/>
            </p:cNvSpPr>
            <p:nvPr userDrawn="1"/>
          </p:nvSpPr>
          <p:spPr bwMode="auto">
            <a:xfrm>
              <a:off x="674" y="1095"/>
              <a:ext cx="545" cy="554"/>
            </a:xfrm>
            <a:custGeom>
              <a:avLst/>
              <a:gdLst>
                <a:gd name="T0" fmla="*/ 114 w 229"/>
                <a:gd name="T1" fmla="*/ 15 h 233"/>
                <a:gd name="T2" fmla="*/ 213 w 229"/>
                <a:gd name="T3" fmla="*/ 116 h 233"/>
                <a:gd name="T4" fmla="*/ 114 w 229"/>
                <a:gd name="T5" fmla="*/ 218 h 233"/>
                <a:gd name="T6" fmla="*/ 15 w 229"/>
                <a:gd name="T7" fmla="*/ 116 h 233"/>
                <a:gd name="T8" fmla="*/ 114 w 229"/>
                <a:gd name="T9" fmla="*/ 15 h 233"/>
                <a:gd name="T10" fmla="*/ 114 w 229"/>
                <a:gd name="T11" fmla="*/ 0 h 233"/>
                <a:gd name="T12" fmla="*/ 0 w 229"/>
                <a:gd name="T13" fmla="*/ 116 h 233"/>
                <a:gd name="T14" fmla="*/ 114 w 229"/>
                <a:gd name="T15" fmla="*/ 233 h 233"/>
                <a:gd name="T16" fmla="*/ 229 w 229"/>
                <a:gd name="T17" fmla="*/ 116 h 233"/>
                <a:gd name="T18" fmla="*/ 114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4" y="15"/>
                  </a:moveTo>
                  <a:cubicBezTo>
                    <a:pt x="169" y="15"/>
                    <a:pt x="213" y="60"/>
                    <a:pt x="213" y="116"/>
                  </a:cubicBezTo>
                  <a:cubicBezTo>
                    <a:pt x="213" y="172"/>
                    <a:pt x="169" y="218"/>
                    <a:pt x="114" y="218"/>
                  </a:cubicBezTo>
                  <a:cubicBezTo>
                    <a:pt x="59" y="218"/>
                    <a:pt x="15" y="172"/>
                    <a:pt x="15" y="116"/>
                  </a:cubicBezTo>
                  <a:cubicBezTo>
                    <a:pt x="15" y="60"/>
                    <a:pt x="59" y="15"/>
                    <a:pt x="114" y="15"/>
                  </a:cubicBezTo>
                  <a:moveTo>
                    <a:pt x="114" y="0"/>
                  </a:moveTo>
                  <a:cubicBezTo>
                    <a:pt x="51" y="0"/>
                    <a:pt x="0" y="52"/>
                    <a:pt x="0" y="116"/>
                  </a:cubicBezTo>
                  <a:cubicBezTo>
                    <a:pt x="0" y="181"/>
                    <a:pt x="51" y="233"/>
                    <a:pt x="114" y="233"/>
                  </a:cubicBezTo>
                  <a:cubicBezTo>
                    <a:pt x="177" y="233"/>
                    <a:pt x="229" y="181"/>
                    <a:pt x="229" y="116"/>
                  </a:cubicBezTo>
                  <a:cubicBezTo>
                    <a:pt x="229" y="52"/>
                    <a:pt x="177"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10" name="Freeform 233"/>
            <p:cNvSpPr>
              <a:spLocks/>
            </p:cNvSpPr>
            <p:nvPr userDrawn="1"/>
          </p:nvSpPr>
          <p:spPr bwMode="auto">
            <a:xfrm>
              <a:off x="881" y="1716"/>
              <a:ext cx="129" cy="548"/>
            </a:xfrm>
            <a:custGeom>
              <a:avLst/>
              <a:gdLst>
                <a:gd name="T0" fmla="*/ 34 w 54"/>
                <a:gd name="T1" fmla="*/ 4 h 231"/>
                <a:gd name="T2" fmla="*/ 54 w 54"/>
                <a:gd name="T3" fmla="*/ 198 h 231"/>
                <a:gd name="T4" fmla="*/ 53 w 54"/>
                <a:gd name="T5" fmla="*/ 202 h 231"/>
                <a:gd name="T6" fmla="*/ 30 w 54"/>
                <a:gd name="T7" fmla="*/ 229 h 231"/>
                <a:gd name="T8" fmla="*/ 24 w 54"/>
                <a:gd name="T9" fmla="*/ 229 h 231"/>
                <a:gd name="T10" fmla="*/ 1 w 54"/>
                <a:gd name="T11" fmla="*/ 202 h 231"/>
                <a:gd name="T12" fmla="*/ 0 w 54"/>
                <a:gd name="T13" fmla="*/ 198 h 231"/>
                <a:gd name="T14" fmla="*/ 20 w 54"/>
                <a:gd name="T15" fmla="*/ 4 h 231"/>
                <a:gd name="T16" fmla="*/ 27 w 54"/>
                <a:gd name="T17" fmla="*/ 0 h 231"/>
                <a:gd name="T18" fmla="*/ 27 w 54"/>
                <a:gd name="T19" fmla="*/ 0 h 231"/>
                <a:gd name="T20" fmla="*/ 34 w 54"/>
                <a:gd name="T21" fmla="*/ 4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231">
                  <a:moveTo>
                    <a:pt x="34" y="4"/>
                  </a:moveTo>
                  <a:cubicBezTo>
                    <a:pt x="54" y="198"/>
                    <a:pt x="54" y="198"/>
                    <a:pt x="54" y="198"/>
                  </a:cubicBezTo>
                  <a:cubicBezTo>
                    <a:pt x="54" y="200"/>
                    <a:pt x="54" y="201"/>
                    <a:pt x="53" y="202"/>
                  </a:cubicBezTo>
                  <a:cubicBezTo>
                    <a:pt x="30" y="229"/>
                    <a:pt x="30" y="229"/>
                    <a:pt x="30" y="229"/>
                  </a:cubicBezTo>
                  <a:cubicBezTo>
                    <a:pt x="29" y="231"/>
                    <a:pt x="25" y="231"/>
                    <a:pt x="24" y="229"/>
                  </a:cubicBezTo>
                  <a:cubicBezTo>
                    <a:pt x="1" y="202"/>
                    <a:pt x="1" y="202"/>
                    <a:pt x="1" y="202"/>
                  </a:cubicBezTo>
                  <a:cubicBezTo>
                    <a:pt x="0" y="201"/>
                    <a:pt x="0" y="200"/>
                    <a:pt x="0" y="198"/>
                  </a:cubicBezTo>
                  <a:cubicBezTo>
                    <a:pt x="20" y="4"/>
                    <a:pt x="20" y="4"/>
                    <a:pt x="20" y="4"/>
                  </a:cubicBezTo>
                  <a:cubicBezTo>
                    <a:pt x="21" y="2"/>
                    <a:pt x="24" y="0"/>
                    <a:pt x="27" y="0"/>
                  </a:cubicBezTo>
                  <a:cubicBezTo>
                    <a:pt x="27" y="0"/>
                    <a:pt x="27" y="0"/>
                    <a:pt x="27" y="0"/>
                  </a:cubicBezTo>
                  <a:cubicBezTo>
                    <a:pt x="30" y="0"/>
                    <a:pt x="33" y="2"/>
                    <a:pt x="3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grpSp>
        <p:nvGrpSpPr>
          <p:cNvPr id="165" name="gruppe" hidden="1"/>
          <p:cNvGrpSpPr>
            <a:grpSpLocks noChangeAspect="1"/>
          </p:cNvGrpSpPr>
          <p:nvPr userDrawn="1"/>
        </p:nvGrpSpPr>
        <p:grpSpPr bwMode="auto">
          <a:xfrm>
            <a:off x="3754437" y="1953140"/>
            <a:ext cx="1636715" cy="1202296"/>
            <a:chOff x="1847" y="1404"/>
            <a:chExt cx="2062" cy="1514"/>
          </a:xfrm>
        </p:grpSpPr>
        <p:sp>
          <p:nvSpPr>
            <p:cNvPr id="194" name="Freeform 237"/>
            <p:cNvSpPr>
              <a:spLocks/>
            </p:cNvSpPr>
            <p:nvPr userDrawn="1"/>
          </p:nvSpPr>
          <p:spPr bwMode="auto">
            <a:xfrm>
              <a:off x="2963" y="1943"/>
              <a:ext cx="927" cy="716"/>
            </a:xfrm>
            <a:custGeom>
              <a:avLst/>
              <a:gdLst>
                <a:gd name="T0" fmla="*/ 196 w 391"/>
                <a:gd name="T1" fmla="*/ 302 h 302"/>
                <a:gd name="T2" fmla="*/ 2 w 391"/>
                <a:gd name="T3" fmla="*/ 214 h 302"/>
                <a:gd name="T4" fmla="*/ 0 w 391"/>
                <a:gd name="T5" fmla="*/ 212 h 302"/>
                <a:gd name="T6" fmla="*/ 0 w 391"/>
                <a:gd name="T7" fmla="*/ 209 h 302"/>
                <a:gd name="T8" fmla="*/ 57 w 391"/>
                <a:gd name="T9" fmla="*/ 55 h 302"/>
                <a:gd name="T10" fmla="*/ 196 w 391"/>
                <a:gd name="T11" fmla="*/ 0 h 302"/>
                <a:gd name="T12" fmla="*/ 334 w 391"/>
                <a:gd name="T13" fmla="*/ 55 h 302"/>
                <a:gd name="T14" fmla="*/ 391 w 391"/>
                <a:gd name="T15" fmla="*/ 209 h 302"/>
                <a:gd name="T16" fmla="*/ 391 w 391"/>
                <a:gd name="T17" fmla="*/ 212 h 302"/>
                <a:gd name="T18" fmla="*/ 389 w 391"/>
                <a:gd name="T19" fmla="*/ 214 h 302"/>
                <a:gd name="T20" fmla="*/ 196 w 391"/>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1" h="302">
                  <a:moveTo>
                    <a:pt x="196" y="302"/>
                  </a:moveTo>
                  <a:cubicBezTo>
                    <a:pt x="122" y="302"/>
                    <a:pt x="53" y="271"/>
                    <a:pt x="2" y="214"/>
                  </a:cubicBezTo>
                  <a:cubicBezTo>
                    <a:pt x="0" y="212"/>
                    <a:pt x="0" y="212"/>
                    <a:pt x="0" y="212"/>
                  </a:cubicBezTo>
                  <a:cubicBezTo>
                    <a:pt x="0" y="209"/>
                    <a:pt x="0" y="209"/>
                    <a:pt x="0" y="209"/>
                  </a:cubicBezTo>
                  <a:cubicBezTo>
                    <a:pt x="0" y="146"/>
                    <a:pt x="20" y="93"/>
                    <a:pt x="57" y="55"/>
                  </a:cubicBezTo>
                  <a:cubicBezTo>
                    <a:pt x="92" y="19"/>
                    <a:pt x="141" y="0"/>
                    <a:pt x="196" y="0"/>
                  </a:cubicBezTo>
                  <a:cubicBezTo>
                    <a:pt x="250" y="0"/>
                    <a:pt x="299" y="19"/>
                    <a:pt x="334" y="55"/>
                  </a:cubicBezTo>
                  <a:cubicBezTo>
                    <a:pt x="372" y="93"/>
                    <a:pt x="391" y="146"/>
                    <a:pt x="391" y="209"/>
                  </a:cubicBezTo>
                  <a:cubicBezTo>
                    <a:pt x="391" y="212"/>
                    <a:pt x="391" y="212"/>
                    <a:pt x="391" y="212"/>
                  </a:cubicBezTo>
                  <a:cubicBezTo>
                    <a:pt x="389" y="214"/>
                    <a:pt x="389" y="214"/>
                    <a:pt x="389"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5" name="Freeform 238"/>
            <p:cNvSpPr>
              <a:spLocks noEditPoints="1"/>
            </p:cNvSpPr>
            <p:nvPr userDrawn="1"/>
          </p:nvSpPr>
          <p:spPr bwMode="auto">
            <a:xfrm>
              <a:off x="2944" y="1924"/>
              <a:ext cx="965" cy="754"/>
            </a:xfrm>
            <a:custGeom>
              <a:avLst/>
              <a:gdLst>
                <a:gd name="T0" fmla="*/ 204 w 407"/>
                <a:gd name="T1" fmla="*/ 16 h 318"/>
                <a:gd name="T2" fmla="*/ 391 w 407"/>
                <a:gd name="T3" fmla="*/ 217 h 318"/>
                <a:gd name="T4" fmla="*/ 204 w 407"/>
                <a:gd name="T5" fmla="*/ 302 h 318"/>
                <a:gd name="T6" fmla="*/ 16 w 407"/>
                <a:gd name="T7" fmla="*/ 217 h 318"/>
                <a:gd name="T8" fmla="*/ 204 w 407"/>
                <a:gd name="T9" fmla="*/ 16 h 318"/>
                <a:gd name="T10" fmla="*/ 204 w 407"/>
                <a:gd name="T11" fmla="*/ 0 h 318"/>
                <a:gd name="T12" fmla="*/ 60 w 407"/>
                <a:gd name="T13" fmla="*/ 57 h 318"/>
                <a:gd name="T14" fmla="*/ 0 w 407"/>
                <a:gd name="T15" fmla="*/ 217 h 318"/>
                <a:gd name="T16" fmla="*/ 0 w 407"/>
                <a:gd name="T17" fmla="*/ 223 h 318"/>
                <a:gd name="T18" fmla="*/ 4 w 407"/>
                <a:gd name="T19" fmla="*/ 228 h 318"/>
                <a:gd name="T20" fmla="*/ 204 w 407"/>
                <a:gd name="T21" fmla="*/ 318 h 318"/>
                <a:gd name="T22" fmla="*/ 403 w 407"/>
                <a:gd name="T23" fmla="*/ 228 h 318"/>
                <a:gd name="T24" fmla="*/ 407 w 407"/>
                <a:gd name="T25" fmla="*/ 223 h 318"/>
                <a:gd name="T26" fmla="*/ 407 w 407"/>
                <a:gd name="T27" fmla="*/ 217 h 318"/>
                <a:gd name="T28" fmla="*/ 348 w 407"/>
                <a:gd name="T29" fmla="*/ 57 h 318"/>
                <a:gd name="T30" fmla="*/ 204 w 407"/>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7" h="318">
                  <a:moveTo>
                    <a:pt x="204" y="16"/>
                  </a:moveTo>
                  <a:cubicBezTo>
                    <a:pt x="307" y="16"/>
                    <a:pt x="391" y="89"/>
                    <a:pt x="391" y="217"/>
                  </a:cubicBezTo>
                  <a:cubicBezTo>
                    <a:pt x="344" y="270"/>
                    <a:pt x="277" y="302"/>
                    <a:pt x="204" y="302"/>
                  </a:cubicBezTo>
                  <a:cubicBezTo>
                    <a:pt x="130" y="302"/>
                    <a:pt x="63" y="270"/>
                    <a:pt x="16" y="217"/>
                  </a:cubicBezTo>
                  <a:cubicBezTo>
                    <a:pt x="16" y="89"/>
                    <a:pt x="100" y="16"/>
                    <a:pt x="204" y="16"/>
                  </a:cubicBezTo>
                  <a:moveTo>
                    <a:pt x="204" y="0"/>
                  </a:moveTo>
                  <a:cubicBezTo>
                    <a:pt x="147" y="0"/>
                    <a:pt x="96" y="20"/>
                    <a:pt x="60" y="57"/>
                  </a:cubicBezTo>
                  <a:cubicBezTo>
                    <a:pt x="20" y="96"/>
                    <a:pt x="0" y="152"/>
                    <a:pt x="0" y="217"/>
                  </a:cubicBezTo>
                  <a:cubicBezTo>
                    <a:pt x="0" y="223"/>
                    <a:pt x="0" y="223"/>
                    <a:pt x="0" y="223"/>
                  </a:cubicBezTo>
                  <a:cubicBezTo>
                    <a:pt x="4" y="228"/>
                    <a:pt x="4" y="228"/>
                    <a:pt x="4" y="228"/>
                  </a:cubicBezTo>
                  <a:cubicBezTo>
                    <a:pt x="57" y="286"/>
                    <a:pt x="128" y="318"/>
                    <a:pt x="204" y="318"/>
                  </a:cubicBezTo>
                  <a:cubicBezTo>
                    <a:pt x="279" y="318"/>
                    <a:pt x="350" y="286"/>
                    <a:pt x="403" y="228"/>
                  </a:cubicBezTo>
                  <a:cubicBezTo>
                    <a:pt x="407" y="223"/>
                    <a:pt x="407" y="223"/>
                    <a:pt x="407" y="223"/>
                  </a:cubicBezTo>
                  <a:cubicBezTo>
                    <a:pt x="407" y="217"/>
                    <a:pt x="407" y="217"/>
                    <a:pt x="407" y="217"/>
                  </a:cubicBezTo>
                  <a:cubicBezTo>
                    <a:pt x="407"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6" name="Oval 239"/>
            <p:cNvSpPr>
              <a:spLocks noChangeArrowheads="1"/>
            </p:cNvSpPr>
            <p:nvPr userDrawn="1"/>
          </p:nvSpPr>
          <p:spPr bwMode="auto">
            <a:xfrm>
              <a:off x="3174"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7" name="Freeform 240"/>
            <p:cNvSpPr>
              <a:spLocks noEditPoints="1"/>
            </p:cNvSpPr>
            <p:nvPr userDrawn="1"/>
          </p:nvSpPr>
          <p:spPr bwMode="auto">
            <a:xfrm>
              <a:off x="3155" y="1404"/>
              <a:ext cx="543" cy="553"/>
            </a:xfrm>
            <a:custGeom>
              <a:avLst/>
              <a:gdLst>
                <a:gd name="T0" fmla="*/ 115 w 229"/>
                <a:gd name="T1" fmla="*/ 15 h 233"/>
                <a:gd name="T2" fmla="*/ 214 w 229"/>
                <a:gd name="T3" fmla="*/ 116 h 233"/>
                <a:gd name="T4" fmla="*/ 115 w 229"/>
                <a:gd name="T5" fmla="*/ 218 h 233"/>
                <a:gd name="T6" fmla="*/ 15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69" y="15"/>
                    <a:pt x="214" y="60"/>
                    <a:pt x="214" y="116"/>
                  </a:cubicBezTo>
                  <a:cubicBezTo>
                    <a:pt x="214" y="172"/>
                    <a:pt x="169" y="218"/>
                    <a:pt x="115" y="218"/>
                  </a:cubicBezTo>
                  <a:cubicBezTo>
                    <a:pt x="60" y="218"/>
                    <a:pt x="15" y="172"/>
                    <a:pt x="15" y="116"/>
                  </a:cubicBezTo>
                  <a:cubicBezTo>
                    <a:pt x="15" y="60"/>
                    <a:pt x="60" y="15"/>
                    <a:pt x="115" y="15"/>
                  </a:cubicBezTo>
                  <a:moveTo>
                    <a:pt x="115" y="0"/>
                  </a:moveTo>
                  <a:cubicBezTo>
                    <a:pt x="51" y="0"/>
                    <a:pt x="0" y="52"/>
                    <a:pt x="0" y="116"/>
                  </a:cubicBezTo>
                  <a:cubicBezTo>
                    <a:pt x="0" y="181"/>
                    <a:pt x="51"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8" name="Freeform 241"/>
            <p:cNvSpPr>
              <a:spLocks/>
            </p:cNvSpPr>
            <p:nvPr userDrawn="1"/>
          </p:nvSpPr>
          <p:spPr bwMode="auto">
            <a:xfrm>
              <a:off x="1866" y="1943"/>
              <a:ext cx="929" cy="716"/>
            </a:xfrm>
            <a:custGeom>
              <a:avLst/>
              <a:gdLst>
                <a:gd name="T0" fmla="*/ 196 w 392"/>
                <a:gd name="T1" fmla="*/ 302 h 302"/>
                <a:gd name="T2" fmla="*/ 2 w 392"/>
                <a:gd name="T3" fmla="*/ 214 h 302"/>
                <a:gd name="T4" fmla="*/ 0 w 392"/>
                <a:gd name="T5" fmla="*/ 212 h 302"/>
                <a:gd name="T6" fmla="*/ 0 w 392"/>
                <a:gd name="T7" fmla="*/ 209 h 302"/>
                <a:gd name="T8" fmla="*/ 58 w 392"/>
                <a:gd name="T9" fmla="*/ 55 h 302"/>
                <a:gd name="T10" fmla="*/ 196 w 392"/>
                <a:gd name="T11" fmla="*/ 0 h 302"/>
                <a:gd name="T12" fmla="*/ 334 w 392"/>
                <a:gd name="T13" fmla="*/ 55 h 302"/>
                <a:gd name="T14" fmla="*/ 392 w 392"/>
                <a:gd name="T15" fmla="*/ 209 h 302"/>
                <a:gd name="T16" fmla="*/ 392 w 392"/>
                <a:gd name="T17" fmla="*/ 212 h 302"/>
                <a:gd name="T18" fmla="*/ 390 w 392"/>
                <a:gd name="T19" fmla="*/ 214 h 302"/>
                <a:gd name="T20" fmla="*/ 196 w 392"/>
                <a:gd name="T21"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2" h="302">
                  <a:moveTo>
                    <a:pt x="196" y="302"/>
                  </a:moveTo>
                  <a:cubicBezTo>
                    <a:pt x="122" y="302"/>
                    <a:pt x="54" y="271"/>
                    <a:pt x="2" y="214"/>
                  </a:cubicBezTo>
                  <a:cubicBezTo>
                    <a:pt x="0" y="212"/>
                    <a:pt x="0" y="212"/>
                    <a:pt x="0" y="212"/>
                  </a:cubicBezTo>
                  <a:cubicBezTo>
                    <a:pt x="0" y="209"/>
                    <a:pt x="0" y="209"/>
                    <a:pt x="0" y="209"/>
                  </a:cubicBezTo>
                  <a:cubicBezTo>
                    <a:pt x="0" y="146"/>
                    <a:pt x="20" y="93"/>
                    <a:pt x="58" y="55"/>
                  </a:cubicBezTo>
                  <a:cubicBezTo>
                    <a:pt x="93" y="19"/>
                    <a:pt x="142" y="0"/>
                    <a:pt x="196" y="0"/>
                  </a:cubicBezTo>
                  <a:cubicBezTo>
                    <a:pt x="250" y="0"/>
                    <a:pt x="299" y="19"/>
                    <a:pt x="334" y="55"/>
                  </a:cubicBezTo>
                  <a:cubicBezTo>
                    <a:pt x="372" y="93"/>
                    <a:pt x="392" y="146"/>
                    <a:pt x="392" y="209"/>
                  </a:cubicBezTo>
                  <a:cubicBezTo>
                    <a:pt x="392" y="212"/>
                    <a:pt x="392" y="212"/>
                    <a:pt x="392" y="212"/>
                  </a:cubicBezTo>
                  <a:cubicBezTo>
                    <a:pt x="390" y="214"/>
                    <a:pt x="390" y="214"/>
                    <a:pt x="390" y="214"/>
                  </a:cubicBezTo>
                  <a:cubicBezTo>
                    <a:pt x="338" y="271"/>
                    <a:pt x="269" y="302"/>
                    <a:pt x="196" y="302"/>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9" name="Freeform 242"/>
            <p:cNvSpPr>
              <a:spLocks noEditPoints="1"/>
            </p:cNvSpPr>
            <p:nvPr userDrawn="1"/>
          </p:nvSpPr>
          <p:spPr bwMode="auto">
            <a:xfrm>
              <a:off x="1847" y="1924"/>
              <a:ext cx="967" cy="754"/>
            </a:xfrm>
            <a:custGeom>
              <a:avLst/>
              <a:gdLst>
                <a:gd name="T0" fmla="*/ 204 w 408"/>
                <a:gd name="T1" fmla="*/ 16 h 318"/>
                <a:gd name="T2" fmla="*/ 392 w 408"/>
                <a:gd name="T3" fmla="*/ 217 h 318"/>
                <a:gd name="T4" fmla="*/ 204 w 408"/>
                <a:gd name="T5" fmla="*/ 302 h 318"/>
                <a:gd name="T6" fmla="*/ 16 w 408"/>
                <a:gd name="T7" fmla="*/ 217 h 318"/>
                <a:gd name="T8" fmla="*/ 204 w 408"/>
                <a:gd name="T9" fmla="*/ 16 h 318"/>
                <a:gd name="T10" fmla="*/ 204 w 408"/>
                <a:gd name="T11" fmla="*/ 0 h 318"/>
                <a:gd name="T12" fmla="*/ 60 w 408"/>
                <a:gd name="T13" fmla="*/ 57 h 318"/>
                <a:gd name="T14" fmla="*/ 0 w 408"/>
                <a:gd name="T15" fmla="*/ 217 h 318"/>
                <a:gd name="T16" fmla="*/ 0 w 408"/>
                <a:gd name="T17" fmla="*/ 223 h 318"/>
                <a:gd name="T18" fmla="*/ 4 w 408"/>
                <a:gd name="T19" fmla="*/ 228 h 318"/>
                <a:gd name="T20" fmla="*/ 204 w 408"/>
                <a:gd name="T21" fmla="*/ 318 h 318"/>
                <a:gd name="T22" fmla="*/ 404 w 408"/>
                <a:gd name="T23" fmla="*/ 228 h 318"/>
                <a:gd name="T24" fmla="*/ 408 w 408"/>
                <a:gd name="T25" fmla="*/ 223 h 318"/>
                <a:gd name="T26" fmla="*/ 408 w 408"/>
                <a:gd name="T27" fmla="*/ 217 h 318"/>
                <a:gd name="T28" fmla="*/ 348 w 408"/>
                <a:gd name="T29" fmla="*/ 57 h 318"/>
                <a:gd name="T30" fmla="*/ 204 w 408"/>
                <a:gd name="T31"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18">
                  <a:moveTo>
                    <a:pt x="204" y="16"/>
                  </a:moveTo>
                  <a:cubicBezTo>
                    <a:pt x="307" y="16"/>
                    <a:pt x="392" y="89"/>
                    <a:pt x="392" y="217"/>
                  </a:cubicBezTo>
                  <a:cubicBezTo>
                    <a:pt x="344" y="270"/>
                    <a:pt x="278" y="302"/>
                    <a:pt x="204" y="302"/>
                  </a:cubicBezTo>
                  <a:cubicBezTo>
                    <a:pt x="130" y="302"/>
                    <a:pt x="64" y="270"/>
                    <a:pt x="16" y="217"/>
                  </a:cubicBezTo>
                  <a:cubicBezTo>
                    <a:pt x="16" y="89"/>
                    <a:pt x="100" y="16"/>
                    <a:pt x="204" y="16"/>
                  </a:cubicBezTo>
                  <a:moveTo>
                    <a:pt x="204" y="0"/>
                  </a:moveTo>
                  <a:cubicBezTo>
                    <a:pt x="148" y="0"/>
                    <a:pt x="96" y="20"/>
                    <a:pt x="60" y="57"/>
                  </a:cubicBezTo>
                  <a:cubicBezTo>
                    <a:pt x="21" y="96"/>
                    <a:pt x="0" y="152"/>
                    <a:pt x="0" y="217"/>
                  </a:cubicBezTo>
                  <a:cubicBezTo>
                    <a:pt x="0" y="223"/>
                    <a:pt x="0" y="223"/>
                    <a:pt x="0" y="223"/>
                  </a:cubicBezTo>
                  <a:cubicBezTo>
                    <a:pt x="4" y="228"/>
                    <a:pt x="4" y="228"/>
                    <a:pt x="4" y="228"/>
                  </a:cubicBezTo>
                  <a:cubicBezTo>
                    <a:pt x="57" y="286"/>
                    <a:pt x="128" y="318"/>
                    <a:pt x="204" y="318"/>
                  </a:cubicBezTo>
                  <a:cubicBezTo>
                    <a:pt x="280" y="318"/>
                    <a:pt x="351" y="286"/>
                    <a:pt x="404" y="228"/>
                  </a:cubicBezTo>
                  <a:cubicBezTo>
                    <a:pt x="408" y="223"/>
                    <a:pt x="408" y="223"/>
                    <a:pt x="408" y="223"/>
                  </a:cubicBezTo>
                  <a:cubicBezTo>
                    <a:pt x="408" y="217"/>
                    <a:pt x="408" y="217"/>
                    <a:pt x="408" y="217"/>
                  </a:cubicBezTo>
                  <a:cubicBezTo>
                    <a:pt x="408" y="152"/>
                    <a:pt x="387" y="96"/>
                    <a:pt x="348" y="57"/>
                  </a:cubicBezTo>
                  <a:cubicBezTo>
                    <a:pt x="311" y="20"/>
                    <a:pt x="260" y="0"/>
                    <a:pt x="20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0" name="Oval 243"/>
            <p:cNvSpPr>
              <a:spLocks noChangeArrowheads="1"/>
            </p:cNvSpPr>
            <p:nvPr userDrawn="1"/>
          </p:nvSpPr>
          <p:spPr bwMode="auto">
            <a:xfrm>
              <a:off x="2077" y="1423"/>
              <a:ext cx="507" cy="515"/>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1" name="Freeform 244"/>
            <p:cNvSpPr>
              <a:spLocks noEditPoints="1"/>
            </p:cNvSpPr>
            <p:nvPr userDrawn="1"/>
          </p:nvSpPr>
          <p:spPr bwMode="auto">
            <a:xfrm>
              <a:off x="2058" y="1404"/>
              <a:ext cx="542" cy="553"/>
            </a:xfrm>
            <a:custGeom>
              <a:avLst/>
              <a:gdLst>
                <a:gd name="T0" fmla="*/ 115 w 229"/>
                <a:gd name="T1" fmla="*/ 15 h 233"/>
                <a:gd name="T2" fmla="*/ 214 w 229"/>
                <a:gd name="T3" fmla="*/ 116 h 233"/>
                <a:gd name="T4" fmla="*/ 115 w 229"/>
                <a:gd name="T5" fmla="*/ 218 h 233"/>
                <a:gd name="T6" fmla="*/ 16 w 229"/>
                <a:gd name="T7" fmla="*/ 116 h 233"/>
                <a:gd name="T8" fmla="*/ 115 w 229"/>
                <a:gd name="T9" fmla="*/ 15 h 233"/>
                <a:gd name="T10" fmla="*/ 115 w 229"/>
                <a:gd name="T11" fmla="*/ 0 h 233"/>
                <a:gd name="T12" fmla="*/ 0 w 229"/>
                <a:gd name="T13" fmla="*/ 116 h 233"/>
                <a:gd name="T14" fmla="*/ 115 w 229"/>
                <a:gd name="T15" fmla="*/ 233 h 233"/>
                <a:gd name="T16" fmla="*/ 229 w 229"/>
                <a:gd name="T17" fmla="*/ 116 h 233"/>
                <a:gd name="T18" fmla="*/ 115 w 229"/>
                <a:gd name="T19"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3">
                  <a:moveTo>
                    <a:pt x="115" y="15"/>
                  </a:moveTo>
                  <a:cubicBezTo>
                    <a:pt x="170" y="15"/>
                    <a:pt x="214" y="60"/>
                    <a:pt x="214" y="116"/>
                  </a:cubicBezTo>
                  <a:cubicBezTo>
                    <a:pt x="214" y="172"/>
                    <a:pt x="170" y="218"/>
                    <a:pt x="115" y="218"/>
                  </a:cubicBezTo>
                  <a:cubicBezTo>
                    <a:pt x="60" y="218"/>
                    <a:pt x="16" y="172"/>
                    <a:pt x="16" y="116"/>
                  </a:cubicBezTo>
                  <a:cubicBezTo>
                    <a:pt x="16" y="60"/>
                    <a:pt x="60" y="15"/>
                    <a:pt x="115" y="15"/>
                  </a:cubicBezTo>
                  <a:moveTo>
                    <a:pt x="115" y="0"/>
                  </a:moveTo>
                  <a:cubicBezTo>
                    <a:pt x="52" y="0"/>
                    <a:pt x="0" y="52"/>
                    <a:pt x="0" y="116"/>
                  </a:cubicBezTo>
                  <a:cubicBezTo>
                    <a:pt x="0" y="181"/>
                    <a:pt x="52" y="233"/>
                    <a:pt x="115" y="233"/>
                  </a:cubicBezTo>
                  <a:cubicBezTo>
                    <a:pt x="178" y="233"/>
                    <a:pt x="229" y="181"/>
                    <a:pt x="229" y="116"/>
                  </a:cubicBezTo>
                  <a:cubicBezTo>
                    <a:pt x="229" y="52"/>
                    <a:pt x="178" y="0"/>
                    <a:pt x="1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2" name="Freeform 245"/>
            <p:cNvSpPr>
              <a:spLocks/>
            </p:cNvSpPr>
            <p:nvPr userDrawn="1"/>
          </p:nvSpPr>
          <p:spPr bwMode="auto">
            <a:xfrm>
              <a:off x="2415" y="2154"/>
              <a:ext cx="946" cy="736"/>
            </a:xfrm>
            <a:custGeom>
              <a:avLst/>
              <a:gdLst>
                <a:gd name="T0" fmla="*/ 199 w 399"/>
                <a:gd name="T1" fmla="*/ 310 h 310"/>
                <a:gd name="T2" fmla="*/ 3 w 399"/>
                <a:gd name="T3" fmla="*/ 221 h 310"/>
                <a:gd name="T4" fmla="*/ 0 w 399"/>
                <a:gd name="T5" fmla="*/ 217 h 310"/>
                <a:gd name="T6" fmla="*/ 0 w 399"/>
                <a:gd name="T7" fmla="*/ 213 h 310"/>
                <a:gd name="T8" fmla="*/ 58 w 399"/>
                <a:gd name="T9" fmla="*/ 55 h 310"/>
                <a:gd name="T10" fmla="*/ 199 w 399"/>
                <a:gd name="T11" fmla="*/ 0 h 310"/>
                <a:gd name="T12" fmla="*/ 341 w 399"/>
                <a:gd name="T13" fmla="*/ 55 h 310"/>
                <a:gd name="T14" fmla="*/ 399 w 399"/>
                <a:gd name="T15" fmla="*/ 213 h 310"/>
                <a:gd name="T16" fmla="*/ 399 w 399"/>
                <a:gd name="T17" fmla="*/ 217 h 310"/>
                <a:gd name="T18" fmla="*/ 396 w 399"/>
                <a:gd name="T19" fmla="*/ 221 h 310"/>
                <a:gd name="T20" fmla="*/ 199 w 399"/>
                <a:gd name="T21" fmla="*/ 31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9" h="310">
                  <a:moveTo>
                    <a:pt x="199" y="310"/>
                  </a:moveTo>
                  <a:cubicBezTo>
                    <a:pt x="125" y="310"/>
                    <a:pt x="55" y="278"/>
                    <a:pt x="3" y="221"/>
                  </a:cubicBezTo>
                  <a:cubicBezTo>
                    <a:pt x="0" y="217"/>
                    <a:pt x="0" y="217"/>
                    <a:pt x="0" y="217"/>
                  </a:cubicBezTo>
                  <a:cubicBezTo>
                    <a:pt x="0" y="213"/>
                    <a:pt x="0" y="213"/>
                    <a:pt x="0" y="213"/>
                  </a:cubicBezTo>
                  <a:cubicBezTo>
                    <a:pt x="0" y="148"/>
                    <a:pt x="20" y="94"/>
                    <a:pt x="58" y="55"/>
                  </a:cubicBezTo>
                  <a:cubicBezTo>
                    <a:pt x="94" y="19"/>
                    <a:pt x="144" y="0"/>
                    <a:pt x="199" y="0"/>
                  </a:cubicBezTo>
                  <a:cubicBezTo>
                    <a:pt x="255" y="0"/>
                    <a:pt x="305" y="19"/>
                    <a:pt x="341" y="55"/>
                  </a:cubicBezTo>
                  <a:cubicBezTo>
                    <a:pt x="379" y="94"/>
                    <a:pt x="399" y="148"/>
                    <a:pt x="399" y="213"/>
                  </a:cubicBezTo>
                  <a:cubicBezTo>
                    <a:pt x="399" y="217"/>
                    <a:pt x="399" y="217"/>
                    <a:pt x="399" y="217"/>
                  </a:cubicBezTo>
                  <a:cubicBezTo>
                    <a:pt x="396" y="221"/>
                    <a:pt x="396" y="221"/>
                    <a:pt x="396" y="221"/>
                  </a:cubicBezTo>
                  <a:cubicBezTo>
                    <a:pt x="344" y="278"/>
                    <a:pt x="274" y="310"/>
                    <a:pt x="199" y="31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3" name="Freeform 246"/>
            <p:cNvSpPr>
              <a:spLocks noEditPoints="1"/>
            </p:cNvSpPr>
            <p:nvPr userDrawn="1"/>
          </p:nvSpPr>
          <p:spPr bwMode="auto">
            <a:xfrm>
              <a:off x="2387" y="2126"/>
              <a:ext cx="1002" cy="792"/>
            </a:xfrm>
            <a:custGeom>
              <a:avLst/>
              <a:gdLst>
                <a:gd name="T0" fmla="*/ 211 w 423"/>
                <a:gd name="T1" fmla="*/ 23 h 334"/>
                <a:gd name="T2" fmla="*/ 399 w 423"/>
                <a:gd name="T3" fmla="*/ 225 h 334"/>
                <a:gd name="T4" fmla="*/ 211 w 423"/>
                <a:gd name="T5" fmla="*/ 310 h 334"/>
                <a:gd name="T6" fmla="*/ 24 w 423"/>
                <a:gd name="T7" fmla="*/ 225 h 334"/>
                <a:gd name="T8" fmla="*/ 211 w 423"/>
                <a:gd name="T9" fmla="*/ 23 h 334"/>
                <a:gd name="T10" fmla="*/ 211 w 423"/>
                <a:gd name="T11" fmla="*/ 0 h 334"/>
                <a:gd name="T12" fmla="*/ 62 w 423"/>
                <a:gd name="T13" fmla="*/ 59 h 334"/>
                <a:gd name="T14" fmla="*/ 0 w 423"/>
                <a:gd name="T15" fmla="*/ 225 h 334"/>
                <a:gd name="T16" fmla="*/ 0 w 423"/>
                <a:gd name="T17" fmla="*/ 234 h 334"/>
                <a:gd name="T18" fmla="*/ 6 w 423"/>
                <a:gd name="T19" fmla="*/ 241 h 334"/>
                <a:gd name="T20" fmla="*/ 211 w 423"/>
                <a:gd name="T21" fmla="*/ 334 h 334"/>
                <a:gd name="T22" fmla="*/ 417 w 423"/>
                <a:gd name="T23" fmla="*/ 241 h 334"/>
                <a:gd name="T24" fmla="*/ 423 w 423"/>
                <a:gd name="T25" fmla="*/ 234 h 334"/>
                <a:gd name="T26" fmla="*/ 423 w 423"/>
                <a:gd name="T27" fmla="*/ 225 h 334"/>
                <a:gd name="T28" fmla="*/ 361 w 423"/>
                <a:gd name="T29" fmla="*/ 59 h 334"/>
                <a:gd name="T30" fmla="*/ 211 w 423"/>
                <a:gd name="T31"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3" h="334">
                  <a:moveTo>
                    <a:pt x="211" y="23"/>
                  </a:moveTo>
                  <a:cubicBezTo>
                    <a:pt x="315" y="23"/>
                    <a:pt x="399" y="96"/>
                    <a:pt x="399" y="225"/>
                  </a:cubicBezTo>
                  <a:cubicBezTo>
                    <a:pt x="352" y="277"/>
                    <a:pt x="285" y="310"/>
                    <a:pt x="211" y="310"/>
                  </a:cubicBezTo>
                  <a:cubicBezTo>
                    <a:pt x="138" y="310"/>
                    <a:pt x="71" y="277"/>
                    <a:pt x="24" y="225"/>
                  </a:cubicBezTo>
                  <a:cubicBezTo>
                    <a:pt x="24" y="96"/>
                    <a:pt x="108" y="23"/>
                    <a:pt x="211" y="23"/>
                  </a:cubicBezTo>
                  <a:moveTo>
                    <a:pt x="211" y="0"/>
                  </a:moveTo>
                  <a:cubicBezTo>
                    <a:pt x="153" y="0"/>
                    <a:pt x="100" y="21"/>
                    <a:pt x="62" y="59"/>
                  </a:cubicBezTo>
                  <a:cubicBezTo>
                    <a:pt x="21" y="100"/>
                    <a:pt x="0" y="157"/>
                    <a:pt x="0" y="225"/>
                  </a:cubicBezTo>
                  <a:cubicBezTo>
                    <a:pt x="0" y="234"/>
                    <a:pt x="0" y="234"/>
                    <a:pt x="0" y="234"/>
                  </a:cubicBezTo>
                  <a:cubicBezTo>
                    <a:pt x="6" y="241"/>
                    <a:pt x="6" y="241"/>
                    <a:pt x="6" y="241"/>
                  </a:cubicBezTo>
                  <a:cubicBezTo>
                    <a:pt x="60" y="301"/>
                    <a:pt x="133" y="334"/>
                    <a:pt x="211" y="334"/>
                  </a:cubicBezTo>
                  <a:cubicBezTo>
                    <a:pt x="290" y="334"/>
                    <a:pt x="363" y="301"/>
                    <a:pt x="417" y="241"/>
                  </a:cubicBezTo>
                  <a:cubicBezTo>
                    <a:pt x="423" y="234"/>
                    <a:pt x="423" y="234"/>
                    <a:pt x="423" y="234"/>
                  </a:cubicBezTo>
                  <a:cubicBezTo>
                    <a:pt x="423" y="225"/>
                    <a:pt x="423" y="225"/>
                    <a:pt x="423" y="225"/>
                  </a:cubicBezTo>
                  <a:cubicBezTo>
                    <a:pt x="423" y="157"/>
                    <a:pt x="402" y="100"/>
                    <a:pt x="361" y="59"/>
                  </a:cubicBezTo>
                  <a:cubicBezTo>
                    <a:pt x="323" y="21"/>
                    <a:pt x="270" y="0"/>
                    <a:pt x="2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4" name="Oval 247"/>
            <p:cNvSpPr>
              <a:spLocks noChangeArrowheads="1"/>
            </p:cNvSpPr>
            <p:nvPr userDrawn="1"/>
          </p:nvSpPr>
          <p:spPr bwMode="auto">
            <a:xfrm>
              <a:off x="2636" y="1642"/>
              <a:ext cx="505" cy="51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205" name="Freeform 248"/>
            <p:cNvSpPr>
              <a:spLocks noEditPoints="1"/>
            </p:cNvSpPr>
            <p:nvPr userDrawn="1"/>
          </p:nvSpPr>
          <p:spPr bwMode="auto">
            <a:xfrm>
              <a:off x="2617" y="1625"/>
              <a:ext cx="543" cy="550"/>
            </a:xfrm>
            <a:custGeom>
              <a:avLst/>
              <a:gdLst>
                <a:gd name="T0" fmla="*/ 114 w 229"/>
                <a:gd name="T1" fmla="*/ 15 h 232"/>
                <a:gd name="T2" fmla="*/ 214 w 229"/>
                <a:gd name="T3" fmla="*/ 116 h 232"/>
                <a:gd name="T4" fmla="*/ 114 w 229"/>
                <a:gd name="T5" fmla="*/ 217 h 232"/>
                <a:gd name="T6" fmla="*/ 15 w 229"/>
                <a:gd name="T7" fmla="*/ 116 h 232"/>
                <a:gd name="T8" fmla="*/ 114 w 229"/>
                <a:gd name="T9" fmla="*/ 15 h 232"/>
                <a:gd name="T10" fmla="*/ 114 w 229"/>
                <a:gd name="T11" fmla="*/ 0 h 232"/>
                <a:gd name="T12" fmla="*/ 0 w 229"/>
                <a:gd name="T13" fmla="*/ 116 h 232"/>
                <a:gd name="T14" fmla="*/ 114 w 229"/>
                <a:gd name="T15" fmla="*/ 232 h 232"/>
                <a:gd name="T16" fmla="*/ 229 w 229"/>
                <a:gd name="T17" fmla="*/ 116 h 232"/>
                <a:gd name="T18" fmla="*/ 114 w 229"/>
                <a:gd name="T19"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232">
                  <a:moveTo>
                    <a:pt x="114" y="15"/>
                  </a:moveTo>
                  <a:cubicBezTo>
                    <a:pt x="169" y="15"/>
                    <a:pt x="214" y="60"/>
                    <a:pt x="214" y="116"/>
                  </a:cubicBezTo>
                  <a:cubicBezTo>
                    <a:pt x="214" y="172"/>
                    <a:pt x="169" y="217"/>
                    <a:pt x="114" y="217"/>
                  </a:cubicBezTo>
                  <a:cubicBezTo>
                    <a:pt x="60" y="217"/>
                    <a:pt x="15" y="172"/>
                    <a:pt x="15" y="116"/>
                  </a:cubicBezTo>
                  <a:cubicBezTo>
                    <a:pt x="15" y="60"/>
                    <a:pt x="60" y="15"/>
                    <a:pt x="114" y="15"/>
                  </a:cubicBezTo>
                  <a:moveTo>
                    <a:pt x="114" y="0"/>
                  </a:moveTo>
                  <a:cubicBezTo>
                    <a:pt x="51" y="0"/>
                    <a:pt x="0" y="52"/>
                    <a:pt x="0" y="116"/>
                  </a:cubicBezTo>
                  <a:cubicBezTo>
                    <a:pt x="0" y="180"/>
                    <a:pt x="51" y="232"/>
                    <a:pt x="114" y="232"/>
                  </a:cubicBezTo>
                  <a:cubicBezTo>
                    <a:pt x="178" y="232"/>
                    <a:pt x="229" y="180"/>
                    <a:pt x="229" y="116"/>
                  </a:cubicBezTo>
                  <a:cubicBezTo>
                    <a:pt x="229" y="52"/>
                    <a:pt x="178" y="0"/>
                    <a:pt x="11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sp>
        <p:nvSpPr>
          <p:cNvPr id="166" name="pilhoyre" hidden="1"/>
          <p:cNvSpPr>
            <a:spLocks/>
          </p:cNvSpPr>
          <p:nvPr userDrawn="1"/>
        </p:nvSpPr>
        <p:spPr bwMode="auto">
          <a:xfrm>
            <a:off x="4123135" y="2319229"/>
            <a:ext cx="899319" cy="470118"/>
          </a:xfrm>
          <a:custGeom>
            <a:avLst/>
            <a:gdLst>
              <a:gd name="T0" fmla="*/ 473 w 479"/>
              <a:gd name="T1" fmla="*/ 117 h 249"/>
              <a:gd name="T2" fmla="*/ 313 w 479"/>
              <a:gd name="T3" fmla="*/ 5 h 249"/>
              <a:gd name="T4" fmla="*/ 298 w 479"/>
              <a:gd name="T5" fmla="*/ 13 h 249"/>
              <a:gd name="T6" fmla="*/ 298 w 479"/>
              <a:gd name="T7" fmla="*/ 72 h 249"/>
              <a:gd name="T8" fmla="*/ 0 w 479"/>
              <a:gd name="T9" fmla="*/ 72 h 249"/>
              <a:gd name="T10" fmla="*/ 0 w 479"/>
              <a:gd name="T11" fmla="*/ 177 h 249"/>
              <a:gd name="T12" fmla="*/ 298 w 479"/>
              <a:gd name="T13" fmla="*/ 177 h 249"/>
              <a:gd name="T14" fmla="*/ 298 w 479"/>
              <a:gd name="T15" fmla="*/ 237 h 249"/>
              <a:gd name="T16" fmla="*/ 313 w 479"/>
              <a:gd name="T17" fmla="*/ 245 h 249"/>
              <a:gd name="T18" fmla="*/ 473 w 479"/>
              <a:gd name="T19" fmla="*/ 133 h 249"/>
              <a:gd name="T20" fmla="*/ 473 w 479"/>
              <a:gd name="T21" fmla="*/ 11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473" y="117"/>
                </a:moveTo>
                <a:cubicBezTo>
                  <a:pt x="313" y="5"/>
                  <a:pt x="313" y="5"/>
                  <a:pt x="313" y="5"/>
                </a:cubicBezTo>
                <a:cubicBezTo>
                  <a:pt x="307" y="0"/>
                  <a:pt x="298" y="5"/>
                  <a:pt x="298" y="13"/>
                </a:cubicBezTo>
                <a:cubicBezTo>
                  <a:pt x="298" y="72"/>
                  <a:pt x="298" y="72"/>
                  <a:pt x="298" y="72"/>
                </a:cubicBezTo>
                <a:cubicBezTo>
                  <a:pt x="0" y="72"/>
                  <a:pt x="0" y="72"/>
                  <a:pt x="0" y="72"/>
                </a:cubicBezTo>
                <a:cubicBezTo>
                  <a:pt x="0" y="177"/>
                  <a:pt x="0" y="177"/>
                  <a:pt x="0" y="177"/>
                </a:cubicBezTo>
                <a:cubicBezTo>
                  <a:pt x="298" y="177"/>
                  <a:pt x="298" y="177"/>
                  <a:pt x="298" y="177"/>
                </a:cubicBezTo>
                <a:cubicBezTo>
                  <a:pt x="298" y="237"/>
                  <a:pt x="298" y="237"/>
                  <a:pt x="298" y="237"/>
                </a:cubicBezTo>
                <a:cubicBezTo>
                  <a:pt x="298" y="245"/>
                  <a:pt x="307" y="249"/>
                  <a:pt x="313" y="245"/>
                </a:cubicBezTo>
                <a:cubicBezTo>
                  <a:pt x="473" y="133"/>
                  <a:pt x="473" y="133"/>
                  <a:pt x="473" y="133"/>
                </a:cubicBezTo>
                <a:cubicBezTo>
                  <a:pt x="479" y="129"/>
                  <a:pt x="479" y="121"/>
                  <a:pt x="473" y="11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67" name="pilvenstre" hidden="1"/>
          <p:cNvSpPr>
            <a:spLocks/>
          </p:cNvSpPr>
          <p:nvPr userDrawn="1"/>
        </p:nvSpPr>
        <p:spPr bwMode="auto">
          <a:xfrm>
            <a:off x="4123135" y="2319229"/>
            <a:ext cx="899319" cy="470118"/>
          </a:xfrm>
          <a:custGeom>
            <a:avLst/>
            <a:gdLst>
              <a:gd name="T0" fmla="*/ 6 w 479"/>
              <a:gd name="T1" fmla="*/ 133 h 249"/>
              <a:gd name="T2" fmla="*/ 165 w 479"/>
              <a:gd name="T3" fmla="*/ 245 h 249"/>
              <a:gd name="T4" fmla="*/ 181 w 479"/>
              <a:gd name="T5" fmla="*/ 237 h 249"/>
              <a:gd name="T6" fmla="*/ 181 w 479"/>
              <a:gd name="T7" fmla="*/ 177 h 249"/>
              <a:gd name="T8" fmla="*/ 479 w 479"/>
              <a:gd name="T9" fmla="*/ 177 h 249"/>
              <a:gd name="T10" fmla="*/ 479 w 479"/>
              <a:gd name="T11" fmla="*/ 72 h 249"/>
              <a:gd name="T12" fmla="*/ 181 w 479"/>
              <a:gd name="T13" fmla="*/ 72 h 249"/>
              <a:gd name="T14" fmla="*/ 181 w 479"/>
              <a:gd name="T15" fmla="*/ 13 h 249"/>
              <a:gd name="T16" fmla="*/ 165 w 479"/>
              <a:gd name="T17" fmla="*/ 5 h 249"/>
              <a:gd name="T18" fmla="*/ 6 w 479"/>
              <a:gd name="T19" fmla="*/ 117 h 249"/>
              <a:gd name="T20" fmla="*/ 6 w 479"/>
              <a:gd name="T21" fmla="*/ 1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9" h="249">
                <a:moveTo>
                  <a:pt x="6" y="133"/>
                </a:moveTo>
                <a:cubicBezTo>
                  <a:pt x="165" y="245"/>
                  <a:pt x="165" y="245"/>
                  <a:pt x="165" y="245"/>
                </a:cubicBezTo>
                <a:cubicBezTo>
                  <a:pt x="172" y="249"/>
                  <a:pt x="181" y="245"/>
                  <a:pt x="181" y="237"/>
                </a:cubicBezTo>
                <a:cubicBezTo>
                  <a:pt x="181" y="177"/>
                  <a:pt x="181" y="177"/>
                  <a:pt x="181" y="177"/>
                </a:cubicBezTo>
                <a:cubicBezTo>
                  <a:pt x="479" y="177"/>
                  <a:pt x="479" y="177"/>
                  <a:pt x="479" y="177"/>
                </a:cubicBezTo>
                <a:cubicBezTo>
                  <a:pt x="479" y="72"/>
                  <a:pt x="479" y="72"/>
                  <a:pt x="479" y="72"/>
                </a:cubicBezTo>
                <a:cubicBezTo>
                  <a:pt x="181" y="72"/>
                  <a:pt x="181" y="72"/>
                  <a:pt x="181" y="72"/>
                </a:cubicBezTo>
                <a:cubicBezTo>
                  <a:pt x="181" y="13"/>
                  <a:pt x="181" y="13"/>
                  <a:pt x="181" y="13"/>
                </a:cubicBezTo>
                <a:cubicBezTo>
                  <a:pt x="181" y="5"/>
                  <a:pt x="172" y="0"/>
                  <a:pt x="165" y="5"/>
                </a:cubicBezTo>
                <a:cubicBezTo>
                  <a:pt x="6" y="117"/>
                  <a:pt x="6" y="117"/>
                  <a:pt x="6" y="117"/>
                </a:cubicBezTo>
                <a:cubicBezTo>
                  <a:pt x="0" y="121"/>
                  <a:pt x="0" y="129"/>
                  <a:pt x="6" y="1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68" name="pilopp" hidden="1"/>
          <p:cNvSpPr>
            <a:spLocks/>
          </p:cNvSpPr>
          <p:nvPr userDrawn="1"/>
        </p:nvSpPr>
        <p:spPr bwMode="auto">
          <a:xfrm>
            <a:off x="4339035" y="2101244"/>
            <a:ext cx="467519" cy="906088"/>
          </a:xfrm>
          <a:custGeom>
            <a:avLst/>
            <a:gdLst>
              <a:gd name="T0" fmla="*/ 116 w 249"/>
              <a:gd name="T1" fmla="*/ 6 h 480"/>
              <a:gd name="T2" fmla="*/ 4 w 249"/>
              <a:gd name="T3" fmla="*/ 166 h 480"/>
              <a:gd name="T4" fmla="*/ 12 w 249"/>
              <a:gd name="T5" fmla="*/ 181 h 480"/>
              <a:gd name="T6" fmla="*/ 72 w 249"/>
              <a:gd name="T7" fmla="*/ 181 h 480"/>
              <a:gd name="T8" fmla="*/ 72 w 249"/>
              <a:gd name="T9" fmla="*/ 480 h 480"/>
              <a:gd name="T10" fmla="*/ 177 w 249"/>
              <a:gd name="T11" fmla="*/ 480 h 480"/>
              <a:gd name="T12" fmla="*/ 177 w 249"/>
              <a:gd name="T13" fmla="*/ 181 h 480"/>
              <a:gd name="T14" fmla="*/ 236 w 249"/>
              <a:gd name="T15" fmla="*/ 181 h 480"/>
              <a:gd name="T16" fmla="*/ 244 w 249"/>
              <a:gd name="T17" fmla="*/ 166 h 480"/>
              <a:gd name="T18" fmla="*/ 132 w 249"/>
              <a:gd name="T19" fmla="*/ 6 h 480"/>
              <a:gd name="T20" fmla="*/ 116 w 249"/>
              <a:gd name="T21" fmla="*/ 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80">
                <a:moveTo>
                  <a:pt x="116" y="6"/>
                </a:moveTo>
                <a:cubicBezTo>
                  <a:pt x="4" y="166"/>
                  <a:pt x="4" y="166"/>
                  <a:pt x="4" y="166"/>
                </a:cubicBezTo>
                <a:cubicBezTo>
                  <a:pt x="0" y="172"/>
                  <a:pt x="4" y="181"/>
                  <a:pt x="12" y="181"/>
                </a:cubicBezTo>
                <a:cubicBezTo>
                  <a:pt x="72" y="181"/>
                  <a:pt x="72" y="181"/>
                  <a:pt x="72" y="181"/>
                </a:cubicBezTo>
                <a:cubicBezTo>
                  <a:pt x="72" y="480"/>
                  <a:pt x="72" y="480"/>
                  <a:pt x="72" y="480"/>
                </a:cubicBezTo>
                <a:cubicBezTo>
                  <a:pt x="177" y="480"/>
                  <a:pt x="177" y="480"/>
                  <a:pt x="177" y="480"/>
                </a:cubicBezTo>
                <a:cubicBezTo>
                  <a:pt x="177" y="181"/>
                  <a:pt x="177" y="181"/>
                  <a:pt x="177" y="181"/>
                </a:cubicBezTo>
                <a:cubicBezTo>
                  <a:pt x="236" y="181"/>
                  <a:pt x="236" y="181"/>
                  <a:pt x="236" y="181"/>
                </a:cubicBezTo>
                <a:cubicBezTo>
                  <a:pt x="244" y="181"/>
                  <a:pt x="249" y="172"/>
                  <a:pt x="244" y="166"/>
                </a:cubicBezTo>
                <a:cubicBezTo>
                  <a:pt x="132" y="6"/>
                  <a:pt x="132" y="6"/>
                  <a:pt x="132" y="6"/>
                </a:cubicBezTo>
                <a:cubicBezTo>
                  <a:pt x="128" y="0"/>
                  <a:pt x="120" y="0"/>
                  <a:pt x="116" y="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69" name="pilned" hidden="1"/>
          <p:cNvSpPr>
            <a:spLocks/>
          </p:cNvSpPr>
          <p:nvPr userDrawn="1"/>
        </p:nvSpPr>
        <p:spPr bwMode="auto">
          <a:xfrm>
            <a:off x="4339035" y="2102038"/>
            <a:ext cx="467519" cy="904500"/>
          </a:xfrm>
          <a:custGeom>
            <a:avLst/>
            <a:gdLst>
              <a:gd name="T0" fmla="*/ 132 w 249"/>
              <a:gd name="T1" fmla="*/ 473 h 479"/>
              <a:gd name="T2" fmla="*/ 245 w 249"/>
              <a:gd name="T3" fmla="*/ 314 h 479"/>
              <a:gd name="T4" fmla="*/ 236 w 249"/>
              <a:gd name="T5" fmla="*/ 298 h 479"/>
              <a:gd name="T6" fmla="*/ 177 w 249"/>
              <a:gd name="T7" fmla="*/ 298 h 479"/>
              <a:gd name="T8" fmla="*/ 177 w 249"/>
              <a:gd name="T9" fmla="*/ 0 h 479"/>
              <a:gd name="T10" fmla="*/ 72 w 249"/>
              <a:gd name="T11" fmla="*/ 0 h 479"/>
              <a:gd name="T12" fmla="*/ 72 w 249"/>
              <a:gd name="T13" fmla="*/ 298 h 479"/>
              <a:gd name="T14" fmla="*/ 12 w 249"/>
              <a:gd name="T15" fmla="*/ 298 h 479"/>
              <a:gd name="T16" fmla="*/ 4 w 249"/>
              <a:gd name="T17" fmla="*/ 314 h 479"/>
              <a:gd name="T18" fmla="*/ 116 w 249"/>
              <a:gd name="T19" fmla="*/ 473 h 479"/>
              <a:gd name="T20" fmla="*/ 132 w 249"/>
              <a:gd name="T21" fmla="*/ 473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9" h="479">
                <a:moveTo>
                  <a:pt x="132" y="473"/>
                </a:moveTo>
                <a:cubicBezTo>
                  <a:pt x="245" y="314"/>
                  <a:pt x="245" y="314"/>
                  <a:pt x="245" y="314"/>
                </a:cubicBezTo>
                <a:cubicBezTo>
                  <a:pt x="249" y="307"/>
                  <a:pt x="244" y="298"/>
                  <a:pt x="236" y="298"/>
                </a:cubicBezTo>
                <a:cubicBezTo>
                  <a:pt x="177" y="298"/>
                  <a:pt x="177" y="298"/>
                  <a:pt x="177" y="298"/>
                </a:cubicBezTo>
                <a:cubicBezTo>
                  <a:pt x="177" y="0"/>
                  <a:pt x="177" y="0"/>
                  <a:pt x="177" y="0"/>
                </a:cubicBezTo>
                <a:cubicBezTo>
                  <a:pt x="72" y="0"/>
                  <a:pt x="72" y="0"/>
                  <a:pt x="72" y="0"/>
                </a:cubicBezTo>
                <a:cubicBezTo>
                  <a:pt x="72" y="298"/>
                  <a:pt x="72" y="298"/>
                  <a:pt x="72" y="298"/>
                </a:cubicBezTo>
                <a:cubicBezTo>
                  <a:pt x="12" y="298"/>
                  <a:pt x="12" y="298"/>
                  <a:pt x="12" y="298"/>
                </a:cubicBezTo>
                <a:cubicBezTo>
                  <a:pt x="4" y="298"/>
                  <a:pt x="0" y="307"/>
                  <a:pt x="4" y="314"/>
                </a:cubicBezTo>
                <a:cubicBezTo>
                  <a:pt x="116" y="473"/>
                  <a:pt x="116" y="473"/>
                  <a:pt x="116" y="473"/>
                </a:cubicBezTo>
                <a:cubicBezTo>
                  <a:pt x="120" y="479"/>
                  <a:pt x="128" y="479"/>
                  <a:pt x="132" y="47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401" tIns="22701" rIns="45401" bIns="22701"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nvGrpSpPr>
          <p:cNvPr id="170" name="prosses4" hidden="1"/>
          <p:cNvGrpSpPr/>
          <p:nvPr userDrawn="1"/>
        </p:nvGrpSpPr>
        <p:grpSpPr>
          <a:xfrm>
            <a:off x="3190168" y="1183991"/>
            <a:ext cx="2765252" cy="2740592"/>
            <a:chOff x="1949529" y="751583"/>
            <a:chExt cx="5530502" cy="5478645"/>
          </a:xfrm>
        </p:grpSpPr>
        <p:grpSp>
          <p:nvGrpSpPr>
            <p:cNvPr id="185" name="prosses4"/>
            <p:cNvGrpSpPr>
              <a:grpSpLocks noChangeAspect="1"/>
            </p:cNvGrpSpPr>
            <p:nvPr userDrawn="1"/>
          </p:nvGrpSpPr>
          <p:grpSpPr bwMode="auto">
            <a:xfrm>
              <a:off x="2255718" y="976312"/>
              <a:ext cx="4897441" cy="4897438"/>
              <a:chOff x="1336" y="615"/>
              <a:chExt cx="3085" cy="3085"/>
            </a:xfrm>
          </p:grpSpPr>
          <p:sp>
            <p:nvSpPr>
              <p:cNvPr id="190" name="Freeform 90"/>
              <p:cNvSpPr>
                <a:spLocks/>
              </p:cNvSpPr>
              <p:nvPr userDrawn="1"/>
            </p:nvSpPr>
            <p:spPr bwMode="auto">
              <a:xfrm>
                <a:off x="1336" y="2179"/>
                <a:ext cx="1420" cy="1464"/>
              </a:xfrm>
              <a:custGeom>
                <a:avLst/>
                <a:gdLst>
                  <a:gd name="T0" fmla="*/ 399 w 600"/>
                  <a:gd name="T1" fmla="*/ 493 h 619"/>
                  <a:gd name="T2" fmla="*/ 391 w 600"/>
                  <a:gd name="T3" fmla="*/ 489 h 619"/>
                  <a:gd name="T4" fmla="*/ 382 w 600"/>
                  <a:gd name="T5" fmla="*/ 484 h 619"/>
                  <a:gd name="T6" fmla="*/ 373 w 600"/>
                  <a:gd name="T7" fmla="*/ 479 h 619"/>
                  <a:gd name="T8" fmla="*/ 365 w 600"/>
                  <a:gd name="T9" fmla="*/ 474 h 619"/>
                  <a:gd name="T10" fmla="*/ 356 w 600"/>
                  <a:gd name="T11" fmla="*/ 469 h 619"/>
                  <a:gd name="T12" fmla="*/ 349 w 600"/>
                  <a:gd name="T13" fmla="*/ 464 h 619"/>
                  <a:gd name="T14" fmla="*/ 340 w 600"/>
                  <a:gd name="T15" fmla="*/ 458 h 619"/>
                  <a:gd name="T16" fmla="*/ 333 w 600"/>
                  <a:gd name="T17" fmla="*/ 454 h 619"/>
                  <a:gd name="T18" fmla="*/ 324 w 600"/>
                  <a:gd name="T19" fmla="*/ 448 h 619"/>
                  <a:gd name="T20" fmla="*/ 318 w 600"/>
                  <a:gd name="T21" fmla="*/ 443 h 619"/>
                  <a:gd name="T22" fmla="*/ 94 w 600"/>
                  <a:gd name="T23" fmla="*/ 59 h 619"/>
                  <a:gd name="T24" fmla="*/ 121 w 600"/>
                  <a:gd name="T25" fmla="*/ 57 h 619"/>
                  <a:gd name="T26" fmla="*/ 57 w 600"/>
                  <a:gd name="T27" fmla="*/ 0 h 619"/>
                  <a:gd name="T28" fmla="*/ 0 w 600"/>
                  <a:gd name="T29" fmla="*/ 65 h 619"/>
                  <a:gd name="T30" fmla="*/ 26 w 600"/>
                  <a:gd name="T31" fmla="*/ 63 h 619"/>
                  <a:gd name="T32" fmla="*/ 254 w 600"/>
                  <a:gd name="T33" fmla="*/ 479 h 619"/>
                  <a:gd name="T34" fmla="*/ 254 w 600"/>
                  <a:gd name="T35" fmla="*/ 479 h 619"/>
                  <a:gd name="T36" fmla="*/ 254 w 600"/>
                  <a:gd name="T37" fmla="*/ 480 h 619"/>
                  <a:gd name="T38" fmla="*/ 271 w 600"/>
                  <a:gd name="T39" fmla="*/ 492 h 619"/>
                  <a:gd name="T40" fmla="*/ 275 w 600"/>
                  <a:gd name="T41" fmla="*/ 496 h 619"/>
                  <a:gd name="T42" fmla="*/ 288 w 600"/>
                  <a:gd name="T43" fmla="*/ 505 h 619"/>
                  <a:gd name="T44" fmla="*/ 294 w 600"/>
                  <a:gd name="T45" fmla="*/ 509 h 619"/>
                  <a:gd name="T46" fmla="*/ 306 w 600"/>
                  <a:gd name="T47" fmla="*/ 518 h 619"/>
                  <a:gd name="T48" fmla="*/ 313 w 600"/>
                  <a:gd name="T49" fmla="*/ 522 h 619"/>
                  <a:gd name="T50" fmla="*/ 325 w 600"/>
                  <a:gd name="T51" fmla="*/ 530 h 619"/>
                  <a:gd name="T52" fmla="*/ 331 w 600"/>
                  <a:gd name="T53" fmla="*/ 533 h 619"/>
                  <a:gd name="T54" fmla="*/ 345 w 600"/>
                  <a:gd name="T55" fmla="*/ 541 h 619"/>
                  <a:gd name="T56" fmla="*/ 350 w 600"/>
                  <a:gd name="T57" fmla="*/ 544 h 619"/>
                  <a:gd name="T58" fmla="*/ 388 w 600"/>
                  <a:gd name="T59" fmla="*/ 564 h 619"/>
                  <a:gd name="T60" fmla="*/ 388 w 600"/>
                  <a:gd name="T61" fmla="*/ 563 h 619"/>
                  <a:gd name="T62" fmla="*/ 596 w 600"/>
                  <a:gd name="T63" fmla="*/ 619 h 619"/>
                  <a:gd name="T64" fmla="*/ 596 w 600"/>
                  <a:gd name="T65" fmla="*/ 619 h 619"/>
                  <a:gd name="T66" fmla="*/ 575 w 600"/>
                  <a:gd name="T67" fmla="*/ 582 h 619"/>
                  <a:gd name="T68" fmla="*/ 575 w 600"/>
                  <a:gd name="T69" fmla="*/ 582 h 619"/>
                  <a:gd name="T70" fmla="*/ 575 w 600"/>
                  <a:gd name="T71" fmla="*/ 582 h 619"/>
                  <a:gd name="T72" fmla="*/ 600 w 600"/>
                  <a:gd name="T73" fmla="*/ 551 h 619"/>
                  <a:gd name="T74" fmla="*/ 399 w 600"/>
                  <a:gd name="T75" fmla="*/ 493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9">
                    <a:moveTo>
                      <a:pt x="399" y="493"/>
                    </a:moveTo>
                    <a:cubicBezTo>
                      <a:pt x="396" y="492"/>
                      <a:pt x="393" y="490"/>
                      <a:pt x="391" y="489"/>
                    </a:cubicBezTo>
                    <a:cubicBezTo>
                      <a:pt x="388" y="487"/>
                      <a:pt x="385" y="486"/>
                      <a:pt x="382" y="484"/>
                    </a:cubicBezTo>
                    <a:cubicBezTo>
                      <a:pt x="379" y="482"/>
                      <a:pt x="376" y="481"/>
                      <a:pt x="373" y="479"/>
                    </a:cubicBezTo>
                    <a:cubicBezTo>
                      <a:pt x="370" y="477"/>
                      <a:pt x="368" y="476"/>
                      <a:pt x="365" y="474"/>
                    </a:cubicBezTo>
                    <a:cubicBezTo>
                      <a:pt x="362" y="473"/>
                      <a:pt x="359" y="471"/>
                      <a:pt x="356" y="469"/>
                    </a:cubicBezTo>
                    <a:cubicBezTo>
                      <a:pt x="354" y="467"/>
                      <a:pt x="351" y="466"/>
                      <a:pt x="349" y="464"/>
                    </a:cubicBezTo>
                    <a:cubicBezTo>
                      <a:pt x="346" y="462"/>
                      <a:pt x="343" y="460"/>
                      <a:pt x="340" y="458"/>
                    </a:cubicBezTo>
                    <a:cubicBezTo>
                      <a:pt x="338" y="457"/>
                      <a:pt x="335" y="455"/>
                      <a:pt x="333" y="454"/>
                    </a:cubicBezTo>
                    <a:cubicBezTo>
                      <a:pt x="330" y="452"/>
                      <a:pt x="327" y="450"/>
                      <a:pt x="324" y="448"/>
                    </a:cubicBezTo>
                    <a:cubicBezTo>
                      <a:pt x="322" y="446"/>
                      <a:pt x="320" y="445"/>
                      <a:pt x="318" y="443"/>
                    </a:cubicBezTo>
                    <a:cubicBezTo>
                      <a:pt x="197" y="353"/>
                      <a:pt x="113" y="216"/>
                      <a:pt x="94" y="59"/>
                    </a:cubicBezTo>
                    <a:cubicBezTo>
                      <a:pt x="121" y="57"/>
                      <a:pt x="121" y="57"/>
                      <a:pt x="121" y="57"/>
                    </a:cubicBezTo>
                    <a:cubicBezTo>
                      <a:pt x="57" y="0"/>
                      <a:pt x="57" y="0"/>
                      <a:pt x="57" y="0"/>
                    </a:cubicBezTo>
                    <a:cubicBezTo>
                      <a:pt x="0" y="65"/>
                      <a:pt x="0" y="65"/>
                      <a:pt x="0" y="65"/>
                    </a:cubicBezTo>
                    <a:cubicBezTo>
                      <a:pt x="26" y="63"/>
                      <a:pt x="26" y="63"/>
                      <a:pt x="26" y="63"/>
                    </a:cubicBezTo>
                    <a:cubicBezTo>
                      <a:pt x="45" y="230"/>
                      <a:pt x="130" y="378"/>
                      <a:pt x="254" y="479"/>
                    </a:cubicBezTo>
                    <a:cubicBezTo>
                      <a:pt x="254" y="479"/>
                      <a:pt x="254" y="479"/>
                      <a:pt x="254" y="479"/>
                    </a:cubicBezTo>
                    <a:cubicBezTo>
                      <a:pt x="254" y="479"/>
                      <a:pt x="254" y="479"/>
                      <a:pt x="254" y="480"/>
                    </a:cubicBezTo>
                    <a:cubicBezTo>
                      <a:pt x="260" y="484"/>
                      <a:pt x="265" y="488"/>
                      <a:pt x="271" y="492"/>
                    </a:cubicBezTo>
                    <a:cubicBezTo>
                      <a:pt x="272" y="494"/>
                      <a:pt x="274" y="495"/>
                      <a:pt x="275" y="496"/>
                    </a:cubicBezTo>
                    <a:cubicBezTo>
                      <a:pt x="280" y="499"/>
                      <a:pt x="284" y="502"/>
                      <a:pt x="288" y="505"/>
                    </a:cubicBezTo>
                    <a:cubicBezTo>
                      <a:pt x="290" y="507"/>
                      <a:pt x="292" y="508"/>
                      <a:pt x="294" y="509"/>
                    </a:cubicBezTo>
                    <a:cubicBezTo>
                      <a:pt x="298" y="512"/>
                      <a:pt x="302" y="515"/>
                      <a:pt x="306" y="518"/>
                    </a:cubicBezTo>
                    <a:cubicBezTo>
                      <a:pt x="308" y="519"/>
                      <a:pt x="310" y="521"/>
                      <a:pt x="313" y="522"/>
                    </a:cubicBezTo>
                    <a:cubicBezTo>
                      <a:pt x="317" y="525"/>
                      <a:pt x="321" y="527"/>
                      <a:pt x="325" y="530"/>
                    </a:cubicBezTo>
                    <a:cubicBezTo>
                      <a:pt x="327" y="531"/>
                      <a:pt x="329" y="532"/>
                      <a:pt x="331" y="533"/>
                    </a:cubicBezTo>
                    <a:cubicBezTo>
                      <a:pt x="336" y="536"/>
                      <a:pt x="341" y="539"/>
                      <a:pt x="345" y="541"/>
                    </a:cubicBezTo>
                    <a:cubicBezTo>
                      <a:pt x="347" y="542"/>
                      <a:pt x="349" y="543"/>
                      <a:pt x="350" y="544"/>
                    </a:cubicBezTo>
                    <a:cubicBezTo>
                      <a:pt x="363" y="551"/>
                      <a:pt x="375" y="558"/>
                      <a:pt x="388" y="564"/>
                    </a:cubicBezTo>
                    <a:cubicBezTo>
                      <a:pt x="388" y="563"/>
                      <a:pt x="388" y="563"/>
                      <a:pt x="388" y="563"/>
                    </a:cubicBezTo>
                    <a:cubicBezTo>
                      <a:pt x="453" y="593"/>
                      <a:pt x="523" y="612"/>
                      <a:pt x="596" y="619"/>
                    </a:cubicBezTo>
                    <a:cubicBezTo>
                      <a:pt x="596" y="619"/>
                      <a:pt x="596" y="619"/>
                      <a:pt x="596" y="619"/>
                    </a:cubicBezTo>
                    <a:cubicBezTo>
                      <a:pt x="575" y="582"/>
                      <a:pt x="575" y="582"/>
                      <a:pt x="575" y="582"/>
                    </a:cubicBezTo>
                    <a:cubicBezTo>
                      <a:pt x="575" y="582"/>
                      <a:pt x="575" y="582"/>
                      <a:pt x="575" y="582"/>
                    </a:cubicBezTo>
                    <a:cubicBezTo>
                      <a:pt x="575" y="582"/>
                      <a:pt x="575" y="582"/>
                      <a:pt x="575" y="582"/>
                    </a:cubicBezTo>
                    <a:cubicBezTo>
                      <a:pt x="600" y="551"/>
                      <a:pt x="600" y="551"/>
                      <a:pt x="600" y="551"/>
                    </a:cubicBezTo>
                    <a:cubicBezTo>
                      <a:pt x="528" y="544"/>
                      <a:pt x="460" y="524"/>
                      <a:pt x="399" y="493"/>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1" name="Freeform 91"/>
              <p:cNvSpPr>
                <a:spLocks/>
              </p:cNvSpPr>
              <p:nvPr userDrawn="1"/>
            </p:nvSpPr>
            <p:spPr bwMode="auto">
              <a:xfrm>
                <a:off x="1393" y="615"/>
                <a:ext cx="1464" cy="1420"/>
              </a:xfrm>
              <a:custGeom>
                <a:avLst/>
                <a:gdLst>
                  <a:gd name="T0" fmla="*/ 126 w 619"/>
                  <a:gd name="T1" fmla="*/ 399 h 600"/>
                  <a:gd name="T2" fmla="*/ 130 w 619"/>
                  <a:gd name="T3" fmla="*/ 391 h 600"/>
                  <a:gd name="T4" fmla="*/ 135 w 619"/>
                  <a:gd name="T5" fmla="*/ 382 h 600"/>
                  <a:gd name="T6" fmla="*/ 140 w 619"/>
                  <a:gd name="T7" fmla="*/ 373 h 600"/>
                  <a:gd name="T8" fmla="*/ 145 w 619"/>
                  <a:gd name="T9" fmla="*/ 365 h 600"/>
                  <a:gd name="T10" fmla="*/ 150 w 619"/>
                  <a:gd name="T11" fmla="*/ 356 h 600"/>
                  <a:gd name="T12" fmla="*/ 155 w 619"/>
                  <a:gd name="T13" fmla="*/ 349 h 600"/>
                  <a:gd name="T14" fmla="*/ 161 w 619"/>
                  <a:gd name="T15" fmla="*/ 340 h 600"/>
                  <a:gd name="T16" fmla="*/ 165 w 619"/>
                  <a:gd name="T17" fmla="*/ 333 h 600"/>
                  <a:gd name="T18" fmla="*/ 172 w 619"/>
                  <a:gd name="T19" fmla="*/ 324 h 600"/>
                  <a:gd name="T20" fmla="*/ 176 w 619"/>
                  <a:gd name="T21" fmla="*/ 318 h 600"/>
                  <a:gd name="T22" fmla="*/ 560 w 619"/>
                  <a:gd name="T23" fmla="*/ 94 h 600"/>
                  <a:gd name="T24" fmla="*/ 562 w 619"/>
                  <a:gd name="T25" fmla="*/ 121 h 600"/>
                  <a:gd name="T26" fmla="*/ 619 w 619"/>
                  <a:gd name="T27" fmla="*/ 57 h 600"/>
                  <a:gd name="T28" fmla="*/ 554 w 619"/>
                  <a:gd name="T29" fmla="*/ 0 h 600"/>
                  <a:gd name="T30" fmla="*/ 556 w 619"/>
                  <a:gd name="T31" fmla="*/ 26 h 600"/>
                  <a:gd name="T32" fmla="*/ 140 w 619"/>
                  <a:gd name="T33" fmla="*/ 254 h 600"/>
                  <a:gd name="T34" fmla="*/ 140 w 619"/>
                  <a:gd name="T35" fmla="*/ 254 h 600"/>
                  <a:gd name="T36" fmla="*/ 139 w 619"/>
                  <a:gd name="T37" fmla="*/ 255 h 600"/>
                  <a:gd name="T38" fmla="*/ 127 w 619"/>
                  <a:gd name="T39" fmla="*/ 271 h 600"/>
                  <a:gd name="T40" fmla="*/ 123 w 619"/>
                  <a:gd name="T41" fmla="*/ 276 h 600"/>
                  <a:gd name="T42" fmla="*/ 114 w 619"/>
                  <a:gd name="T43" fmla="*/ 288 h 600"/>
                  <a:gd name="T44" fmla="*/ 110 w 619"/>
                  <a:gd name="T45" fmla="*/ 294 h 600"/>
                  <a:gd name="T46" fmla="*/ 101 w 619"/>
                  <a:gd name="T47" fmla="*/ 307 h 600"/>
                  <a:gd name="T48" fmla="*/ 97 w 619"/>
                  <a:gd name="T49" fmla="*/ 313 h 600"/>
                  <a:gd name="T50" fmla="*/ 89 w 619"/>
                  <a:gd name="T51" fmla="*/ 325 h 600"/>
                  <a:gd name="T52" fmla="*/ 86 w 619"/>
                  <a:gd name="T53" fmla="*/ 332 h 600"/>
                  <a:gd name="T54" fmla="*/ 78 w 619"/>
                  <a:gd name="T55" fmla="*/ 346 h 600"/>
                  <a:gd name="T56" fmla="*/ 75 w 619"/>
                  <a:gd name="T57" fmla="*/ 351 h 600"/>
                  <a:gd name="T58" fmla="*/ 56 w 619"/>
                  <a:gd name="T59" fmla="*/ 389 h 600"/>
                  <a:gd name="T60" fmla="*/ 56 w 619"/>
                  <a:gd name="T61" fmla="*/ 389 h 600"/>
                  <a:gd name="T62" fmla="*/ 0 w 619"/>
                  <a:gd name="T63" fmla="*/ 596 h 600"/>
                  <a:gd name="T64" fmla="*/ 0 w 619"/>
                  <a:gd name="T65" fmla="*/ 597 h 600"/>
                  <a:gd name="T66" fmla="*/ 37 w 619"/>
                  <a:gd name="T67" fmla="*/ 575 h 600"/>
                  <a:gd name="T68" fmla="*/ 37 w 619"/>
                  <a:gd name="T69" fmla="*/ 575 h 600"/>
                  <a:gd name="T70" fmla="*/ 37 w 619"/>
                  <a:gd name="T71" fmla="*/ 575 h 600"/>
                  <a:gd name="T72" fmla="*/ 68 w 619"/>
                  <a:gd name="T73" fmla="*/ 600 h 600"/>
                  <a:gd name="T74" fmla="*/ 126 w 619"/>
                  <a:gd name="T75" fmla="*/ 399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126" y="399"/>
                    </a:moveTo>
                    <a:cubicBezTo>
                      <a:pt x="128" y="396"/>
                      <a:pt x="129" y="394"/>
                      <a:pt x="130" y="391"/>
                    </a:cubicBezTo>
                    <a:cubicBezTo>
                      <a:pt x="132" y="388"/>
                      <a:pt x="134" y="385"/>
                      <a:pt x="135" y="382"/>
                    </a:cubicBezTo>
                    <a:cubicBezTo>
                      <a:pt x="137" y="379"/>
                      <a:pt x="138" y="376"/>
                      <a:pt x="140" y="373"/>
                    </a:cubicBezTo>
                    <a:cubicBezTo>
                      <a:pt x="142" y="371"/>
                      <a:pt x="143" y="368"/>
                      <a:pt x="145" y="365"/>
                    </a:cubicBezTo>
                    <a:cubicBezTo>
                      <a:pt x="147" y="362"/>
                      <a:pt x="148" y="359"/>
                      <a:pt x="150" y="356"/>
                    </a:cubicBezTo>
                    <a:cubicBezTo>
                      <a:pt x="152" y="354"/>
                      <a:pt x="153" y="352"/>
                      <a:pt x="155" y="349"/>
                    </a:cubicBezTo>
                    <a:cubicBezTo>
                      <a:pt x="157" y="346"/>
                      <a:pt x="159" y="343"/>
                      <a:pt x="161" y="340"/>
                    </a:cubicBezTo>
                    <a:cubicBezTo>
                      <a:pt x="162" y="338"/>
                      <a:pt x="164" y="336"/>
                      <a:pt x="165" y="333"/>
                    </a:cubicBezTo>
                    <a:cubicBezTo>
                      <a:pt x="167" y="330"/>
                      <a:pt x="169" y="327"/>
                      <a:pt x="172" y="324"/>
                    </a:cubicBezTo>
                    <a:cubicBezTo>
                      <a:pt x="173" y="322"/>
                      <a:pt x="174" y="320"/>
                      <a:pt x="176" y="318"/>
                    </a:cubicBezTo>
                    <a:cubicBezTo>
                      <a:pt x="266" y="197"/>
                      <a:pt x="403" y="113"/>
                      <a:pt x="560" y="94"/>
                    </a:cubicBezTo>
                    <a:cubicBezTo>
                      <a:pt x="562" y="121"/>
                      <a:pt x="562" y="121"/>
                      <a:pt x="562" y="121"/>
                    </a:cubicBezTo>
                    <a:cubicBezTo>
                      <a:pt x="619" y="57"/>
                      <a:pt x="619" y="57"/>
                      <a:pt x="619" y="57"/>
                    </a:cubicBezTo>
                    <a:cubicBezTo>
                      <a:pt x="554" y="0"/>
                      <a:pt x="554" y="0"/>
                      <a:pt x="554" y="0"/>
                    </a:cubicBezTo>
                    <a:cubicBezTo>
                      <a:pt x="556" y="26"/>
                      <a:pt x="556" y="26"/>
                      <a:pt x="556" y="26"/>
                    </a:cubicBezTo>
                    <a:cubicBezTo>
                      <a:pt x="389" y="45"/>
                      <a:pt x="241" y="130"/>
                      <a:pt x="140" y="254"/>
                    </a:cubicBezTo>
                    <a:cubicBezTo>
                      <a:pt x="140" y="254"/>
                      <a:pt x="140" y="254"/>
                      <a:pt x="140" y="254"/>
                    </a:cubicBezTo>
                    <a:cubicBezTo>
                      <a:pt x="140" y="254"/>
                      <a:pt x="140" y="254"/>
                      <a:pt x="139" y="255"/>
                    </a:cubicBezTo>
                    <a:cubicBezTo>
                      <a:pt x="135" y="260"/>
                      <a:pt x="131" y="265"/>
                      <a:pt x="127" y="271"/>
                    </a:cubicBezTo>
                    <a:cubicBezTo>
                      <a:pt x="125" y="272"/>
                      <a:pt x="124" y="274"/>
                      <a:pt x="123" y="276"/>
                    </a:cubicBezTo>
                    <a:cubicBezTo>
                      <a:pt x="120" y="280"/>
                      <a:pt x="117" y="284"/>
                      <a:pt x="114" y="288"/>
                    </a:cubicBezTo>
                    <a:cubicBezTo>
                      <a:pt x="112" y="290"/>
                      <a:pt x="111" y="292"/>
                      <a:pt x="110" y="294"/>
                    </a:cubicBezTo>
                    <a:cubicBezTo>
                      <a:pt x="107" y="298"/>
                      <a:pt x="104" y="302"/>
                      <a:pt x="101" y="307"/>
                    </a:cubicBezTo>
                    <a:cubicBezTo>
                      <a:pt x="100" y="309"/>
                      <a:pt x="99" y="311"/>
                      <a:pt x="97" y="313"/>
                    </a:cubicBezTo>
                    <a:cubicBezTo>
                      <a:pt x="95" y="317"/>
                      <a:pt x="92" y="321"/>
                      <a:pt x="89" y="325"/>
                    </a:cubicBezTo>
                    <a:cubicBezTo>
                      <a:pt x="88" y="327"/>
                      <a:pt x="87" y="330"/>
                      <a:pt x="86" y="332"/>
                    </a:cubicBezTo>
                    <a:cubicBezTo>
                      <a:pt x="83" y="336"/>
                      <a:pt x="80" y="341"/>
                      <a:pt x="78" y="346"/>
                    </a:cubicBezTo>
                    <a:cubicBezTo>
                      <a:pt x="77" y="347"/>
                      <a:pt x="76" y="349"/>
                      <a:pt x="75" y="351"/>
                    </a:cubicBezTo>
                    <a:cubicBezTo>
                      <a:pt x="68" y="363"/>
                      <a:pt x="62" y="376"/>
                      <a:pt x="56" y="389"/>
                    </a:cubicBezTo>
                    <a:cubicBezTo>
                      <a:pt x="56" y="389"/>
                      <a:pt x="56" y="389"/>
                      <a:pt x="56" y="389"/>
                    </a:cubicBezTo>
                    <a:cubicBezTo>
                      <a:pt x="26" y="453"/>
                      <a:pt x="7" y="523"/>
                      <a:pt x="0" y="596"/>
                    </a:cubicBezTo>
                    <a:cubicBezTo>
                      <a:pt x="0" y="597"/>
                      <a:pt x="0" y="597"/>
                      <a:pt x="0" y="597"/>
                    </a:cubicBezTo>
                    <a:cubicBezTo>
                      <a:pt x="37" y="575"/>
                      <a:pt x="37" y="575"/>
                      <a:pt x="37" y="575"/>
                    </a:cubicBezTo>
                    <a:cubicBezTo>
                      <a:pt x="37" y="575"/>
                      <a:pt x="37" y="575"/>
                      <a:pt x="37" y="575"/>
                    </a:cubicBezTo>
                    <a:cubicBezTo>
                      <a:pt x="37" y="575"/>
                      <a:pt x="37" y="575"/>
                      <a:pt x="37" y="575"/>
                    </a:cubicBezTo>
                    <a:cubicBezTo>
                      <a:pt x="68" y="600"/>
                      <a:pt x="68" y="600"/>
                      <a:pt x="68" y="600"/>
                    </a:cubicBezTo>
                    <a:cubicBezTo>
                      <a:pt x="75" y="528"/>
                      <a:pt x="95" y="460"/>
                      <a:pt x="126" y="399"/>
                    </a:cubicBez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2" name="Freeform 92"/>
              <p:cNvSpPr>
                <a:spLocks/>
              </p:cNvSpPr>
              <p:nvPr userDrawn="1"/>
            </p:nvSpPr>
            <p:spPr bwMode="auto">
              <a:xfrm>
                <a:off x="3002" y="674"/>
                <a:ext cx="1419" cy="1462"/>
              </a:xfrm>
              <a:custGeom>
                <a:avLst/>
                <a:gdLst>
                  <a:gd name="T0" fmla="*/ 201 w 600"/>
                  <a:gd name="T1" fmla="*/ 126 h 618"/>
                  <a:gd name="T2" fmla="*/ 209 w 600"/>
                  <a:gd name="T3" fmla="*/ 130 h 618"/>
                  <a:gd name="T4" fmla="*/ 218 w 600"/>
                  <a:gd name="T5" fmla="*/ 135 h 618"/>
                  <a:gd name="T6" fmla="*/ 227 w 600"/>
                  <a:gd name="T7" fmla="*/ 139 h 618"/>
                  <a:gd name="T8" fmla="*/ 235 w 600"/>
                  <a:gd name="T9" fmla="*/ 144 h 618"/>
                  <a:gd name="T10" fmla="*/ 244 w 600"/>
                  <a:gd name="T11" fmla="*/ 149 h 618"/>
                  <a:gd name="T12" fmla="*/ 251 w 600"/>
                  <a:gd name="T13" fmla="*/ 154 h 618"/>
                  <a:gd name="T14" fmla="*/ 260 w 600"/>
                  <a:gd name="T15" fmla="*/ 160 h 618"/>
                  <a:gd name="T16" fmla="*/ 267 w 600"/>
                  <a:gd name="T17" fmla="*/ 165 h 618"/>
                  <a:gd name="T18" fmla="*/ 276 w 600"/>
                  <a:gd name="T19" fmla="*/ 171 h 618"/>
                  <a:gd name="T20" fmla="*/ 282 w 600"/>
                  <a:gd name="T21" fmla="*/ 175 h 618"/>
                  <a:gd name="T22" fmla="*/ 506 w 600"/>
                  <a:gd name="T23" fmla="*/ 560 h 618"/>
                  <a:gd name="T24" fmla="*/ 479 w 600"/>
                  <a:gd name="T25" fmla="*/ 562 h 618"/>
                  <a:gd name="T26" fmla="*/ 543 w 600"/>
                  <a:gd name="T27" fmla="*/ 618 h 618"/>
                  <a:gd name="T28" fmla="*/ 600 w 600"/>
                  <a:gd name="T29" fmla="*/ 553 h 618"/>
                  <a:gd name="T30" fmla="*/ 574 w 600"/>
                  <a:gd name="T31" fmla="*/ 555 h 618"/>
                  <a:gd name="T32" fmla="*/ 346 w 600"/>
                  <a:gd name="T33" fmla="*/ 139 h 618"/>
                  <a:gd name="T34" fmla="*/ 346 w 600"/>
                  <a:gd name="T35" fmla="*/ 139 h 618"/>
                  <a:gd name="T36" fmla="*/ 346 w 600"/>
                  <a:gd name="T37" fmla="*/ 139 h 618"/>
                  <a:gd name="T38" fmla="*/ 329 w 600"/>
                  <a:gd name="T39" fmla="*/ 126 h 618"/>
                  <a:gd name="T40" fmla="*/ 324 w 600"/>
                  <a:gd name="T41" fmla="*/ 122 h 618"/>
                  <a:gd name="T42" fmla="*/ 312 w 600"/>
                  <a:gd name="T43" fmla="*/ 113 h 618"/>
                  <a:gd name="T44" fmla="*/ 306 w 600"/>
                  <a:gd name="T45" fmla="*/ 109 h 618"/>
                  <a:gd name="T46" fmla="*/ 293 w 600"/>
                  <a:gd name="T47" fmla="*/ 101 h 618"/>
                  <a:gd name="T48" fmla="*/ 287 w 600"/>
                  <a:gd name="T49" fmla="*/ 97 h 618"/>
                  <a:gd name="T50" fmla="*/ 275 w 600"/>
                  <a:gd name="T51" fmla="*/ 89 h 618"/>
                  <a:gd name="T52" fmla="*/ 268 w 600"/>
                  <a:gd name="T53" fmla="*/ 85 h 618"/>
                  <a:gd name="T54" fmla="*/ 255 w 600"/>
                  <a:gd name="T55" fmla="*/ 77 h 618"/>
                  <a:gd name="T56" fmla="*/ 249 w 600"/>
                  <a:gd name="T57" fmla="*/ 74 h 618"/>
                  <a:gd name="T58" fmla="*/ 211 w 600"/>
                  <a:gd name="T59" fmla="*/ 55 h 618"/>
                  <a:gd name="T60" fmla="*/ 211 w 600"/>
                  <a:gd name="T61" fmla="*/ 55 h 618"/>
                  <a:gd name="T62" fmla="*/ 4 w 600"/>
                  <a:gd name="T63" fmla="*/ 0 h 618"/>
                  <a:gd name="T64" fmla="*/ 4 w 600"/>
                  <a:gd name="T65" fmla="*/ 0 h 618"/>
                  <a:gd name="T66" fmla="*/ 25 w 600"/>
                  <a:gd name="T67" fmla="*/ 36 h 618"/>
                  <a:gd name="T68" fmla="*/ 25 w 600"/>
                  <a:gd name="T69" fmla="*/ 36 h 618"/>
                  <a:gd name="T70" fmla="*/ 25 w 600"/>
                  <a:gd name="T71" fmla="*/ 36 h 618"/>
                  <a:gd name="T72" fmla="*/ 0 w 600"/>
                  <a:gd name="T73" fmla="*/ 68 h 618"/>
                  <a:gd name="T74" fmla="*/ 201 w 600"/>
                  <a:gd name="T75" fmla="*/ 126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0" h="618">
                    <a:moveTo>
                      <a:pt x="201" y="126"/>
                    </a:moveTo>
                    <a:cubicBezTo>
                      <a:pt x="204" y="127"/>
                      <a:pt x="207" y="128"/>
                      <a:pt x="209" y="130"/>
                    </a:cubicBezTo>
                    <a:cubicBezTo>
                      <a:pt x="212" y="131"/>
                      <a:pt x="215" y="133"/>
                      <a:pt x="218" y="135"/>
                    </a:cubicBezTo>
                    <a:cubicBezTo>
                      <a:pt x="221" y="136"/>
                      <a:pt x="224" y="138"/>
                      <a:pt x="227" y="139"/>
                    </a:cubicBezTo>
                    <a:cubicBezTo>
                      <a:pt x="230" y="141"/>
                      <a:pt x="232" y="142"/>
                      <a:pt x="235" y="144"/>
                    </a:cubicBezTo>
                    <a:cubicBezTo>
                      <a:pt x="238" y="146"/>
                      <a:pt x="241" y="148"/>
                      <a:pt x="244" y="149"/>
                    </a:cubicBezTo>
                    <a:cubicBezTo>
                      <a:pt x="246" y="151"/>
                      <a:pt x="249" y="153"/>
                      <a:pt x="251" y="154"/>
                    </a:cubicBezTo>
                    <a:cubicBezTo>
                      <a:pt x="254" y="156"/>
                      <a:pt x="257" y="158"/>
                      <a:pt x="260" y="160"/>
                    </a:cubicBezTo>
                    <a:cubicBezTo>
                      <a:pt x="262" y="161"/>
                      <a:pt x="264" y="163"/>
                      <a:pt x="267" y="165"/>
                    </a:cubicBezTo>
                    <a:cubicBezTo>
                      <a:pt x="270" y="167"/>
                      <a:pt x="273" y="169"/>
                      <a:pt x="276" y="171"/>
                    </a:cubicBezTo>
                    <a:cubicBezTo>
                      <a:pt x="278" y="172"/>
                      <a:pt x="280" y="174"/>
                      <a:pt x="282" y="175"/>
                    </a:cubicBezTo>
                    <a:cubicBezTo>
                      <a:pt x="403" y="265"/>
                      <a:pt x="487" y="403"/>
                      <a:pt x="506" y="560"/>
                    </a:cubicBezTo>
                    <a:cubicBezTo>
                      <a:pt x="479" y="562"/>
                      <a:pt x="479" y="562"/>
                      <a:pt x="479" y="562"/>
                    </a:cubicBezTo>
                    <a:cubicBezTo>
                      <a:pt x="543" y="618"/>
                      <a:pt x="543" y="618"/>
                      <a:pt x="543" y="618"/>
                    </a:cubicBezTo>
                    <a:cubicBezTo>
                      <a:pt x="600" y="553"/>
                      <a:pt x="600" y="553"/>
                      <a:pt x="600" y="553"/>
                    </a:cubicBezTo>
                    <a:cubicBezTo>
                      <a:pt x="574" y="555"/>
                      <a:pt x="574" y="555"/>
                      <a:pt x="574" y="555"/>
                    </a:cubicBezTo>
                    <a:cubicBezTo>
                      <a:pt x="555" y="388"/>
                      <a:pt x="470" y="241"/>
                      <a:pt x="346" y="139"/>
                    </a:cubicBezTo>
                    <a:cubicBezTo>
                      <a:pt x="346" y="139"/>
                      <a:pt x="346" y="139"/>
                      <a:pt x="346" y="139"/>
                    </a:cubicBezTo>
                    <a:cubicBezTo>
                      <a:pt x="346" y="139"/>
                      <a:pt x="346" y="139"/>
                      <a:pt x="346" y="139"/>
                    </a:cubicBezTo>
                    <a:cubicBezTo>
                      <a:pt x="340" y="134"/>
                      <a:pt x="335" y="130"/>
                      <a:pt x="329" y="126"/>
                    </a:cubicBezTo>
                    <a:cubicBezTo>
                      <a:pt x="328" y="125"/>
                      <a:pt x="326" y="124"/>
                      <a:pt x="324" y="122"/>
                    </a:cubicBezTo>
                    <a:cubicBezTo>
                      <a:pt x="320" y="119"/>
                      <a:pt x="316" y="116"/>
                      <a:pt x="312" y="113"/>
                    </a:cubicBezTo>
                    <a:cubicBezTo>
                      <a:pt x="310" y="112"/>
                      <a:pt x="308" y="110"/>
                      <a:pt x="306" y="109"/>
                    </a:cubicBezTo>
                    <a:cubicBezTo>
                      <a:pt x="302" y="106"/>
                      <a:pt x="298" y="103"/>
                      <a:pt x="293" y="101"/>
                    </a:cubicBezTo>
                    <a:cubicBezTo>
                      <a:pt x="291" y="99"/>
                      <a:pt x="289" y="98"/>
                      <a:pt x="287" y="97"/>
                    </a:cubicBezTo>
                    <a:cubicBezTo>
                      <a:pt x="283" y="94"/>
                      <a:pt x="279" y="91"/>
                      <a:pt x="275" y="89"/>
                    </a:cubicBezTo>
                    <a:cubicBezTo>
                      <a:pt x="273" y="87"/>
                      <a:pt x="271" y="86"/>
                      <a:pt x="268" y="85"/>
                    </a:cubicBezTo>
                    <a:cubicBezTo>
                      <a:pt x="264" y="82"/>
                      <a:pt x="259" y="80"/>
                      <a:pt x="255" y="77"/>
                    </a:cubicBezTo>
                    <a:cubicBezTo>
                      <a:pt x="253" y="76"/>
                      <a:pt x="251" y="75"/>
                      <a:pt x="249" y="74"/>
                    </a:cubicBezTo>
                    <a:cubicBezTo>
                      <a:pt x="237" y="67"/>
                      <a:pt x="224" y="61"/>
                      <a:pt x="211" y="55"/>
                    </a:cubicBezTo>
                    <a:cubicBezTo>
                      <a:pt x="211" y="55"/>
                      <a:pt x="211" y="55"/>
                      <a:pt x="211" y="55"/>
                    </a:cubicBezTo>
                    <a:cubicBezTo>
                      <a:pt x="147" y="25"/>
                      <a:pt x="77" y="6"/>
                      <a:pt x="4" y="0"/>
                    </a:cubicBezTo>
                    <a:cubicBezTo>
                      <a:pt x="4" y="0"/>
                      <a:pt x="4" y="0"/>
                      <a:pt x="4" y="0"/>
                    </a:cubicBezTo>
                    <a:cubicBezTo>
                      <a:pt x="25" y="36"/>
                      <a:pt x="25" y="36"/>
                      <a:pt x="25" y="36"/>
                    </a:cubicBezTo>
                    <a:cubicBezTo>
                      <a:pt x="25" y="36"/>
                      <a:pt x="25" y="36"/>
                      <a:pt x="25" y="36"/>
                    </a:cubicBezTo>
                    <a:cubicBezTo>
                      <a:pt x="25" y="36"/>
                      <a:pt x="25" y="36"/>
                      <a:pt x="25" y="36"/>
                    </a:cubicBezTo>
                    <a:cubicBezTo>
                      <a:pt x="0" y="68"/>
                      <a:pt x="0" y="68"/>
                      <a:pt x="0" y="68"/>
                    </a:cubicBezTo>
                    <a:cubicBezTo>
                      <a:pt x="72" y="74"/>
                      <a:pt x="140" y="94"/>
                      <a:pt x="201" y="126"/>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93" name="Freeform 93"/>
              <p:cNvSpPr>
                <a:spLocks/>
              </p:cNvSpPr>
              <p:nvPr userDrawn="1"/>
            </p:nvSpPr>
            <p:spPr bwMode="auto">
              <a:xfrm>
                <a:off x="2900" y="2281"/>
                <a:ext cx="1465" cy="1419"/>
              </a:xfrm>
              <a:custGeom>
                <a:avLst/>
                <a:gdLst>
                  <a:gd name="T0" fmla="*/ 493 w 619"/>
                  <a:gd name="T1" fmla="*/ 202 h 600"/>
                  <a:gd name="T2" fmla="*/ 488 w 619"/>
                  <a:gd name="T3" fmla="*/ 210 h 600"/>
                  <a:gd name="T4" fmla="*/ 484 w 619"/>
                  <a:gd name="T5" fmla="*/ 219 h 600"/>
                  <a:gd name="T6" fmla="*/ 479 w 619"/>
                  <a:gd name="T7" fmla="*/ 227 h 600"/>
                  <a:gd name="T8" fmla="*/ 474 w 619"/>
                  <a:gd name="T9" fmla="*/ 235 h 600"/>
                  <a:gd name="T10" fmla="*/ 469 w 619"/>
                  <a:gd name="T11" fmla="*/ 244 h 600"/>
                  <a:gd name="T12" fmla="*/ 464 w 619"/>
                  <a:gd name="T13" fmla="*/ 251 h 600"/>
                  <a:gd name="T14" fmla="*/ 458 w 619"/>
                  <a:gd name="T15" fmla="*/ 260 h 600"/>
                  <a:gd name="T16" fmla="*/ 453 w 619"/>
                  <a:gd name="T17" fmla="*/ 267 h 600"/>
                  <a:gd name="T18" fmla="*/ 447 w 619"/>
                  <a:gd name="T19" fmla="*/ 276 h 600"/>
                  <a:gd name="T20" fmla="*/ 443 w 619"/>
                  <a:gd name="T21" fmla="*/ 282 h 600"/>
                  <a:gd name="T22" fmla="*/ 58 w 619"/>
                  <a:gd name="T23" fmla="*/ 506 h 600"/>
                  <a:gd name="T24" fmla="*/ 56 w 619"/>
                  <a:gd name="T25" fmla="*/ 479 h 600"/>
                  <a:gd name="T26" fmla="*/ 0 w 619"/>
                  <a:gd name="T27" fmla="*/ 543 h 600"/>
                  <a:gd name="T28" fmla="*/ 65 w 619"/>
                  <a:gd name="T29" fmla="*/ 600 h 600"/>
                  <a:gd name="T30" fmla="*/ 63 w 619"/>
                  <a:gd name="T31" fmla="*/ 574 h 600"/>
                  <a:gd name="T32" fmla="*/ 479 w 619"/>
                  <a:gd name="T33" fmla="*/ 347 h 600"/>
                  <a:gd name="T34" fmla="*/ 479 w 619"/>
                  <a:gd name="T35" fmla="*/ 347 h 600"/>
                  <a:gd name="T36" fmla="*/ 479 w 619"/>
                  <a:gd name="T37" fmla="*/ 346 h 600"/>
                  <a:gd name="T38" fmla="*/ 492 w 619"/>
                  <a:gd name="T39" fmla="*/ 330 h 600"/>
                  <a:gd name="T40" fmla="*/ 496 w 619"/>
                  <a:gd name="T41" fmla="*/ 325 h 600"/>
                  <a:gd name="T42" fmla="*/ 505 w 619"/>
                  <a:gd name="T43" fmla="*/ 312 h 600"/>
                  <a:gd name="T44" fmla="*/ 509 w 619"/>
                  <a:gd name="T45" fmla="*/ 306 h 600"/>
                  <a:gd name="T46" fmla="*/ 517 w 619"/>
                  <a:gd name="T47" fmla="*/ 294 h 600"/>
                  <a:gd name="T48" fmla="*/ 522 w 619"/>
                  <a:gd name="T49" fmla="*/ 288 h 600"/>
                  <a:gd name="T50" fmla="*/ 529 w 619"/>
                  <a:gd name="T51" fmla="*/ 275 h 600"/>
                  <a:gd name="T52" fmla="*/ 533 w 619"/>
                  <a:gd name="T53" fmla="*/ 269 h 600"/>
                  <a:gd name="T54" fmla="*/ 541 w 619"/>
                  <a:gd name="T55" fmla="*/ 255 h 600"/>
                  <a:gd name="T56" fmla="*/ 544 w 619"/>
                  <a:gd name="T57" fmla="*/ 250 h 600"/>
                  <a:gd name="T58" fmla="*/ 563 w 619"/>
                  <a:gd name="T59" fmla="*/ 212 h 600"/>
                  <a:gd name="T60" fmla="*/ 563 w 619"/>
                  <a:gd name="T61" fmla="*/ 212 h 600"/>
                  <a:gd name="T62" fmla="*/ 619 w 619"/>
                  <a:gd name="T63" fmla="*/ 4 h 600"/>
                  <a:gd name="T64" fmla="*/ 618 w 619"/>
                  <a:gd name="T65" fmla="*/ 4 h 600"/>
                  <a:gd name="T66" fmla="*/ 582 w 619"/>
                  <a:gd name="T67" fmla="*/ 25 h 600"/>
                  <a:gd name="T68" fmla="*/ 582 w 619"/>
                  <a:gd name="T69" fmla="*/ 25 h 600"/>
                  <a:gd name="T70" fmla="*/ 582 w 619"/>
                  <a:gd name="T71" fmla="*/ 25 h 600"/>
                  <a:gd name="T72" fmla="*/ 551 w 619"/>
                  <a:gd name="T73" fmla="*/ 0 h 600"/>
                  <a:gd name="T74" fmla="*/ 493 w 619"/>
                  <a:gd name="T75" fmla="*/ 20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9" h="600">
                    <a:moveTo>
                      <a:pt x="493" y="202"/>
                    </a:moveTo>
                    <a:cubicBezTo>
                      <a:pt x="491" y="204"/>
                      <a:pt x="490" y="207"/>
                      <a:pt x="488" y="210"/>
                    </a:cubicBezTo>
                    <a:cubicBezTo>
                      <a:pt x="487" y="213"/>
                      <a:pt x="485" y="216"/>
                      <a:pt x="484" y="219"/>
                    </a:cubicBezTo>
                    <a:cubicBezTo>
                      <a:pt x="482" y="221"/>
                      <a:pt x="480" y="224"/>
                      <a:pt x="479" y="227"/>
                    </a:cubicBezTo>
                    <a:cubicBezTo>
                      <a:pt x="477" y="230"/>
                      <a:pt x="476" y="232"/>
                      <a:pt x="474" y="235"/>
                    </a:cubicBezTo>
                    <a:cubicBezTo>
                      <a:pt x="472" y="238"/>
                      <a:pt x="470" y="241"/>
                      <a:pt x="469" y="244"/>
                    </a:cubicBezTo>
                    <a:cubicBezTo>
                      <a:pt x="467" y="246"/>
                      <a:pt x="466" y="249"/>
                      <a:pt x="464" y="251"/>
                    </a:cubicBezTo>
                    <a:cubicBezTo>
                      <a:pt x="462" y="254"/>
                      <a:pt x="460" y="257"/>
                      <a:pt x="458" y="260"/>
                    </a:cubicBezTo>
                    <a:cubicBezTo>
                      <a:pt x="457" y="262"/>
                      <a:pt x="455" y="265"/>
                      <a:pt x="453" y="267"/>
                    </a:cubicBezTo>
                    <a:cubicBezTo>
                      <a:pt x="451" y="270"/>
                      <a:pt x="449" y="273"/>
                      <a:pt x="447" y="276"/>
                    </a:cubicBezTo>
                    <a:cubicBezTo>
                      <a:pt x="446" y="278"/>
                      <a:pt x="444" y="280"/>
                      <a:pt x="443" y="282"/>
                    </a:cubicBezTo>
                    <a:cubicBezTo>
                      <a:pt x="353" y="403"/>
                      <a:pt x="215" y="487"/>
                      <a:pt x="58" y="506"/>
                    </a:cubicBezTo>
                    <a:cubicBezTo>
                      <a:pt x="56" y="479"/>
                      <a:pt x="56" y="479"/>
                      <a:pt x="56" y="479"/>
                    </a:cubicBezTo>
                    <a:cubicBezTo>
                      <a:pt x="0" y="543"/>
                      <a:pt x="0" y="543"/>
                      <a:pt x="0" y="543"/>
                    </a:cubicBezTo>
                    <a:cubicBezTo>
                      <a:pt x="65" y="600"/>
                      <a:pt x="65" y="600"/>
                      <a:pt x="65" y="600"/>
                    </a:cubicBezTo>
                    <a:cubicBezTo>
                      <a:pt x="63" y="574"/>
                      <a:pt x="63" y="574"/>
                      <a:pt x="63" y="574"/>
                    </a:cubicBezTo>
                    <a:cubicBezTo>
                      <a:pt x="230" y="555"/>
                      <a:pt x="377" y="470"/>
                      <a:pt x="479" y="347"/>
                    </a:cubicBezTo>
                    <a:cubicBezTo>
                      <a:pt x="479" y="347"/>
                      <a:pt x="479" y="347"/>
                      <a:pt x="479" y="347"/>
                    </a:cubicBezTo>
                    <a:cubicBezTo>
                      <a:pt x="479" y="346"/>
                      <a:pt x="479" y="346"/>
                      <a:pt x="479" y="346"/>
                    </a:cubicBezTo>
                    <a:cubicBezTo>
                      <a:pt x="484" y="340"/>
                      <a:pt x="488" y="335"/>
                      <a:pt x="492" y="330"/>
                    </a:cubicBezTo>
                    <a:cubicBezTo>
                      <a:pt x="493" y="328"/>
                      <a:pt x="495" y="326"/>
                      <a:pt x="496" y="325"/>
                    </a:cubicBezTo>
                    <a:cubicBezTo>
                      <a:pt x="499" y="321"/>
                      <a:pt x="502" y="316"/>
                      <a:pt x="505" y="312"/>
                    </a:cubicBezTo>
                    <a:cubicBezTo>
                      <a:pt x="506" y="310"/>
                      <a:pt x="508" y="308"/>
                      <a:pt x="509" y="306"/>
                    </a:cubicBezTo>
                    <a:cubicBezTo>
                      <a:pt x="512" y="302"/>
                      <a:pt x="515" y="298"/>
                      <a:pt x="517" y="294"/>
                    </a:cubicBezTo>
                    <a:cubicBezTo>
                      <a:pt x="519" y="292"/>
                      <a:pt x="520" y="290"/>
                      <a:pt x="522" y="288"/>
                    </a:cubicBezTo>
                    <a:cubicBezTo>
                      <a:pt x="524" y="283"/>
                      <a:pt x="527" y="279"/>
                      <a:pt x="529" y="275"/>
                    </a:cubicBezTo>
                    <a:cubicBezTo>
                      <a:pt x="531" y="273"/>
                      <a:pt x="532" y="271"/>
                      <a:pt x="533" y="269"/>
                    </a:cubicBezTo>
                    <a:cubicBezTo>
                      <a:pt x="536" y="264"/>
                      <a:pt x="539" y="260"/>
                      <a:pt x="541" y="255"/>
                    </a:cubicBezTo>
                    <a:cubicBezTo>
                      <a:pt x="542" y="253"/>
                      <a:pt x="543" y="251"/>
                      <a:pt x="544" y="250"/>
                    </a:cubicBezTo>
                    <a:cubicBezTo>
                      <a:pt x="551" y="237"/>
                      <a:pt x="557" y="225"/>
                      <a:pt x="563" y="212"/>
                    </a:cubicBezTo>
                    <a:cubicBezTo>
                      <a:pt x="563" y="212"/>
                      <a:pt x="563" y="212"/>
                      <a:pt x="563" y="212"/>
                    </a:cubicBezTo>
                    <a:cubicBezTo>
                      <a:pt x="593" y="148"/>
                      <a:pt x="612" y="78"/>
                      <a:pt x="619" y="4"/>
                    </a:cubicBezTo>
                    <a:cubicBezTo>
                      <a:pt x="618" y="4"/>
                      <a:pt x="618" y="4"/>
                      <a:pt x="618" y="4"/>
                    </a:cubicBezTo>
                    <a:cubicBezTo>
                      <a:pt x="582" y="25"/>
                      <a:pt x="582" y="25"/>
                      <a:pt x="582" y="25"/>
                    </a:cubicBezTo>
                    <a:cubicBezTo>
                      <a:pt x="582" y="25"/>
                      <a:pt x="582" y="25"/>
                      <a:pt x="582" y="25"/>
                    </a:cubicBezTo>
                    <a:cubicBezTo>
                      <a:pt x="582" y="25"/>
                      <a:pt x="582" y="25"/>
                      <a:pt x="582" y="25"/>
                    </a:cubicBezTo>
                    <a:cubicBezTo>
                      <a:pt x="551" y="0"/>
                      <a:pt x="551" y="0"/>
                      <a:pt x="551" y="0"/>
                    </a:cubicBezTo>
                    <a:cubicBezTo>
                      <a:pt x="544" y="72"/>
                      <a:pt x="524" y="140"/>
                      <a:pt x="493" y="202"/>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grpSp>
        <p:sp>
          <p:nvSpPr>
            <p:cNvPr id="186" name="TekstSylinder 221"/>
            <p:cNvSpPr txBox="1"/>
            <p:nvPr userDrawn="1"/>
          </p:nvSpPr>
          <p:spPr>
            <a:xfrm rot="18909079">
              <a:off x="1949529" y="1369586"/>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1</a:t>
              </a:r>
              <a:endParaRPr lang="en-GB" sz="794" b="1" cap="all" dirty="0"/>
            </a:p>
          </p:txBody>
        </p:sp>
        <p:sp>
          <p:nvSpPr>
            <p:cNvPr id="187" name="TekstSylinder 227"/>
            <p:cNvSpPr txBox="1"/>
            <p:nvPr userDrawn="1"/>
          </p:nvSpPr>
          <p:spPr>
            <a:xfrm rot="2908214">
              <a:off x="4483420" y="1466245"/>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2</a:t>
              </a:r>
              <a:endParaRPr lang="en-GB" sz="794" b="1" cap="all" dirty="0"/>
            </a:p>
          </p:txBody>
        </p:sp>
        <p:sp>
          <p:nvSpPr>
            <p:cNvPr id="188" name="TekstSylinder 234"/>
            <p:cNvSpPr txBox="1"/>
            <p:nvPr userDrawn="1"/>
          </p:nvSpPr>
          <p:spPr>
            <a:xfrm rot="8153325">
              <a:off x="4432189" y="3817742"/>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3</a:t>
              </a:r>
              <a:endParaRPr lang="en-GB" sz="794" b="1" cap="all" dirty="0"/>
            </a:p>
          </p:txBody>
        </p:sp>
        <p:sp>
          <p:nvSpPr>
            <p:cNvPr id="189" name="TekstSylinder 242"/>
            <p:cNvSpPr txBox="1"/>
            <p:nvPr userDrawn="1"/>
          </p:nvSpPr>
          <p:spPr>
            <a:xfrm rot="13545459">
              <a:off x="1982187" y="3897048"/>
              <a:ext cx="3047842" cy="1618517"/>
            </a:xfrm>
            <a:prstGeom prst="rect">
              <a:avLst/>
            </a:prstGeom>
            <a:noFill/>
          </p:spPr>
          <p:txBody>
            <a:bodyPr spcFirstLastPara="1" wrap="none" lIns="0" tIns="0" rIns="0" bIns="0" numCol="1" rtlCol="0">
              <a:prstTxWarp prst="textArchUp">
                <a:avLst>
                  <a:gd name="adj" fmla="val 11054663"/>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t>Argument 4</a:t>
              </a:r>
              <a:endParaRPr lang="en-GB" sz="794" b="1" cap="all" dirty="0"/>
            </a:p>
          </p:txBody>
        </p:sp>
      </p:grpSp>
      <p:grpSp>
        <p:nvGrpSpPr>
          <p:cNvPr id="171" name="prosses1" hidden="1"/>
          <p:cNvGrpSpPr/>
          <p:nvPr userDrawn="1"/>
        </p:nvGrpSpPr>
        <p:grpSpPr>
          <a:xfrm>
            <a:off x="3213895" y="1200715"/>
            <a:ext cx="2717801" cy="2707147"/>
            <a:chOff x="1865313" y="727076"/>
            <a:chExt cx="5435600" cy="5411787"/>
          </a:xfrm>
        </p:grpSpPr>
        <p:grpSp>
          <p:nvGrpSpPr>
            <p:cNvPr id="172" name="prosses1"/>
            <p:cNvGrpSpPr/>
            <p:nvPr userDrawn="1"/>
          </p:nvGrpSpPr>
          <p:grpSpPr>
            <a:xfrm>
              <a:off x="1865313" y="727076"/>
              <a:ext cx="5435600" cy="5411787"/>
              <a:chOff x="1865313" y="727076"/>
              <a:chExt cx="5435600" cy="5411787"/>
            </a:xfrm>
          </p:grpSpPr>
          <p:sp>
            <p:nvSpPr>
              <p:cNvPr id="178" name="Freeform 5"/>
              <p:cNvSpPr>
                <a:spLocks/>
              </p:cNvSpPr>
              <p:nvPr userDrawn="1"/>
            </p:nvSpPr>
            <p:spPr bwMode="auto">
              <a:xfrm>
                <a:off x="1865313" y="2014538"/>
                <a:ext cx="1319213" cy="3095625"/>
              </a:xfrm>
              <a:custGeom>
                <a:avLst/>
                <a:gdLst>
                  <a:gd name="T0" fmla="*/ 249 w 351"/>
                  <a:gd name="T1" fmla="*/ 378 h 824"/>
                  <a:gd name="T2" fmla="*/ 312 w 351"/>
                  <a:gd name="T3" fmla="*/ 142 h 824"/>
                  <a:gd name="T4" fmla="*/ 235 w 351"/>
                  <a:gd name="T5" fmla="*/ 31 h 824"/>
                  <a:gd name="T6" fmla="*/ 235 w 351"/>
                  <a:gd name="T7" fmla="*/ 31 h 824"/>
                  <a:gd name="T8" fmla="*/ 106 w 351"/>
                  <a:gd name="T9" fmla="*/ 0 h 824"/>
                  <a:gd name="T10" fmla="*/ 0 w 351"/>
                  <a:gd name="T11" fmla="*/ 378 h 824"/>
                  <a:gd name="T12" fmla="*/ 154 w 351"/>
                  <a:gd name="T13" fmla="*/ 824 h 824"/>
                  <a:gd name="T14" fmla="*/ 222 w 351"/>
                  <a:gd name="T15" fmla="*/ 711 h 824"/>
                  <a:gd name="T16" fmla="*/ 226 w 351"/>
                  <a:gd name="T17" fmla="*/ 710 h 824"/>
                  <a:gd name="T18" fmla="*/ 351 w 351"/>
                  <a:gd name="T19" fmla="*/ 671 h 824"/>
                  <a:gd name="T20" fmla="*/ 249 w 351"/>
                  <a:gd name="T21" fmla="*/ 378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824">
                    <a:moveTo>
                      <a:pt x="249" y="378"/>
                    </a:moveTo>
                    <a:cubicBezTo>
                      <a:pt x="249" y="293"/>
                      <a:pt x="271" y="213"/>
                      <a:pt x="312" y="142"/>
                    </a:cubicBezTo>
                    <a:cubicBezTo>
                      <a:pt x="235" y="31"/>
                      <a:pt x="235" y="31"/>
                      <a:pt x="235" y="31"/>
                    </a:cubicBezTo>
                    <a:cubicBezTo>
                      <a:pt x="235" y="31"/>
                      <a:pt x="235" y="31"/>
                      <a:pt x="235" y="31"/>
                    </a:cubicBezTo>
                    <a:cubicBezTo>
                      <a:pt x="106" y="0"/>
                      <a:pt x="106" y="0"/>
                      <a:pt x="106" y="0"/>
                    </a:cubicBezTo>
                    <a:cubicBezTo>
                      <a:pt x="37" y="113"/>
                      <a:pt x="0" y="242"/>
                      <a:pt x="0" y="378"/>
                    </a:cubicBezTo>
                    <a:cubicBezTo>
                      <a:pt x="0" y="541"/>
                      <a:pt x="54" y="697"/>
                      <a:pt x="154" y="824"/>
                    </a:cubicBezTo>
                    <a:cubicBezTo>
                      <a:pt x="222" y="711"/>
                      <a:pt x="222" y="711"/>
                      <a:pt x="222" y="711"/>
                    </a:cubicBezTo>
                    <a:cubicBezTo>
                      <a:pt x="226" y="710"/>
                      <a:pt x="226" y="710"/>
                      <a:pt x="226" y="710"/>
                    </a:cubicBezTo>
                    <a:cubicBezTo>
                      <a:pt x="351" y="671"/>
                      <a:pt x="351" y="671"/>
                      <a:pt x="351" y="671"/>
                    </a:cubicBezTo>
                    <a:cubicBezTo>
                      <a:pt x="285" y="588"/>
                      <a:pt x="249" y="485"/>
                      <a:pt x="249" y="378"/>
                    </a:cubicBezTo>
                    <a:close/>
                  </a:path>
                </a:pathLst>
              </a:custGeom>
              <a:solidFill>
                <a:srgbClr val="EF6C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79" name="Freeform 6"/>
              <p:cNvSpPr>
                <a:spLocks/>
              </p:cNvSpPr>
              <p:nvPr userDrawn="1"/>
            </p:nvSpPr>
            <p:spPr bwMode="auto">
              <a:xfrm>
                <a:off x="5287963" y="3340101"/>
                <a:ext cx="2012950" cy="2592388"/>
              </a:xfrm>
              <a:custGeom>
                <a:avLst/>
                <a:gdLst>
                  <a:gd name="T0" fmla="*/ 530 w 536"/>
                  <a:gd name="T1" fmla="*/ 0 h 690"/>
                  <a:gd name="T2" fmla="*/ 407 w 536"/>
                  <a:gd name="T3" fmla="*/ 50 h 690"/>
                  <a:gd name="T4" fmla="*/ 405 w 536"/>
                  <a:gd name="T5" fmla="*/ 50 h 690"/>
                  <a:gd name="T6" fmla="*/ 280 w 536"/>
                  <a:gd name="T7" fmla="*/ 6 h 690"/>
                  <a:gd name="T8" fmla="*/ 143 w 536"/>
                  <a:gd name="T9" fmla="*/ 358 h 690"/>
                  <a:gd name="T10" fmla="*/ 1 w 536"/>
                  <a:gd name="T11" fmla="*/ 455 h 690"/>
                  <a:gd name="T12" fmla="*/ 0 w 536"/>
                  <a:gd name="T13" fmla="*/ 587 h 690"/>
                  <a:gd name="T14" fmla="*/ 1 w 536"/>
                  <a:gd name="T15" fmla="*/ 589 h 690"/>
                  <a:gd name="T16" fmla="*/ 88 w 536"/>
                  <a:gd name="T17" fmla="*/ 690 h 690"/>
                  <a:gd name="T18" fmla="*/ 319 w 536"/>
                  <a:gd name="T19" fmla="*/ 534 h 690"/>
                  <a:gd name="T20" fmla="*/ 530 w 536"/>
                  <a:gd name="T21"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6" h="690">
                    <a:moveTo>
                      <a:pt x="530" y="0"/>
                    </a:moveTo>
                    <a:cubicBezTo>
                      <a:pt x="407" y="50"/>
                      <a:pt x="407" y="50"/>
                      <a:pt x="407" y="50"/>
                    </a:cubicBezTo>
                    <a:cubicBezTo>
                      <a:pt x="405" y="50"/>
                      <a:pt x="405" y="50"/>
                      <a:pt x="405" y="50"/>
                    </a:cubicBezTo>
                    <a:cubicBezTo>
                      <a:pt x="280" y="6"/>
                      <a:pt x="280" y="6"/>
                      <a:pt x="280" y="6"/>
                    </a:cubicBezTo>
                    <a:cubicBezTo>
                      <a:pt x="285" y="133"/>
                      <a:pt x="239" y="261"/>
                      <a:pt x="143" y="358"/>
                    </a:cubicBezTo>
                    <a:cubicBezTo>
                      <a:pt x="101" y="399"/>
                      <a:pt x="53" y="432"/>
                      <a:pt x="1" y="455"/>
                    </a:cubicBezTo>
                    <a:cubicBezTo>
                      <a:pt x="0" y="587"/>
                      <a:pt x="0" y="587"/>
                      <a:pt x="0" y="587"/>
                    </a:cubicBezTo>
                    <a:cubicBezTo>
                      <a:pt x="1" y="589"/>
                      <a:pt x="1" y="589"/>
                      <a:pt x="1" y="589"/>
                    </a:cubicBezTo>
                    <a:cubicBezTo>
                      <a:pt x="88" y="690"/>
                      <a:pt x="88" y="690"/>
                      <a:pt x="88" y="690"/>
                    </a:cubicBezTo>
                    <a:cubicBezTo>
                      <a:pt x="174" y="654"/>
                      <a:pt x="252" y="602"/>
                      <a:pt x="319" y="534"/>
                    </a:cubicBezTo>
                    <a:cubicBezTo>
                      <a:pt x="466" y="387"/>
                      <a:pt x="536" y="192"/>
                      <a:pt x="530" y="0"/>
                    </a:cubicBezTo>
                    <a:close/>
                  </a:path>
                </a:pathLst>
              </a:custGeom>
              <a:solidFill>
                <a:srgbClr val="94D1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0" name="Freeform 7"/>
              <p:cNvSpPr>
                <a:spLocks/>
              </p:cNvSpPr>
              <p:nvPr userDrawn="1"/>
            </p:nvSpPr>
            <p:spPr bwMode="auto">
              <a:xfrm>
                <a:off x="5051426" y="827088"/>
                <a:ext cx="2219325" cy="2589213"/>
              </a:xfrm>
              <a:custGeom>
                <a:avLst/>
                <a:gdLst>
                  <a:gd name="T0" fmla="*/ 382 w 591"/>
                  <a:gd name="T1" fmla="*/ 184 h 689"/>
                  <a:gd name="T2" fmla="*/ 71 w 591"/>
                  <a:gd name="T3" fmla="*/ 0 h 689"/>
                  <a:gd name="T4" fmla="*/ 81 w 591"/>
                  <a:gd name="T5" fmla="*/ 133 h 689"/>
                  <a:gd name="T6" fmla="*/ 80 w 591"/>
                  <a:gd name="T7" fmla="*/ 135 h 689"/>
                  <a:gd name="T8" fmla="*/ 0 w 591"/>
                  <a:gd name="T9" fmla="*/ 240 h 689"/>
                  <a:gd name="T10" fmla="*/ 206 w 591"/>
                  <a:gd name="T11" fmla="*/ 360 h 689"/>
                  <a:gd name="T12" fmla="*/ 341 w 591"/>
                  <a:gd name="T13" fmla="*/ 644 h 689"/>
                  <a:gd name="T14" fmla="*/ 469 w 591"/>
                  <a:gd name="T15" fmla="*/ 689 h 689"/>
                  <a:gd name="T16" fmla="*/ 469 w 591"/>
                  <a:gd name="T17" fmla="*/ 689 h 689"/>
                  <a:gd name="T18" fmla="*/ 591 w 591"/>
                  <a:gd name="T19" fmla="*/ 639 h 689"/>
                  <a:gd name="T20" fmla="*/ 382 w 591"/>
                  <a:gd name="T21" fmla="*/ 184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1" h="689">
                    <a:moveTo>
                      <a:pt x="382" y="184"/>
                    </a:moveTo>
                    <a:cubicBezTo>
                      <a:pt x="294" y="96"/>
                      <a:pt x="187" y="33"/>
                      <a:pt x="71" y="0"/>
                    </a:cubicBezTo>
                    <a:cubicBezTo>
                      <a:pt x="81" y="133"/>
                      <a:pt x="81" y="133"/>
                      <a:pt x="81" y="133"/>
                    </a:cubicBezTo>
                    <a:cubicBezTo>
                      <a:pt x="80" y="135"/>
                      <a:pt x="80" y="135"/>
                      <a:pt x="80" y="135"/>
                    </a:cubicBezTo>
                    <a:cubicBezTo>
                      <a:pt x="0" y="240"/>
                      <a:pt x="0" y="240"/>
                      <a:pt x="0" y="240"/>
                    </a:cubicBezTo>
                    <a:cubicBezTo>
                      <a:pt x="77" y="261"/>
                      <a:pt x="148" y="302"/>
                      <a:pt x="206" y="360"/>
                    </a:cubicBezTo>
                    <a:cubicBezTo>
                      <a:pt x="285" y="440"/>
                      <a:pt x="330" y="541"/>
                      <a:pt x="341" y="644"/>
                    </a:cubicBezTo>
                    <a:cubicBezTo>
                      <a:pt x="469" y="689"/>
                      <a:pt x="469" y="689"/>
                      <a:pt x="469" y="689"/>
                    </a:cubicBezTo>
                    <a:cubicBezTo>
                      <a:pt x="469" y="689"/>
                      <a:pt x="469" y="689"/>
                      <a:pt x="469" y="689"/>
                    </a:cubicBezTo>
                    <a:cubicBezTo>
                      <a:pt x="591" y="639"/>
                      <a:pt x="591" y="639"/>
                      <a:pt x="591" y="639"/>
                    </a:cubicBezTo>
                    <a:cubicBezTo>
                      <a:pt x="578" y="473"/>
                      <a:pt x="509" y="310"/>
                      <a:pt x="382" y="184"/>
                    </a:cubicBezTo>
                    <a:close/>
                  </a:path>
                </a:pathLst>
              </a:custGeom>
              <a:solidFill>
                <a:srgbClr val="F1AD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1" name="Freeform 8"/>
              <p:cNvSpPr>
                <a:spLocks/>
              </p:cNvSpPr>
              <p:nvPr userDrawn="1"/>
            </p:nvSpPr>
            <p:spPr bwMode="auto">
              <a:xfrm>
                <a:off x="2324101" y="727076"/>
                <a:ext cx="2922588" cy="1724025"/>
              </a:xfrm>
              <a:custGeom>
                <a:avLst/>
                <a:gdLst>
                  <a:gd name="T0" fmla="*/ 767 w 778"/>
                  <a:gd name="T1" fmla="*/ 20 h 459"/>
                  <a:gd name="T2" fmla="*/ 599 w 778"/>
                  <a:gd name="T3" fmla="*/ 0 h 459"/>
                  <a:gd name="T4" fmla="*/ 89 w 778"/>
                  <a:gd name="T5" fmla="*/ 211 h 459"/>
                  <a:gd name="T6" fmla="*/ 0 w 778"/>
                  <a:gd name="T7" fmla="*/ 318 h 459"/>
                  <a:gd name="T8" fmla="*/ 130 w 778"/>
                  <a:gd name="T9" fmla="*/ 349 h 459"/>
                  <a:gd name="T10" fmla="*/ 131 w 778"/>
                  <a:gd name="T11" fmla="*/ 350 h 459"/>
                  <a:gd name="T12" fmla="*/ 207 w 778"/>
                  <a:gd name="T13" fmla="*/ 459 h 459"/>
                  <a:gd name="T14" fmla="*/ 265 w 778"/>
                  <a:gd name="T15" fmla="*/ 387 h 459"/>
                  <a:gd name="T16" fmla="*/ 599 w 778"/>
                  <a:gd name="T17" fmla="*/ 249 h 459"/>
                  <a:gd name="T18" fmla="*/ 696 w 778"/>
                  <a:gd name="T19" fmla="*/ 259 h 459"/>
                  <a:gd name="T20" fmla="*/ 778 w 778"/>
                  <a:gd name="T21" fmla="*/ 152 h 459"/>
                  <a:gd name="T22" fmla="*/ 778 w 778"/>
                  <a:gd name="T23" fmla="*/ 152 h 459"/>
                  <a:gd name="T24" fmla="*/ 767 w 778"/>
                  <a:gd name="T25" fmla="*/ 2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8" h="459">
                    <a:moveTo>
                      <a:pt x="767" y="20"/>
                    </a:moveTo>
                    <a:cubicBezTo>
                      <a:pt x="713" y="6"/>
                      <a:pt x="656" y="0"/>
                      <a:pt x="599" y="0"/>
                    </a:cubicBezTo>
                    <a:cubicBezTo>
                      <a:pt x="406" y="0"/>
                      <a:pt x="225" y="75"/>
                      <a:pt x="89" y="211"/>
                    </a:cubicBezTo>
                    <a:cubicBezTo>
                      <a:pt x="56" y="244"/>
                      <a:pt x="26" y="280"/>
                      <a:pt x="0" y="318"/>
                    </a:cubicBezTo>
                    <a:cubicBezTo>
                      <a:pt x="130" y="349"/>
                      <a:pt x="130" y="349"/>
                      <a:pt x="130" y="349"/>
                    </a:cubicBezTo>
                    <a:cubicBezTo>
                      <a:pt x="131" y="350"/>
                      <a:pt x="131" y="350"/>
                      <a:pt x="131" y="350"/>
                    </a:cubicBezTo>
                    <a:cubicBezTo>
                      <a:pt x="207" y="459"/>
                      <a:pt x="207" y="459"/>
                      <a:pt x="207" y="459"/>
                    </a:cubicBezTo>
                    <a:cubicBezTo>
                      <a:pt x="224" y="433"/>
                      <a:pt x="243" y="409"/>
                      <a:pt x="265" y="387"/>
                    </a:cubicBezTo>
                    <a:cubicBezTo>
                      <a:pt x="354" y="298"/>
                      <a:pt x="473" y="249"/>
                      <a:pt x="599" y="249"/>
                    </a:cubicBezTo>
                    <a:cubicBezTo>
                      <a:pt x="632" y="249"/>
                      <a:pt x="665" y="253"/>
                      <a:pt x="696" y="259"/>
                    </a:cubicBezTo>
                    <a:cubicBezTo>
                      <a:pt x="778" y="152"/>
                      <a:pt x="778" y="152"/>
                      <a:pt x="778" y="152"/>
                    </a:cubicBezTo>
                    <a:cubicBezTo>
                      <a:pt x="778" y="152"/>
                      <a:pt x="778" y="152"/>
                      <a:pt x="778" y="152"/>
                    </a:cubicBezTo>
                    <a:lnTo>
                      <a:pt x="767" y="20"/>
                    </a:lnTo>
                    <a:close/>
                  </a:path>
                </a:pathLst>
              </a:custGeom>
              <a:solidFill>
                <a:srgbClr val="743E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2" name="Freeform 9"/>
              <p:cNvSpPr>
                <a:spLocks/>
              </p:cNvSpPr>
              <p:nvPr userDrawn="1"/>
            </p:nvSpPr>
            <p:spPr bwMode="auto">
              <a:xfrm>
                <a:off x="2514601" y="4621213"/>
                <a:ext cx="2998788" cy="1517650"/>
              </a:xfrm>
              <a:custGeom>
                <a:avLst/>
                <a:gdLst>
                  <a:gd name="T0" fmla="*/ 709 w 798"/>
                  <a:gd name="T1" fmla="*/ 257 h 404"/>
                  <a:gd name="T2" fmla="*/ 709 w 798"/>
                  <a:gd name="T3" fmla="*/ 257 h 404"/>
                  <a:gd name="T4" fmla="*/ 711 w 798"/>
                  <a:gd name="T5" fmla="*/ 126 h 404"/>
                  <a:gd name="T6" fmla="*/ 548 w 798"/>
                  <a:gd name="T7" fmla="*/ 155 h 404"/>
                  <a:gd name="T8" fmla="*/ 214 w 798"/>
                  <a:gd name="T9" fmla="*/ 17 h 404"/>
                  <a:gd name="T10" fmla="*/ 198 w 798"/>
                  <a:gd name="T11" fmla="*/ 0 h 404"/>
                  <a:gd name="T12" fmla="*/ 70 w 798"/>
                  <a:gd name="T13" fmla="*/ 40 h 404"/>
                  <a:gd name="T14" fmla="*/ 68 w 798"/>
                  <a:gd name="T15" fmla="*/ 41 h 404"/>
                  <a:gd name="T16" fmla="*/ 0 w 798"/>
                  <a:gd name="T17" fmla="*/ 153 h 404"/>
                  <a:gd name="T18" fmla="*/ 38 w 798"/>
                  <a:gd name="T19" fmla="*/ 193 h 404"/>
                  <a:gd name="T20" fmla="*/ 548 w 798"/>
                  <a:gd name="T21" fmla="*/ 404 h 404"/>
                  <a:gd name="T22" fmla="*/ 798 w 798"/>
                  <a:gd name="T23" fmla="*/ 360 h 404"/>
                  <a:gd name="T24" fmla="*/ 709 w 798"/>
                  <a:gd name="T25" fmla="*/ 25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98" h="404">
                    <a:moveTo>
                      <a:pt x="709" y="257"/>
                    </a:moveTo>
                    <a:cubicBezTo>
                      <a:pt x="709" y="257"/>
                      <a:pt x="709" y="257"/>
                      <a:pt x="709" y="257"/>
                    </a:cubicBezTo>
                    <a:cubicBezTo>
                      <a:pt x="711" y="126"/>
                      <a:pt x="711" y="126"/>
                      <a:pt x="711" y="126"/>
                    </a:cubicBezTo>
                    <a:cubicBezTo>
                      <a:pt x="659" y="145"/>
                      <a:pt x="604" y="155"/>
                      <a:pt x="548" y="155"/>
                    </a:cubicBezTo>
                    <a:cubicBezTo>
                      <a:pt x="422" y="155"/>
                      <a:pt x="303" y="106"/>
                      <a:pt x="214" y="17"/>
                    </a:cubicBezTo>
                    <a:cubicBezTo>
                      <a:pt x="209" y="11"/>
                      <a:pt x="203" y="6"/>
                      <a:pt x="198" y="0"/>
                    </a:cubicBezTo>
                    <a:cubicBezTo>
                      <a:pt x="70" y="40"/>
                      <a:pt x="70" y="40"/>
                      <a:pt x="70" y="40"/>
                    </a:cubicBezTo>
                    <a:cubicBezTo>
                      <a:pt x="68" y="41"/>
                      <a:pt x="68" y="41"/>
                      <a:pt x="68" y="41"/>
                    </a:cubicBezTo>
                    <a:cubicBezTo>
                      <a:pt x="0" y="153"/>
                      <a:pt x="0" y="153"/>
                      <a:pt x="0" y="153"/>
                    </a:cubicBezTo>
                    <a:cubicBezTo>
                      <a:pt x="12" y="167"/>
                      <a:pt x="25" y="180"/>
                      <a:pt x="38" y="193"/>
                    </a:cubicBezTo>
                    <a:cubicBezTo>
                      <a:pt x="174" y="329"/>
                      <a:pt x="355" y="404"/>
                      <a:pt x="548" y="404"/>
                    </a:cubicBezTo>
                    <a:cubicBezTo>
                      <a:pt x="635" y="404"/>
                      <a:pt x="719" y="389"/>
                      <a:pt x="798" y="360"/>
                    </a:cubicBezTo>
                    <a:lnTo>
                      <a:pt x="709" y="257"/>
                    </a:lnTo>
                    <a:close/>
                  </a:path>
                </a:pathLst>
              </a:custGeom>
              <a:solidFill>
                <a:srgbClr val="BF787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endParaRPr lang="en-GB" sz="894" dirty="0"/>
              </a:p>
            </p:txBody>
          </p:sp>
          <p:sp>
            <p:nvSpPr>
              <p:cNvPr id="183" name="Rectangle 56"/>
              <p:cNvSpPr>
                <a:spLocks noChangeArrowheads="1"/>
              </p:cNvSpPr>
              <p:nvPr userDrawn="1"/>
            </p:nvSpPr>
            <p:spPr bwMode="auto">
              <a:xfrm>
                <a:off x="4152901" y="2884488"/>
                <a:ext cx="82086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lnSpcReduction="10000"/>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defTabSz="454011" eaLnBrk="0" fontAlgn="base" hangingPunct="0">
                  <a:spcBef>
                    <a:spcPct val="0"/>
                  </a:spcBef>
                  <a:spcAft>
                    <a:spcPct val="0"/>
                  </a:spcAft>
                </a:pPr>
                <a:r>
                  <a:rPr lang="en-US" altLang="en-US" sz="1390" b="1" dirty="0">
                    <a:solidFill>
                      <a:srgbClr val="010101"/>
                    </a:solidFill>
                    <a:latin typeface="Arial" panose="020B0604020202020204" pitchFamily="34" charset="0"/>
                  </a:rPr>
                  <a:t>Tittel</a:t>
                </a:r>
                <a:endParaRPr lang="en-US" altLang="en-US" sz="894" dirty="0">
                  <a:latin typeface="Arial" panose="020B0604020202020204" pitchFamily="34" charset="0"/>
                </a:endParaRPr>
              </a:p>
            </p:txBody>
          </p:sp>
          <p:sp>
            <p:nvSpPr>
              <p:cNvPr id="184" name="Rectangle 58"/>
              <p:cNvSpPr>
                <a:spLocks noChangeArrowheads="1"/>
              </p:cNvSpPr>
              <p:nvPr userDrawn="1"/>
            </p:nvSpPr>
            <p:spPr bwMode="auto">
              <a:xfrm>
                <a:off x="3670301" y="3370263"/>
                <a:ext cx="187230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rm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defTabSz="454011" eaLnBrk="0" fontAlgn="base" hangingPunct="0">
                  <a:spcBef>
                    <a:spcPct val="0"/>
                  </a:spcBef>
                  <a:spcAft>
                    <a:spcPct val="0"/>
                  </a:spcAft>
                </a:pPr>
                <a:r>
                  <a:rPr lang="en-US" altLang="en-US" sz="894" dirty="0">
                    <a:solidFill>
                      <a:srgbClr val="010101"/>
                    </a:solidFill>
                    <a:latin typeface="Arial" panose="020B0604020202020204" pitchFamily="34" charset="0"/>
                  </a:rPr>
                  <a:t>Hva handler dette</a:t>
                </a:r>
                <a:br>
                  <a:rPr lang="en-US" altLang="en-US" sz="894" dirty="0">
                    <a:solidFill>
                      <a:srgbClr val="010101"/>
                    </a:solidFill>
                    <a:latin typeface="Arial" panose="020B0604020202020204" pitchFamily="34" charset="0"/>
                  </a:rPr>
                </a:br>
                <a:r>
                  <a:rPr lang="en-US" altLang="en-US" sz="894" dirty="0">
                    <a:solidFill>
                      <a:srgbClr val="010101"/>
                    </a:solidFill>
                    <a:latin typeface="Arial" panose="020B0604020202020204" pitchFamily="34" charset="0"/>
                  </a:rPr>
                  <a:t>prosseshjulet om?</a:t>
                </a:r>
                <a:endParaRPr lang="en-US" altLang="en-US" sz="894" dirty="0">
                  <a:latin typeface="Arial" panose="020B0604020202020204" pitchFamily="34" charset="0"/>
                </a:endParaRPr>
              </a:p>
            </p:txBody>
          </p:sp>
        </p:grpSp>
        <p:sp>
          <p:nvSpPr>
            <p:cNvPr id="173" name="TekstSylinder 244"/>
            <p:cNvSpPr txBox="1"/>
            <p:nvPr userDrawn="1"/>
          </p:nvSpPr>
          <p:spPr>
            <a:xfrm rot="20460000">
              <a:off x="2775995" y="1325613"/>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1</a:t>
              </a:r>
              <a:endParaRPr lang="en-GB" sz="794" b="1" cap="all" dirty="0">
                <a:solidFill>
                  <a:schemeClr val="bg1"/>
                </a:solidFill>
              </a:endParaRPr>
            </a:p>
          </p:txBody>
        </p:sp>
        <p:sp>
          <p:nvSpPr>
            <p:cNvPr id="174" name="TekstSylinder 264"/>
            <p:cNvSpPr txBox="1"/>
            <p:nvPr userDrawn="1"/>
          </p:nvSpPr>
          <p:spPr>
            <a:xfrm rot="3300000">
              <a:off x="4338890" y="1813672"/>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2</a:t>
              </a:r>
              <a:endParaRPr lang="en-GB" sz="794" b="1" cap="all" dirty="0">
                <a:solidFill>
                  <a:schemeClr val="bg1"/>
                </a:solidFill>
              </a:endParaRPr>
            </a:p>
          </p:txBody>
        </p:sp>
        <p:sp>
          <p:nvSpPr>
            <p:cNvPr id="175" name="TekstSylinder 265"/>
            <p:cNvSpPr txBox="1"/>
            <p:nvPr userDrawn="1"/>
          </p:nvSpPr>
          <p:spPr>
            <a:xfrm rot="7500000">
              <a:off x="4354628" y="3473997"/>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3</a:t>
              </a:r>
              <a:endParaRPr lang="en-GB" sz="794" b="1" cap="all" dirty="0">
                <a:solidFill>
                  <a:schemeClr val="bg1"/>
                </a:solidFill>
              </a:endParaRPr>
            </a:p>
          </p:txBody>
        </p:sp>
        <p:sp>
          <p:nvSpPr>
            <p:cNvPr id="176" name="TekstSylinder 266"/>
            <p:cNvSpPr txBox="1"/>
            <p:nvPr userDrawn="1"/>
          </p:nvSpPr>
          <p:spPr>
            <a:xfrm rot="11820000">
              <a:off x="2814890" y="3998684"/>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4</a:t>
              </a:r>
              <a:endParaRPr lang="en-GB" sz="794" b="1" cap="all" dirty="0">
                <a:solidFill>
                  <a:schemeClr val="bg1"/>
                </a:solidFill>
              </a:endParaRPr>
            </a:p>
          </p:txBody>
        </p:sp>
        <p:sp>
          <p:nvSpPr>
            <p:cNvPr id="177" name="TekstSylinder 267"/>
            <p:cNvSpPr txBox="1"/>
            <p:nvPr userDrawn="1"/>
          </p:nvSpPr>
          <p:spPr>
            <a:xfrm rot="16200000">
              <a:off x="1824776" y="2704309"/>
              <a:ext cx="2698244" cy="1570537"/>
            </a:xfrm>
            <a:prstGeom prst="rect">
              <a:avLst/>
            </a:prstGeom>
            <a:noFill/>
          </p:spPr>
          <p:txBody>
            <a:bodyPr spcFirstLastPara="1" wrap="none" lIns="0" tIns="0" rIns="0" bIns="0" numCol="1" rtlCol="0">
              <a:prstTxWarp prst="textArchUp">
                <a:avLst>
                  <a:gd name="adj" fmla="val 11595828"/>
                </a:avLst>
              </a:prstTxWarp>
              <a:spAutoFit/>
            </a:bodyPr>
            <a:lst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a:lstStyle>
            <a:p>
              <a:pPr algn="ctr"/>
              <a:r>
                <a:rPr lang="nb-NO" sz="794" b="1" cap="all" dirty="0">
                  <a:solidFill>
                    <a:schemeClr val="bg1"/>
                  </a:solidFill>
                </a:rPr>
                <a:t>Argument 5</a:t>
              </a:r>
              <a:endParaRPr lang="en-GB" sz="794" b="1" cap="all" dirty="0">
                <a:solidFill>
                  <a:schemeClr val="bg1"/>
                </a:solidFill>
              </a:endParaRPr>
            </a:p>
          </p:txBody>
        </p:sp>
      </p:grpSp>
      <p:pic>
        <p:nvPicPr>
          <p:cNvPr id="309" name="Bilde 30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grpSp>
        <p:nvGrpSpPr>
          <p:cNvPr id="7" name="Verden" hidden="1"/>
          <p:cNvGrpSpPr>
            <a:grpSpLocks noChangeAspect="1"/>
          </p:cNvGrpSpPr>
          <p:nvPr userDrawn="1"/>
        </p:nvGrpSpPr>
        <p:grpSpPr bwMode="auto">
          <a:xfrm>
            <a:off x="4067176" y="2047875"/>
            <a:ext cx="1011237" cy="1012824"/>
            <a:chOff x="2585" y="369"/>
            <a:chExt cx="637" cy="638"/>
          </a:xfrm>
        </p:grpSpPr>
        <p:sp>
          <p:nvSpPr>
            <p:cNvPr id="9" name="Freeform 5"/>
            <p:cNvSpPr>
              <a:spLocks/>
            </p:cNvSpPr>
            <p:nvPr userDrawn="1"/>
          </p:nvSpPr>
          <p:spPr bwMode="auto">
            <a:xfrm>
              <a:off x="2585" y="369"/>
              <a:ext cx="637" cy="638"/>
            </a:xfrm>
            <a:custGeom>
              <a:avLst/>
              <a:gdLst>
                <a:gd name="T0" fmla="*/ 1216 w 1246"/>
                <a:gd name="T1" fmla="*/ 569 h 1247"/>
                <a:gd name="T2" fmla="*/ 677 w 1246"/>
                <a:gd name="T3" fmla="*/ 1217 h 1247"/>
                <a:gd name="T4" fmla="*/ 30 w 1246"/>
                <a:gd name="T5" fmla="*/ 678 h 1247"/>
                <a:gd name="T6" fmla="*/ 569 w 1246"/>
                <a:gd name="T7" fmla="*/ 30 h 1247"/>
                <a:gd name="T8" fmla="*/ 1216 w 1246"/>
                <a:gd name="T9" fmla="*/ 569 h 1247"/>
              </a:gdLst>
              <a:ahLst/>
              <a:cxnLst>
                <a:cxn ang="0">
                  <a:pos x="T0" y="T1"/>
                </a:cxn>
                <a:cxn ang="0">
                  <a:pos x="T2" y="T3"/>
                </a:cxn>
                <a:cxn ang="0">
                  <a:pos x="T4" y="T5"/>
                </a:cxn>
                <a:cxn ang="0">
                  <a:pos x="T6" y="T7"/>
                </a:cxn>
                <a:cxn ang="0">
                  <a:pos x="T8" y="T9"/>
                </a:cxn>
              </a:cxnLst>
              <a:rect l="0" t="0" r="r" b="b"/>
              <a:pathLst>
                <a:path w="1246" h="1247">
                  <a:moveTo>
                    <a:pt x="1216" y="569"/>
                  </a:moveTo>
                  <a:cubicBezTo>
                    <a:pt x="1246" y="897"/>
                    <a:pt x="1005" y="1187"/>
                    <a:pt x="677" y="1217"/>
                  </a:cubicBezTo>
                  <a:cubicBezTo>
                    <a:pt x="349" y="1247"/>
                    <a:pt x="59" y="1006"/>
                    <a:pt x="30" y="678"/>
                  </a:cubicBezTo>
                  <a:cubicBezTo>
                    <a:pt x="0" y="350"/>
                    <a:pt x="241" y="60"/>
                    <a:pt x="569" y="30"/>
                  </a:cubicBezTo>
                  <a:cubicBezTo>
                    <a:pt x="896" y="0"/>
                    <a:pt x="1186" y="242"/>
                    <a:pt x="1216" y="569"/>
                  </a:cubicBezTo>
                  <a:close/>
                </a:path>
              </a:pathLst>
            </a:custGeom>
            <a:solidFill>
              <a:srgbClr val="000000"/>
            </a:solidFill>
            <a:ln w="20638"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 name="Freeform 6"/>
            <p:cNvSpPr>
              <a:spLocks noEditPoints="1"/>
            </p:cNvSpPr>
            <p:nvPr userDrawn="1"/>
          </p:nvSpPr>
          <p:spPr bwMode="auto">
            <a:xfrm>
              <a:off x="2829" y="417"/>
              <a:ext cx="362" cy="542"/>
            </a:xfrm>
            <a:custGeom>
              <a:avLst/>
              <a:gdLst>
                <a:gd name="T0" fmla="*/ 333 w 708"/>
                <a:gd name="T1" fmla="*/ 0 h 1059"/>
                <a:gd name="T2" fmla="*/ 319 w 708"/>
                <a:gd name="T3" fmla="*/ 9 h 1059"/>
                <a:gd name="T4" fmla="*/ 276 w 708"/>
                <a:gd name="T5" fmla="*/ 32 h 1059"/>
                <a:gd name="T6" fmla="*/ 256 w 708"/>
                <a:gd name="T7" fmla="*/ 40 h 1059"/>
                <a:gd name="T8" fmla="*/ 235 w 708"/>
                <a:gd name="T9" fmla="*/ 98 h 1059"/>
                <a:gd name="T10" fmla="*/ 228 w 708"/>
                <a:gd name="T11" fmla="*/ 128 h 1059"/>
                <a:gd name="T12" fmla="*/ 169 w 708"/>
                <a:gd name="T13" fmla="*/ 148 h 1059"/>
                <a:gd name="T14" fmla="*/ 87 w 708"/>
                <a:gd name="T15" fmla="*/ 258 h 1059"/>
                <a:gd name="T16" fmla="*/ 127 w 708"/>
                <a:gd name="T17" fmla="*/ 295 h 1059"/>
                <a:gd name="T18" fmla="*/ 56 w 708"/>
                <a:gd name="T19" fmla="*/ 372 h 1059"/>
                <a:gd name="T20" fmla="*/ 11 w 708"/>
                <a:gd name="T21" fmla="*/ 461 h 1059"/>
                <a:gd name="T22" fmla="*/ 3 w 708"/>
                <a:gd name="T23" fmla="*/ 529 h 1059"/>
                <a:gd name="T24" fmla="*/ 29 w 708"/>
                <a:gd name="T25" fmla="*/ 607 h 1059"/>
                <a:gd name="T26" fmla="*/ 99 w 708"/>
                <a:gd name="T27" fmla="*/ 671 h 1059"/>
                <a:gd name="T28" fmla="*/ 169 w 708"/>
                <a:gd name="T29" fmla="*/ 679 h 1059"/>
                <a:gd name="T30" fmla="*/ 229 w 708"/>
                <a:gd name="T31" fmla="*/ 658 h 1059"/>
                <a:gd name="T32" fmla="*/ 262 w 708"/>
                <a:gd name="T33" fmla="*/ 670 h 1059"/>
                <a:gd name="T34" fmla="*/ 299 w 708"/>
                <a:gd name="T35" fmla="*/ 751 h 1059"/>
                <a:gd name="T36" fmla="*/ 319 w 708"/>
                <a:gd name="T37" fmla="*/ 796 h 1059"/>
                <a:gd name="T38" fmla="*/ 320 w 708"/>
                <a:gd name="T39" fmla="*/ 862 h 1059"/>
                <a:gd name="T40" fmla="*/ 317 w 708"/>
                <a:gd name="T41" fmla="*/ 941 h 1059"/>
                <a:gd name="T42" fmla="*/ 352 w 708"/>
                <a:gd name="T43" fmla="*/ 1049 h 1059"/>
                <a:gd name="T44" fmla="*/ 357 w 708"/>
                <a:gd name="T45" fmla="*/ 1059 h 1059"/>
                <a:gd name="T46" fmla="*/ 505 w 708"/>
                <a:gd name="T47" fmla="*/ 971 h 1059"/>
                <a:gd name="T48" fmla="*/ 527 w 708"/>
                <a:gd name="T49" fmla="*/ 940 h 1059"/>
                <a:gd name="T50" fmla="*/ 577 w 708"/>
                <a:gd name="T51" fmla="*/ 853 h 1059"/>
                <a:gd name="T52" fmla="*/ 590 w 708"/>
                <a:gd name="T53" fmla="*/ 785 h 1059"/>
                <a:gd name="T54" fmla="*/ 600 w 708"/>
                <a:gd name="T55" fmla="*/ 730 h 1059"/>
                <a:gd name="T56" fmla="*/ 650 w 708"/>
                <a:gd name="T57" fmla="*/ 656 h 1059"/>
                <a:gd name="T58" fmla="*/ 658 w 708"/>
                <a:gd name="T59" fmla="*/ 580 h 1059"/>
                <a:gd name="T60" fmla="*/ 651 w 708"/>
                <a:gd name="T61" fmla="*/ 564 h 1059"/>
                <a:gd name="T62" fmla="*/ 661 w 708"/>
                <a:gd name="T63" fmla="*/ 544 h 1059"/>
                <a:gd name="T64" fmla="*/ 697 w 708"/>
                <a:gd name="T65" fmla="*/ 505 h 1059"/>
                <a:gd name="T66" fmla="*/ 706 w 708"/>
                <a:gd name="T67" fmla="*/ 473 h 1059"/>
                <a:gd name="T68" fmla="*/ 708 w 708"/>
                <a:gd name="T69" fmla="*/ 473 h 1059"/>
                <a:gd name="T70" fmla="*/ 333 w 708"/>
                <a:gd name="T71" fmla="*/ 0 h 1059"/>
                <a:gd name="T72" fmla="*/ 345 w 708"/>
                <a:gd name="T73" fmla="*/ 293 h 1059"/>
                <a:gd name="T74" fmla="*/ 203 w 708"/>
                <a:gd name="T75" fmla="*/ 281 h 1059"/>
                <a:gd name="T76" fmla="*/ 247 w 708"/>
                <a:gd name="T77" fmla="*/ 234 h 1059"/>
                <a:gd name="T78" fmla="*/ 271 w 708"/>
                <a:gd name="T79" fmla="*/ 233 h 1059"/>
                <a:gd name="T80" fmla="*/ 347 w 708"/>
                <a:gd name="T81" fmla="*/ 276 h 1059"/>
                <a:gd name="T82" fmla="*/ 345 w 708"/>
                <a:gd name="T83" fmla="*/ 293 h 1059"/>
                <a:gd name="T84" fmla="*/ 523 w 708"/>
                <a:gd name="T85" fmla="*/ 341 h 1059"/>
                <a:gd name="T86" fmla="*/ 496 w 708"/>
                <a:gd name="T87" fmla="*/ 362 h 1059"/>
                <a:gd name="T88" fmla="*/ 387 w 708"/>
                <a:gd name="T89" fmla="*/ 352 h 1059"/>
                <a:gd name="T90" fmla="*/ 366 w 708"/>
                <a:gd name="T91" fmla="*/ 334 h 1059"/>
                <a:gd name="T92" fmla="*/ 352 w 708"/>
                <a:gd name="T93" fmla="*/ 306 h 1059"/>
                <a:gd name="T94" fmla="*/ 397 w 708"/>
                <a:gd name="T95" fmla="*/ 287 h 1059"/>
                <a:gd name="T96" fmla="*/ 432 w 708"/>
                <a:gd name="T97" fmla="*/ 307 h 1059"/>
                <a:gd name="T98" fmla="*/ 489 w 708"/>
                <a:gd name="T99" fmla="*/ 313 h 1059"/>
                <a:gd name="T100" fmla="*/ 503 w 708"/>
                <a:gd name="T101" fmla="*/ 316 h 1059"/>
                <a:gd name="T102" fmla="*/ 523 w 708"/>
                <a:gd name="T103" fmla="*/ 341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8" h="1059">
                  <a:moveTo>
                    <a:pt x="333" y="0"/>
                  </a:moveTo>
                  <a:cubicBezTo>
                    <a:pt x="328" y="3"/>
                    <a:pt x="323" y="6"/>
                    <a:pt x="319" y="9"/>
                  </a:cubicBezTo>
                  <a:cubicBezTo>
                    <a:pt x="305" y="17"/>
                    <a:pt x="291" y="24"/>
                    <a:pt x="276" y="32"/>
                  </a:cubicBezTo>
                  <a:cubicBezTo>
                    <a:pt x="270" y="35"/>
                    <a:pt x="263" y="37"/>
                    <a:pt x="256" y="40"/>
                  </a:cubicBezTo>
                  <a:cubicBezTo>
                    <a:pt x="232" y="53"/>
                    <a:pt x="224" y="73"/>
                    <a:pt x="235" y="98"/>
                  </a:cubicBezTo>
                  <a:cubicBezTo>
                    <a:pt x="241" y="112"/>
                    <a:pt x="238" y="118"/>
                    <a:pt x="228" y="128"/>
                  </a:cubicBezTo>
                  <a:cubicBezTo>
                    <a:pt x="211" y="147"/>
                    <a:pt x="191" y="148"/>
                    <a:pt x="169" y="148"/>
                  </a:cubicBezTo>
                  <a:cubicBezTo>
                    <a:pt x="110" y="148"/>
                    <a:pt x="70" y="202"/>
                    <a:pt x="87" y="258"/>
                  </a:cubicBezTo>
                  <a:cubicBezTo>
                    <a:pt x="92" y="277"/>
                    <a:pt x="104" y="288"/>
                    <a:pt x="127" y="295"/>
                  </a:cubicBezTo>
                  <a:cubicBezTo>
                    <a:pt x="102" y="322"/>
                    <a:pt x="79" y="347"/>
                    <a:pt x="56" y="372"/>
                  </a:cubicBezTo>
                  <a:cubicBezTo>
                    <a:pt x="31" y="397"/>
                    <a:pt x="14" y="425"/>
                    <a:pt x="11" y="461"/>
                  </a:cubicBezTo>
                  <a:cubicBezTo>
                    <a:pt x="9" y="484"/>
                    <a:pt x="6" y="507"/>
                    <a:pt x="3" y="529"/>
                  </a:cubicBezTo>
                  <a:cubicBezTo>
                    <a:pt x="0" y="559"/>
                    <a:pt x="14" y="584"/>
                    <a:pt x="29" y="607"/>
                  </a:cubicBezTo>
                  <a:cubicBezTo>
                    <a:pt x="47" y="634"/>
                    <a:pt x="71" y="654"/>
                    <a:pt x="99" y="671"/>
                  </a:cubicBezTo>
                  <a:cubicBezTo>
                    <a:pt x="121" y="685"/>
                    <a:pt x="144" y="687"/>
                    <a:pt x="169" y="679"/>
                  </a:cubicBezTo>
                  <a:cubicBezTo>
                    <a:pt x="189" y="672"/>
                    <a:pt x="209" y="665"/>
                    <a:pt x="229" y="658"/>
                  </a:cubicBezTo>
                  <a:cubicBezTo>
                    <a:pt x="248" y="651"/>
                    <a:pt x="251" y="654"/>
                    <a:pt x="262" y="670"/>
                  </a:cubicBezTo>
                  <a:cubicBezTo>
                    <a:pt x="279" y="695"/>
                    <a:pt x="294" y="720"/>
                    <a:pt x="299" y="751"/>
                  </a:cubicBezTo>
                  <a:cubicBezTo>
                    <a:pt x="301" y="766"/>
                    <a:pt x="311" y="781"/>
                    <a:pt x="319" y="796"/>
                  </a:cubicBezTo>
                  <a:cubicBezTo>
                    <a:pt x="330" y="818"/>
                    <a:pt x="331" y="840"/>
                    <a:pt x="320" y="862"/>
                  </a:cubicBezTo>
                  <a:cubicBezTo>
                    <a:pt x="307" y="888"/>
                    <a:pt x="307" y="914"/>
                    <a:pt x="317" y="941"/>
                  </a:cubicBezTo>
                  <a:cubicBezTo>
                    <a:pt x="330" y="977"/>
                    <a:pt x="340" y="1013"/>
                    <a:pt x="352" y="1049"/>
                  </a:cubicBezTo>
                  <a:cubicBezTo>
                    <a:pt x="353" y="1053"/>
                    <a:pt x="355" y="1056"/>
                    <a:pt x="357" y="1059"/>
                  </a:cubicBezTo>
                  <a:cubicBezTo>
                    <a:pt x="411" y="1038"/>
                    <a:pt x="461" y="1008"/>
                    <a:pt x="505" y="971"/>
                  </a:cubicBezTo>
                  <a:cubicBezTo>
                    <a:pt x="513" y="961"/>
                    <a:pt x="520" y="951"/>
                    <a:pt x="527" y="940"/>
                  </a:cubicBezTo>
                  <a:cubicBezTo>
                    <a:pt x="546" y="912"/>
                    <a:pt x="561" y="882"/>
                    <a:pt x="577" y="853"/>
                  </a:cubicBezTo>
                  <a:cubicBezTo>
                    <a:pt x="589" y="832"/>
                    <a:pt x="594" y="809"/>
                    <a:pt x="590" y="785"/>
                  </a:cubicBezTo>
                  <a:cubicBezTo>
                    <a:pt x="587" y="765"/>
                    <a:pt x="590" y="747"/>
                    <a:pt x="600" y="730"/>
                  </a:cubicBezTo>
                  <a:cubicBezTo>
                    <a:pt x="616" y="705"/>
                    <a:pt x="632" y="680"/>
                    <a:pt x="650" y="656"/>
                  </a:cubicBezTo>
                  <a:cubicBezTo>
                    <a:pt x="669" y="632"/>
                    <a:pt x="673" y="607"/>
                    <a:pt x="658" y="580"/>
                  </a:cubicBezTo>
                  <a:cubicBezTo>
                    <a:pt x="655" y="575"/>
                    <a:pt x="653" y="570"/>
                    <a:pt x="651" y="564"/>
                  </a:cubicBezTo>
                  <a:cubicBezTo>
                    <a:pt x="648" y="555"/>
                    <a:pt x="649" y="548"/>
                    <a:pt x="661" y="544"/>
                  </a:cubicBezTo>
                  <a:cubicBezTo>
                    <a:pt x="680" y="538"/>
                    <a:pt x="692" y="524"/>
                    <a:pt x="697" y="505"/>
                  </a:cubicBezTo>
                  <a:cubicBezTo>
                    <a:pt x="701" y="494"/>
                    <a:pt x="703" y="483"/>
                    <a:pt x="706" y="473"/>
                  </a:cubicBezTo>
                  <a:cubicBezTo>
                    <a:pt x="707" y="473"/>
                    <a:pt x="707" y="473"/>
                    <a:pt x="708" y="473"/>
                  </a:cubicBezTo>
                  <a:cubicBezTo>
                    <a:pt x="684" y="253"/>
                    <a:pt x="535" y="71"/>
                    <a:pt x="333" y="0"/>
                  </a:cubicBezTo>
                  <a:close/>
                  <a:moveTo>
                    <a:pt x="345" y="293"/>
                  </a:moveTo>
                  <a:cubicBezTo>
                    <a:pt x="302" y="253"/>
                    <a:pt x="255" y="270"/>
                    <a:pt x="203" y="281"/>
                  </a:cubicBezTo>
                  <a:cubicBezTo>
                    <a:pt x="219" y="263"/>
                    <a:pt x="232" y="247"/>
                    <a:pt x="247" y="234"/>
                  </a:cubicBezTo>
                  <a:cubicBezTo>
                    <a:pt x="251" y="230"/>
                    <a:pt x="264" y="230"/>
                    <a:pt x="271" y="233"/>
                  </a:cubicBezTo>
                  <a:cubicBezTo>
                    <a:pt x="296" y="247"/>
                    <a:pt x="321" y="262"/>
                    <a:pt x="347" y="276"/>
                  </a:cubicBezTo>
                  <a:cubicBezTo>
                    <a:pt x="346" y="281"/>
                    <a:pt x="346" y="286"/>
                    <a:pt x="345" y="293"/>
                  </a:cubicBezTo>
                  <a:close/>
                  <a:moveTo>
                    <a:pt x="523" y="341"/>
                  </a:moveTo>
                  <a:cubicBezTo>
                    <a:pt x="521" y="357"/>
                    <a:pt x="509" y="363"/>
                    <a:pt x="496" y="362"/>
                  </a:cubicBezTo>
                  <a:cubicBezTo>
                    <a:pt x="460" y="360"/>
                    <a:pt x="423" y="357"/>
                    <a:pt x="387" y="352"/>
                  </a:cubicBezTo>
                  <a:cubicBezTo>
                    <a:pt x="379" y="351"/>
                    <a:pt x="371" y="341"/>
                    <a:pt x="366" y="334"/>
                  </a:cubicBezTo>
                  <a:cubicBezTo>
                    <a:pt x="360" y="326"/>
                    <a:pt x="357" y="316"/>
                    <a:pt x="352" y="306"/>
                  </a:cubicBezTo>
                  <a:cubicBezTo>
                    <a:pt x="371" y="310"/>
                    <a:pt x="386" y="303"/>
                    <a:pt x="397" y="287"/>
                  </a:cubicBezTo>
                  <a:cubicBezTo>
                    <a:pt x="406" y="302"/>
                    <a:pt x="418" y="306"/>
                    <a:pt x="432" y="307"/>
                  </a:cubicBezTo>
                  <a:cubicBezTo>
                    <a:pt x="451" y="308"/>
                    <a:pt x="470" y="310"/>
                    <a:pt x="489" y="313"/>
                  </a:cubicBezTo>
                  <a:cubicBezTo>
                    <a:pt x="494" y="313"/>
                    <a:pt x="499" y="314"/>
                    <a:pt x="503" y="316"/>
                  </a:cubicBezTo>
                  <a:cubicBezTo>
                    <a:pt x="514" y="321"/>
                    <a:pt x="526" y="326"/>
                    <a:pt x="523" y="34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 name="Freeform 7"/>
            <p:cNvSpPr>
              <a:spLocks/>
            </p:cNvSpPr>
            <p:nvPr userDrawn="1"/>
          </p:nvSpPr>
          <p:spPr bwMode="auto">
            <a:xfrm>
              <a:off x="2669" y="489"/>
              <a:ext cx="33" cy="38"/>
            </a:xfrm>
            <a:custGeom>
              <a:avLst/>
              <a:gdLst>
                <a:gd name="T0" fmla="*/ 36 w 64"/>
                <a:gd name="T1" fmla="*/ 67 h 76"/>
                <a:gd name="T2" fmla="*/ 59 w 64"/>
                <a:gd name="T3" fmla="*/ 16 h 76"/>
                <a:gd name="T4" fmla="*/ 54 w 64"/>
                <a:gd name="T5" fmla="*/ 0 h 76"/>
                <a:gd name="T6" fmla="*/ 0 w 64"/>
                <a:gd name="T7" fmla="*/ 63 h 76"/>
                <a:gd name="T8" fmla="*/ 36 w 64"/>
                <a:gd name="T9" fmla="*/ 67 h 76"/>
              </a:gdLst>
              <a:ahLst/>
              <a:cxnLst>
                <a:cxn ang="0">
                  <a:pos x="T0" y="T1"/>
                </a:cxn>
                <a:cxn ang="0">
                  <a:pos x="T2" y="T3"/>
                </a:cxn>
                <a:cxn ang="0">
                  <a:pos x="T4" y="T5"/>
                </a:cxn>
                <a:cxn ang="0">
                  <a:pos x="T6" y="T7"/>
                </a:cxn>
                <a:cxn ang="0">
                  <a:pos x="T8" y="T9"/>
                </a:cxn>
              </a:cxnLst>
              <a:rect l="0" t="0" r="r" b="b"/>
              <a:pathLst>
                <a:path w="64" h="76">
                  <a:moveTo>
                    <a:pt x="36" y="67"/>
                  </a:moveTo>
                  <a:cubicBezTo>
                    <a:pt x="57" y="55"/>
                    <a:pt x="64" y="39"/>
                    <a:pt x="59" y="16"/>
                  </a:cubicBezTo>
                  <a:cubicBezTo>
                    <a:pt x="57" y="11"/>
                    <a:pt x="55" y="5"/>
                    <a:pt x="54" y="0"/>
                  </a:cubicBezTo>
                  <a:cubicBezTo>
                    <a:pt x="34" y="19"/>
                    <a:pt x="16" y="41"/>
                    <a:pt x="0" y="63"/>
                  </a:cubicBezTo>
                  <a:cubicBezTo>
                    <a:pt x="16" y="75"/>
                    <a:pt x="23" y="76"/>
                    <a:pt x="36" y="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 name="Freeform 8"/>
            <p:cNvSpPr>
              <a:spLocks/>
            </p:cNvSpPr>
            <p:nvPr userDrawn="1"/>
          </p:nvSpPr>
          <p:spPr bwMode="auto">
            <a:xfrm>
              <a:off x="2617" y="727"/>
              <a:ext cx="130" cy="185"/>
            </a:xfrm>
            <a:custGeom>
              <a:avLst/>
              <a:gdLst>
                <a:gd name="T0" fmla="*/ 223 w 256"/>
                <a:gd name="T1" fmla="*/ 305 h 361"/>
                <a:gd name="T2" fmla="*/ 238 w 256"/>
                <a:gd name="T3" fmla="*/ 234 h 361"/>
                <a:gd name="T4" fmla="*/ 247 w 256"/>
                <a:gd name="T5" fmla="*/ 214 h 361"/>
                <a:gd name="T6" fmla="*/ 224 w 256"/>
                <a:gd name="T7" fmla="*/ 155 h 361"/>
                <a:gd name="T8" fmla="*/ 148 w 256"/>
                <a:gd name="T9" fmla="*/ 121 h 361"/>
                <a:gd name="T10" fmla="*/ 110 w 256"/>
                <a:gd name="T11" fmla="*/ 103 h 361"/>
                <a:gd name="T12" fmla="*/ 96 w 256"/>
                <a:gd name="T13" fmla="*/ 86 h 361"/>
                <a:gd name="T14" fmla="*/ 67 w 256"/>
                <a:gd name="T15" fmla="*/ 47 h 361"/>
                <a:gd name="T16" fmla="*/ 0 w 256"/>
                <a:gd name="T17" fmla="*/ 0 h 361"/>
                <a:gd name="T18" fmla="*/ 197 w 256"/>
                <a:gd name="T19" fmla="*/ 361 h 361"/>
                <a:gd name="T20" fmla="*/ 223 w 256"/>
                <a:gd name="T21" fmla="*/ 305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361">
                  <a:moveTo>
                    <a:pt x="223" y="305"/>
                  </a:moveTo>
                  <a:cubicBezTo>
                    <a:pt x="220" y="279"/>
                    <a:pt x="223" y="256"/>
                    <a:pt x="238" y="234"/>
                  </a:cubicBezTo>
                  <a:cubicBezTo>
                    <a:pt x="242" y="228"/>
                    <a:pt x="245" y="221"/>
                    <a:pt x="247" y="214"/>
                  </a:cubicBezTo>
                  <a:cubicBezTo>
                    <a:pt x="256" y="189"/>
                    <a:pt x="248" y="167"/>
                    <a:pt x="224" y="155"/>
                  </a:cubicBezTo>
                  <a:cubicBezTo>
                    <a:pt x="199" y="143"/>
                    <a:pt x="173" y="133"/>
                    <a:pt x="148" y="121"/>
                  </a:cubicBezTo>
                  <a:cubicBezTo>
                    <a:pt x="135" y="116"/>
                    <a:pt x="122" y="110"/>
                    <a:pt x="110" y="103"/>
                  </a:cubicBezTo>
                  <a:cubicBezTo>
                    <a:pt x="104" y="100"/>
                    <a:pt x="98" y="93"/>
                    <a:pt x="96" y="86"/>
                  </a:cubicBezTo>
                  <a:cubicBezTo>
                    <a:pt x="91" y="69"/>
                    <a:pt x="81" y="56"/>
                    <a:pt x="67" y="47"/>
                  </a:cubicBezTo>
                  <a:cubicBezTo>
                    <a:pt x="44" y="32"/>
                    <a:pt x="21" y="17"/>
                    <a:pt x="0" y="0"/>
                  </a:cubicBezTo>
                  <a:cubicBezTo>
                    <a:pt x="18" y="144"/>
                    <a:pt x="91" y="272"/>
                    <a:pt x="197" y="361"/>
                  </a:cubicBezTo>
                  <a:cubicBezTo>
                    <a:pt x="224" y="347"/>
                    <a:pt x="226" y="340"/>
                    <a:pt x="223" y="3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 name="Freeform 9"/>
            <p:cNvSpPr>
              <a:spLocks/>
            </p:cNvSpPr>
            <p:nvPr userDrawn="1"/>
          </p:nvSpPr>
          <p:spPr bwMode="auto">
            <a:xfrm>
              <a:off x="2740" y="402"/>
              <a:ext cx="147" cy="66"/>
            </a:xfrm>
            <a:custGeom>
              <a:avLst/>
              <a:gdLst>
                <a:gd name="T0" fmla="*/ 36 w 289"/>
                <a:gd name="T1" fmla="*/ 118 h 129"/>
                <a:gd name="T2" fmla="*/ 82 w 289"/>
                <a:gd name="T3" fmla="*/ 89 h 129"/>
                <a:gd name="T4" fmla="*/ 160 w 289"/>
                <a:gd name="T5" fmla="*/ 59 h 129"/>
                <a:gd name="T6" fmla="*/ 200 w 289"/>
                <a:gd name="T7" fmla="*/ 54 h 129"/>
                <a:gd name="T8" fmla="*/ 276 w 289"/>
                <a:gd name="T9" fmla="*/ 13 h 129"/>
                <a:gd name="T10" fmla="*/ 289 w 289"/>
                <a:gd name="T11" fmla="*/ 0 h 129"/>
                <a:gd name="T12" fmla="*/ 0 w 289"/>
                <a:gd name="T13" fmla="*/ 99 h 129"/>
                <a:gd name="T14" fmla="*/ 36 w 289"/>
                <a:gd name="T15" fmla="*/ 118 h 1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9" h="129">
                  <a:moveTo>
                    <a:pt x="36" y="118"/>
                  </a:moveTo>
                  <a:cubicBezTo>
                    <a:pt x="52" y="110"/>
                    <a:pt x="67" y="100"/>
                    <a:pt x="82" y="89"/>
                  </a:cubicBezTo>
                  <a:cubicBezTo>
                    <a:pt x="106" y="73"/>
                    <a:pt x="130" y="60"/>
                    <a:pt x="160" y="59"/>
                  </a:cubicBezTo>
                  <a:cubicBezTo>
                    <a:pt x="174" y="58"/>
                    <a:pt x="187" y="56"/>
                    <a:pt x="200" y="54"/>
                  </a:cubicBezTo>
                  <a:cubicBezTo>
                    <a:pt x="230" y="48"/>
                    <a:pt x="255" y="35"/>
                    <a:pt x="276" y="13"/>
                  </a:cubicBezTo>
                  <a:cubicBezTo>
                    <a:pt x="280" y="9"/>
                    <a:pt x="285" y="4"/>
                    <a:pt x="289" y="0"/>
                  </a:cubicBezTo>
                  <a:cubicBezTo>
                    <a:pt x="182" y="6"/>
                    <a:pt x="83" y="41"/>
                    <a:pt x="0" y="99"/>
                  </a:cubicBezTo>
                  <a:cubicBezTo>
                    <a:pt x="0" y="120"/>
                    <a:pt x="14" y="129"/>
                    <a:pt x="36" y="1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6" name="Vaskeboette" hidden="1"/>
          <p:cNvGrpSpPr>
            <a:grpSpLocks noChangeAspect="1"/>
          </p:cNvGrpSpPr>
          <p:nvPr userDrawn="1"/>
        </p:nvGrpSpPr>
        <p:grpSpPr bwMode="auto">
          <a:xfrm>
            <a:off x="4102895" y="1946276"/>
            <a:ext cx="939799" cy="1216025"/>
            <a:chOff x="1610" y="386"/>
            <a:chExt cx="592" cy="766"/>
          </a:xfrm>
        </p:grpSpPr>
        <p:sp>
          <p:nvSpPr>
            <p:cNvPr id="18" name="Freeform 13"/>
            <p:cNvSpPr>
              <a:spLocks/>
            </p:cNvSpPr>
            <p:nvPr userDrawn="1"/>
          </p:nvSpPr>
          <p:spPr bwMode="auto">
            <a:xfrm>
              <a:off x="1622" y="802"/>
              <a:ext cx="265" cy="148"/>
            </a:xfrm>
            <a:custGeom>
              <a:avLst/>
              <a:gdLst>
                <a:gd name="T0" fmla="*/ 432 w 432"/>
                <a:gd name="T1" fmla="*/ 0 h 242"/>
                <a:gd name="T2" fmla="*/ 208 w 432"/>
                <a:gd name="T3" fmla="*/ 242 h 242"/>
                <a:gd name="T4" fmla="*/ 0 w 432"/>
                <a:gd name="T5" fmla="*/ 0 h 242"/>
              </a:gdLst>
              <a:ahLst/>
              <a:cxnLst>
                <a:cxn ang="0">
                  <a:pos x="T0" y="T1"/>
                </a:cxn>
                <a:cxn ang="0">
                  <a:pos x="T2" y="T3"/>
                </a:cxn>
                <a:cxn ang="0">
                  <a:pos x="T4" y="T5"/>
                </a:cxn>
              </a:cxnLst>
              <a:rect l="0" t="0" r="r" b="b"/>
              <a:pathLst>
                <a:path w="432" h="242">
                  <a:moveTo>
                    <a:pt x="432" y="0"/>
                  </a:moveTo>
                  <a:cubicBezTo>
                    <a:pt x="432" y="0"/>
                    <a:pt x="393" y="242"/>
                    <a:pt x="208" y="242"/>
                  </a:cubicBezTo>
                  <a:cubicBezTo>
                    <a:pt x="23" y="242"/>
                    <a:pt x="0" y="0"/>
                    <a:pt x="0"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9" name="Freeform 14"/>
            <p:cNvSpPr>
              <a:spLocks/>
            </p:cNvSpPr>
            <p:nvPr userDrawn="1"/>
          </p:nvSpPr>
          <p:spPr bwMode="auto">
            <a:xfrm>
              <a:off x="1712" y="386"/>
              <a:ext cx="315" cy="626"/>
            </a:xfrm>
            <a:custGeom>
              <a:avLst/>
              <a:gdLst>
                <a:gd name="T0" fmla="*/ 11 w 513"/>
                <a:gd name="T1" fmla="*/ 43 h 1020"/>
                <a:gd name="T2" fmla="*/ 242 w 513"/>
                <a:gd name="T3" fmla="*/ 526 h 1020"/>
                <a:gd name="T4" fmla="*/ 467 w 513"/>
                <a:gd name="T5" fmla="*/ 997 h 1020"/>
                <a:gd name="T6" fmla="*/ 502 w 513"/>
                <a:gd name="T7" fmla="*/ 977 h 1020"/>
                <a:gd name="T8" fmla="*/ 271 w 513"/>
                <a:gd name="T9" fmla="*/ 495 h 1020"/>
                <a:gd name="T10" fmla="*/ 45 w 513"/>
                <a:gd name="T11" fmla="*/ 23 h 1020"/>
                <a:gd name="T12" fmla="*/ 11 w 513"/>
                <a:gd name="T13" fmla="*/ 43 h 1020"/>
              </a:gdLst>
              <a:ahLst/>
              <a:cxnLst>
                <a:cxn ang="0">
                  <a:pos x="T0" y="T1"/>
                </a:cxn>
                <a:cxn ang="0">
                  <a:pos x="T2" y="T3"/>
                </a:cxn>
                <a:cxn ang="0">
                  <a:pos x="T4" y="T5"/>
                </a:cxn>
                <a:cxn ang="0">
                  <a:pos x="T6" y="T7"/>
                </a:cxn>
                <a:cxn ang="0">
                  <a:pos x="T8" y="T9"/>
                </a:cxn>
                <a:cxn ang="0">
                  <a:pos x="T10" y="T11"/>
                </a:cxn>
                <a:cxn ang="0">
                  <a:pos x="T12" y="T13"/>
                </a:cxn>
              </a:cxnLst>
              <a:rect l="0" t="0" r="r" b="b"/>
              <a:pathLst>
                <a:path w="513" h="1020">
                  <a:moveTo>
                    <a:pt x="11" y="43"/>
                  </a:moveTo>
                  <a:cubicBezTo>
                    <a:pt x="88" y="204"/>
                    <a:pt x="165" y="365"/>
                    <a:pt x="242" y="526"/>
                  </a:cubicBezTo>
                  <a:cubicBezTo>
                    <a:pt x="317" y="683"/>
                    <a:pt x="392" y="840"/>
                    <a:pt x="467" y="997"/>
                  </a:cubicBezTo>
                  <a:cubicBezTo>
                    <a:pt x="478" y="1020"/>
                    <a:pt x="513" y="1000"/>
                    <a:pt x="502" y="977"/>
                  </a:cubicBezTo>
                  <a:cubicBezTo>
                    <a:pt x="425" y="816"/>
                    <a:pt x="348" y="655"/>
                    <a:pt x="271" y="495"/>
                  </a:cubicBezTo>
                  <a:cubicBezTo>
                    <a:pt x="196" y="337"/>
                    <a:pt x="120" y="180"/>
                    <a:pt x="45" y="23"/>
                  </a:cubicBezTo>
                  <a:cubicBezTo>
                    <a:pt x="34" y="0"/>
                    <a:pt x="0" y="20"/>
                    <a:pt x="11" y="4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20" name="Freeform 15"/>
            <p:cNvSpPr>
              <a:spLocks/>
            </p:cNvSpPr>
            <p:nvPr userDrawn="1"/>
          </p:nvSpPr>
          <p:spPr bwMode="auto">
            <a:xfrm>
              <a:off x="1910" y="997"/>
              <a:ext cx="206" cy="155"/>
            </a:xfrm>
            <a:custGeom>
              <a:avLst/>
              <a:gdLst>
                <a:gd name="T0" fmla="*/ 329 w 337"/>
                <a:gd name="T1" fmla="*/ 245 h 252"/>
                <a:gd name="T2" fmla="*/ 300 w 337"/>
                <a:gd name="T3" fmla="*/ 123 h 252"/>
                <a:gd name="T4" fmla="*/ 281 w 337"/>
                <a:gd name="T5" fmla="*/ 39 h 252"/>
                <a:gd name="T6" fmla="*/ 163 w 337"/>
                <a:gd name="T7" fmla="*/ 0 h 252"/>
                <a:gd name="T8" fmla="*/ 108 w 337"/>
                <a:gd name="T9" fmla="*/ 28 h 252"/>
                <a:gd name="T10" fmla="*/ 45 w 337"/>
                <a:gd name="T11" fmla="*/ 95 h 252"/>
                <a:gd name="T12" fmla="*/ 4 w 337"/>
                <a:gd name="T13" fmla="*/ 170 h 252"/>
                <a:gd name="T14" fmla="*/ 2 w 337"/>
                <a:gd name="T15" fmla="*/ 223 h 252"/>
                <a:gd name="T16" fmla="*/ 8 w 337"/>
                <a:gd name="T17" fmla="*/ 237 h 252"/>
                <a:gd name="T18" fmla="*/ 189 w 337"/>
                <a:gd name="T19" fmla="*/ 25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7" h="252">
                  <a:moveTo>
                    <a:pt x="329" y="245"/>
                  </a:moveTo>
                  <a:cubicBezTo>
                    <a:pt x="337" y="245"/>
                    <a:pt x="301" y="184"/>
                    <a:pt x="300" y="123"/>
                  </a:cubicBezTo>
                  <a:cubicBezTo>
                    <a:pt x="295" y="93"/>
                    <a:pt x="307" y="62"/>
                    <a:pt x="281" y="39"/>
                  </a:cubicBezTo>
                  <a:cubicBezTo>
                    <a:pt x="259" y="16"/>
                    <a:pt x="199" y="0"/>
                    <a:pt x="163" y="0"/>
                  </a:cubicBezTo>
                  <a:cubicBezTo>
                    <a:pt x="134" y="0"/>
                    <a:pt x="126" y="11"/>
                    <a:pt x="108" y="28"/>
                  </a:cubicBezTo>
                  <a:cubicBezTo>
                    <a:pt x="92" y="46"/>
                    <a:pt x="67" y="70"/>
                    <a:pt x="45" y="95"/>
                  </a:cubicBezTo>
                  <a:cubicBezTo>
                    <a:pt x="24" y="120"/>
                    <a:pt x="6" y="147"/>
                    <a:pt x="4" y="170"/>
                  </a:cubicBezTo>
                  <a:cubicBezTo>
                    <a:pt x="0" y="193"/>
                    <a:pt x="11" y="212"/>
                    <a:pt x="2" y="223"/>
                  </a:cubicBezTo>
                  <a:cubicBezTo>
                    <a:pt x="1" y="229"/>
                    <a:pt x="3" y="234"/>
                    <a:pt x="8" y="237"/>
                  </a:cubicBezTo>
                  <a:cubicBezTo>
                    <a:pt x="27" y="247"/>
                    <a:pt x="123" y="252"/>
                    <a:pt x="189" y="25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1" name="Freeform 16"/>
            <p:cNvSpPr>
              <a:spLocks/>
            </p:cNvSpPr>
            <p:nvPr userDrawn="1"/>
          </p:nvSpPr>
          <p:spPr bwMode="auto">
            <a:xfrm>
              <a:off x="1941" y="996"/>
              <a:ext cx="139" cy="151"/>
            </a:xfrm>
            <a:custGeom>
              <a:avLst/>
              <a:gdLst>
                <a:gd name="T0" fmla="*/ 2 w 227"/>
                <a:gd name="T1" fmla="*/ 246 h 246"/>
                <a:gd name="T2" fmla="*/ 1 w 227"/>
                <a:gd name="T3" fmla="*/ 208 h 246"/>
                <a:gd name="T4" fmla="*/ 22 w 227"/>
                <a:gd name="T5" fmla="*/ 124 h 246"/>
                <a:gd name="T6" fmla="*/ 112 w 227"/>
                <a:gd name="T7" fmla="*/ 1 h 246"/>
                <a:gd name="T8" fmla="*/ 206 w 227"/>
                <a:gd name="T9" fmla="*/ 122 h 246"/>
                <a:gd name="T10" fmla="*/ 213 w 227"/>
                <a:gd name="T11" fmla="*/ 206 h 246"/>
                <a:gd name="T12" fmla="*/ 218 w 227"/>
                <a:gd name="T13" fmla="*/ 245 h 246"/>
              </a:gdLst>
              <a:ahLst/>
              <a:cxnLst>
                <a:cxn ang="0">
                  <a:pos x="T0" y="T1"/>
                </a:cxn>
                <a:cxn ang="0">
                  <a:pos x="T2" y="T3"/>
                </a:cxn>
                <a:cxn ang="0">
                  <a:pos x="T4" y="T5"/>
                </a:cxn>
                <a:cxn ang="0">
                  <a:pos x="T6" y="T7"/>
                </a:cxn>
                <a:cxn ang="0">
                  <a:pos x="T8" y="T9"/>
                </a:cxn>
                <a:cxn ang="0">
                  <a:pos x="T10" y="T11"/>
                </a:cxn>
                <a:cxn ang="0">
                  <a:pos x="T12" y="T13"/>
                </a:cxn>
              </a:cxnLst>
              <a:rect l="0" t="0" r="r" b="b"/>
              <a:pathLst>
                <a:path w="227" h="246">
                  <a:moveTo>
                    <a:pt x="2" y="246"/>
                  </a:moveTo>
                  <a:cubicBezTo>
                    <a:pt x="11" y="246"/>
                    <a:pt x="1" y="231"/>
                    <a:pt x="1" y="208"/>
                  </a:cubicBezTo>
                  <a:cubicBezTo>
                    <a:pt x="0" y="185"/>
                    <a:pt x="8" y="155"/>
                    <a:pt x="22" y="124"/>
                  </a:cubicBezTo>
                  <a:cubicBezTo>
                    <a:pt x="53" y="63"/>
                    <a:pt x="90" y="2"/>
                    <a:pt x="112" y="1"/>
                  </a:cubicBezTo>
                  <a:cubicBezTo>
                    <a:pt x="188" y="0"/>
                    <a:pt x="209" y="61"/>
                    <a:pt x="206" y="122"/>
                  </a:cubicBezTo>
                  <a:cubicBezTo>
                    <a:pt x="207" y="153"/>
                    <a:pt x="207" y="183"/>
                    <a:pt x="213" y="206"/>
                  </a:cubicBezTo>
                  <a:cubicBezTo>
                    <a:pt x="217" y="229"/>
                    <a:pt x="227" y="245"/>
                    <a:pt x="218" y="245"/>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2" name="Freeform 17"/>
            <p:cNvSpPr>
              <a:spLocks/>
            </p:cNvSpPr>
            <p:nvPr userDrawn="1"/>
          </p:nvSpPr>
          <p:spPr bwMode="auto">
            <a:xfrm>
              <a:off x="1967" y="997"/>
              <a:ext cx="80" cy="153"/>
            </a:xfrm>
            <a:custGeom>
              <a:avLst/>
              <a:gdLst>
                <a:gd name="T0" fmla="*/ 9 w 130"/>
                <a:gd name="T1" fmla="*/ 249 h 249"/>
                <a:gd name="T2" fmla="*/ 28 w 130"/>
                <a:gd name="T3" fmla="*/ 125 h 249"/>
                <a:gd name="T4" fmla="*/ 70 w 130"/>
                <a:gd name="T5" fmla="*/ 0 h 249"/>
                <a:gd name="T6" fmla="*/ 113 w 130"/>
                <a:gd name="T7" fmla="*/ 124 h 249"/>
                <a:gd name="T8" fmla="*/ 124 w 130"/>
                <a:gd name="T9" fmla="*/ 249 h 249"/>
              </a:gdLst>
              <a:ahLst/>
              <a:cxnLst>
                <a:cxn ang="0">
                  <a:pos x="T0" y="T1"/>
                </a:cxn>
                <a:cxn ang="0">
                  <a:pos x="T2" y="T3"/>
                </a:cxn>
                <a:cxn ang="0">
                  <a:pos x="T4" y="T5"/>
                </a:cxn>
                <a:cxn ang="0">
                  <a:pos x="T6" y="T7"/>
                </a:cxn>
                <a:cxn ang="0">
                  <a:pos x="T8" y="T9"/>
                </a:cxn>
              </a:cxnLst>
              <a:rect l="0" t="0" r="r" b="b"/>
              <a:pathLst>
                <a:path w="130" h="249">
                  <a:moveTo>
                    <a:pt x="9" y="249"/>
                  </a:moveTo>
                  <a:cubicBezTo>
                    <a:pt x="16" y="249"/>
                    <a:pt x="0" y="187"/>
                    <a:pt x="28" y="125"/>
                  </a:cubicBezTo>
                  <a:cubicBezTo>
                    <a:pt x="54" y="62"/>
                    <a:pt x="66" y="0"/>
                    <a:pt x="70" y="0"/>
                  </a:cubicBezTo>
                  <a:cubicBezTo>
                    <a:pt x="101" y="0"/>
                    <a:pt x="116" y="62"/>
                    <a:pt x="113" y="124"/>
                  </a:cubicBezTo>
                  <a:cubicBezTo>
                    <a:pt x="106" y="187"/>
                    <a:pt x="130" y="249"/>
                    <a:pt x="124" y="249"/>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3" name="Freeform 18"/>
            <p:cNvSpPr>
              <a:spLocks/>
            </p:cNvSpPr>
            <p:nvPr userDrawn="1"/>
          </p:nvSpPr>
          <p:spPr bwMode="auto">
            <a:xfrm>
              <a:off x="2005" y="997"/>
              <a:ext cx="5" cy="153"/>
            </a:xfrm>
            <a:custGeom>
              <a:avLst/>
              <a:gdLst>
                <a:gd name="T0" fmla="*/ 1 w 7"/>
                <a:gd name="T1" fmla="*/ 249 h 249"/>
                <a:gd name="T2" fmla="*/ 7 w 7"/>
                <a:gd name="T3" fmla="*/ 0 h 249"/>
              </a:gdLst>
              <a:ahLst/>
              <a:cxnLst>
                <a:cxn ang="0">
                  <a:pos x="T0" y="T1"/>
                </a:cxn>
                <a:cxn ang="0">
                  <a:pos x="T2" y="T3"/>
                </a:cxn>
              </a:cxnLst>
              <a:rect l="0" t="0" r="r" b="b"/>
              <a:pathLst>
                <a:path w="7" h="249">
                  <a:moveTo>
                    <a:pt x="1" y="249"/>
                  </a:moveTo>
                  <a:cubicBezTo>
                    <a:pt x="0" y="166"/>
                    <a:pt x="7" y="83"/>
                    <a:pt x="7" y="0"/>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4" name="Freeform 19"/>
            <p:cNvSpPr>
              <a:spLocks/>
            </p:cNvSpPr>
            <p:nvPr userDrawn="1"/>
          </p:nvSpPr>
          <p:spPr bwMode="auto">
            <a:xfrm>
              <a:off x="1610" y="802"/>
              <a:ext cx="290" cy="346"/>
            </a:xfrm>
            <a:custGeom>
              <a:avLst/>
              <a:gdLst>
                <a:gd name="T0" fmla="*/ 265 w 290"/>
                <a:gd name="T1" fmla="*/ 346 h 346"/>
                <a:gd name="T2" fmla="*/ 25 w 290"/>
                <a:gd name="T3" fmla="*/ 346 h 346"/>
                <a:gd name="T4" fmla="*/ 0 w 290"/>
                <a:gd name="T5" fmla="*/ 0 h 346"/>
                <a:gd name="T6" fmla="*/ 290 w 290"/>
                <a:gd name="T7" fmla="*/ 0 h 346"/>
                <a:gd name="T8" fmla="*/ 265 w 290"/>
                <a:gd name="T9" fmla="*/ 346 h 346"/>
              </a:gdLst>
              <a:ahLst/>
              <a:cxnLst>
                <a:cxn ang="0">
                  <a:pos x="T0" y="T1"/>
                </a:cxn>
                <a:cxn ang="0">
                  <a:pos x="T2" y="T3"/>
                </a:cxn>
                <a:cxn ang="0">
                  <a:pos x="T4" y="T5"/>
                </a:cxn>
                <a:cxn ang="0">
                  <a:pos x="T6" y="T7"/>
                </a:cxn>
                <a:cxn ang="0">
                  <a:pos x="T8" y="T9"/>
                </a:cxn>
              </a:cxnLst>
              <a:rect l="0" t="0" r="r" b="b"/>
              <a:pathLst>
                <a:path w="290" h="346">
                  <a:moveTo>
                    <a:pt x="265" y="346"/>
                  </a:moveTo>
                  <a:lnTo>
                    <a:pt x="25" y="346"/>
                  </a:lnTo>
                  <a:lnTo>
                    <a:pt x="0" y="0"/>
                  </a:lnTo>
                  <a:lnTo>
                    <a:pt x="290" y="0"/>
                  </a:lnTo>
                  <a:lnTo>
                    <a:pt x="265" y="346"/>
                  </a:lnTo>
                  <a:close/>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25" name="Freeform 20"/>
            <p:cNvSpPr>
              <a:spLocks/>
            </p:cNvSpPr>
            <p:nvPr userDrawn="1"/>
          </p:nvSpPr>
          <p:spPr bwMode="auto">
            <a:xfrm>
              <a:off x="2026" y="1073"/>
              <a:ext cx="176" cy="77"/>
            </a:xfrm>
            <a:custGeom>
              <a:avLst/>
              <a:gdLst>
                <a:gd name="T0" fmla="*/ 107 w 287"/>
                <a:gd name="T1" fmla="*/ 0 h 127"/>
                <a:gd name="T2" fmla="*/ 206 w 287"/>
                <a:gd name="T3" fmla="*/ 105 h 127"/>
                <a:gd name="T4" fmla="*/ 0 w 287"/>
                <a:gd name="T5" fmla="*/ 127 h 127"/>
              </a:gdLst>
              <a:ahLst/>
              <a:cxnLst>
                <a:cxn ang="0">
                  <a:pos x="T0" y="T1"/>
                </a:cxn>
                <a:cxn ang="0">
                  <a:pos x="T2" y="T3"/>
                </a:cxn>
                <a:cxn ang="0">
                  <a:pos x="T4" y="T5"/>
                </a:cxn>
              </a:cxnLst>
              <a:rect l="0" t="0" r="r" b="b"/>
              <a:pathLst>
                <a:path w="287" h="127">
                  <a:moveTo>
                    <a:pt x="107" y="0"/>
                  </a:moveTo>
                  <a:cubicBezTo>
                    <a:pt x="127" y="29"/>
                    <a:pt x="125" y="90"/>
                    <a:pt x="206" y="105"/>
                  </a:cubicBezTo>
                  <a:cubicBezTo>
                    <a:pt x="287" y="120"/>
                    <a:pt x="0" y="127"/>
                    <a:pt x="0" y="127"/>
                  </a:cubicBezTo>
                </a:path>
              </a:pathLst>
            </a:custGeom>
            <a:noFill/>
            <a:ln w="22225"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27" name="UtenlandskArbeidstaker" hidden="1"/>
          <p:cNvGrpSpPr>
            <a:grpSpLocks noChangeAspect="1"/>
          </p:cNvGrpSpPr>
          <p:nvPr userDrawn="1"/>
        </p:nvGrpSpPr>
        <p:grpSpPr bwMode="auto">
          <a:xfrm>
            <a:off x="4131469" y="1826418"/>
            <a:ext cx="882650" cy="1455738"/>
            <a:chOff x="1137" y="1217"/>
            <a:chExt cx="556" cy="917"/>
          </a:xfrm>
        </p:grpSpPr>
        <p:sp>
          <p:nvSpPr>
            <p:cNvPr id="29" name="Freeform 24"/>
            <p:cNvSpPr>
              <a:spLocks/>
            </p:cNvSpPr>
            <p:nvPr userDrawn="1"/>
          </p:nvSpPr>
          <p:spPr bwMode="auto">
            <a:xfrm>
              <a:off x="1137" y="1543"/>
              <a:ext cx="556" cy="425"/>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0" name="Oval 25"/>
            <p:cNvSpPr>
              <a:spLocks noChangeArrowheads="1"/>
            </p:cNvSpPr>
            <p:nvPr userDrawn="1"/>
          </p:nvSpPr>
          <p:spPr bwMode="auto">
            <a:xfrm>
              <a:off x="1268" y="1217"/>
              <a:ext cx="294" cy="301"/>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31" name="Freeform 26"/>
            <p:cNvSpPr>
              <a:spLocks/>
            </p:cNvSpPr>
            <p:nvPr userDrawn="1"/>
          </p:nvSpPr>
          <p:spPr bwMode="auto">
            <a:xfrm>
              <a:off x="1200" y="1705"/>
              <a:ext cx="430" cy="429"/>
            </a:xfrm>
            <a:custGeom>
              <a:avLst/>
              <a:gdLst>
                <a:gd name="T0" fmla="*/ 641 w 657"/>
                <a:gd name="T1" fmla="*/ 300 h 657"/>
                <a:gd name="T2" fmla="*/ 357 w 657"/>
                <a:gd name="T3" fmla="*/ 641 h 657"/>
                <a:gd name="T4" fmla="*/ 16 w 657"/>
                <a:gd name="T5" fmla="*/ 357 h 657"/>
                <a:gd name="T6" fmla="*/ 300 w 657"/>
                <a:gd name="T7" fmla="*/ 16 h 657"/>
                <a:gd name="T8" fmla="*/ 641 w 657"/>
                <a:gd name="T9" fmla="*/ 300 h 657"/>
              </a:gdLst>
              <a:ahLst/>
              <a:cxnLst>
                <a:cxn ang="0">
                  <a:pos x="T0" y="T1"/>
                </a:cxn>
                <a:cxn ang="0">
                  <a:pos x="T2" y="T3"/>
                </a:cxn>
                <a:cxn ang="0">
                  <a:pos x="T4" y="T5"/>
                </a:cxn>
                <a:cxn ang="0">
                  <a:pos x="T6" y="T7"/>
                </a:cxn>
                <a:cxn ang="0">
                  <a:pos x="T8" y="T9"/>
                </a:cxn>
              </a:cxnLst>
              <a:rect l="0" t="0" r="r" b="b"/>
              <a:pathLst>
                <a:path w="657" h="657">
                  <a:moveTo>
                    <a:pt x="641" y="300"/>
                  </a:moveTo>
                  <a:cubicBezTo>
                    <a:pt x="657" y="473"/>
                    <a:pt x="530" y="625"/>
                    <a:pt x="357" y="641"/>
                  </a:cubicBezTo>
                  <a:cubicBezTo>
                    <a:pt x="185" y="657"/>
                    <a:pt x="32" y="530"/>
                    <a:pt x="16" y="357"/>
                  </a:cubicBezTo>
                  <a:cubicBezTo>
                    <a:pt x="0" y="185"/>
                    <a:pt x="128" y="32"/>
                    <a:pt x="300" y="16"/>
                  </a:cubicBezTo>
                  <a:cubicBezTo>
                    <a:pt x="473" y="0"/>
                    <a:pt x="625" y="127"/>
                    <a:pt x="641" y="300"/>
                  </a:cubicBezTo>
                  <a:close/>
                </a:path>
              </a:pathLst>
            </a:custGeom>
            <a:solidFill>
              <a:srgbClr val="000000"/>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28" name="Freeform 27"/>
            <p:cNvSpPr>
              <a:spLocks noEditPoints="1"/>
            </p:cNvSpPr>
            <p:nvPr userDrawn="1"/>
          </p:nvSpPr>
          <p:spPr bwMode="auto">
            <a:xfrm>
              <a:off x="1365" y="1737"/>
              <a:ext cx="244" cy="365"/>
            </a:xfrm>
            <a:custGeom>
              <a:avLst/>
              <a:gdLst>
                <a:gd name="T0" fmla="*/ 175 w 373"/>
                <a:gd name="T1" fmla="*/ 0 h 558"/>
                <a:gd name="T2" fmla="*/ 168 w 373"/>
                <a:gd name="T3" fmla="*/ 4 h 558"/>
                <a:gd name="T4" fmla="*/ 146 w 373"/>
                <a:gd name="T5" fmla="*/ 16 h 558"/>
                <a:gd name="T6" fmla="*/ 135 w 373"/>
                <a:gd name="T7" fmla="*/ 21 h 558"/>
                <a:gd name="T8" fmla="*/ 124 w 373"/>
                <a:gd name="T9" fmla="*/ 51 h 558"/>
                <a:gd name="T10" fmla="*/ 120 w 373"/>
                <a:gd name="T11" fmla="*/ 67 h 558"/>
                <a:gd name="T12" fmla="*/ 89 w 373"/>
                <a:gd name="T13" fmla="*/ 77 h 558"/>
                <a:gd name="T14" fmla="*/ 46 w 373"/>
                <a:gd name="T15" fmla="*/ 135 h 558"/>
                <a:gd name="T16" fmla="*/ 67 w 373"/>
                <a:gd name="T17" fmla="*/ 155 h 558"/>
                <a:gd name="T18" fmla="*/ 29 w 373"/>
                <a:gd name="T19" fmla="*/ 195 h 558"/>
                <a:gd name="T20" fmla="*/ 6 w 373"/>
                <a:gd name="T21" fmla="*/ 243 h 558"/>
                <a:gd name="T22" fmla="*/ 2 w 373"/>
                <a:gd name="T23" fmla="*/ 278 h 558"/>
                <a:gd name="T24" fmla="*/ 15 w 373"/>
                <a:gd name="T25" fmla="*/ 320 h 558"/>
                <a:gd name="T26" fmla="*/ 52 w 373"/>
                <a:gd name="T27" fmla="*/ 353 h 558"/>
                <a:gd name="T28" fmla="*/ 89 w 373"/>
                <a:gd name="T29" fmla="*/ 357 h 558"/>
                <a:gd name="T30" fmla="*/ 121 w 373"/>
                <a:gd name="T31" fmla="*/ 346 h 558"/>
                <a:gd name="T32" fmla="*/ 138 w 373"/>
                <a:gd name="T33" fmla="*/ 352 h 558"/>
                <a:gd name="T34" fmla="*/ 157 w 373"/>
                <a:gd name="T35" fmla="*/ 395 h 558"/>
                <a:gd name="T36" fmla="*/ 168 w 373"/>
                <a:gd name="T37" fmla="*/ 419 h 558"/>
                <a:gd name="T38" fmla="*/ 169 w 373"/>
                <a:gd name="T39" fmla="*/ 453 h 558"/>
                <a:gd name="T40" fmla="*/ 167 w 373"/>
                <a:gd name="T41" fmla="*/ 495 h 558"/>
                <a:gd name="T42" fmla="*/ 185 w 373"/>
                <a:gd name="T43" fmla="*/ 552 h 558"/>
                <a:gd name="T44" fmla="*/ 188 w 373"/>
                <a:gd name="T45" fmla="*/ 558 h 558"/>
                <a:gd name="T46" fmla="*/ 266 w 373"/>
                <a:gd name="T47" fmla="*/ 511 h 558"/>
                <a:gd name="T48" fmla="*/ 278 w 373"/>
                <a:gd name="T49" fmla="*/ 495 h 558"/>
                <a:gd name="T50" fmla="*/ 304 w 373"/>
                <a:gd name="T51" fmla="*/ 449 h 558"/>
                <a:gd name="T52" fmla="*/ 311 w 373"/>
                <a:gd name="T53" fmla="*/ 413 h 558"/>
                <a:gd name="T54" fmla="*/ 316 w 373"/>
                <a:gd name="T55" fmla="*/ 384 h 558"/>
                <a:gd name="T56" fmla="*/ 342 w 373"/>
                <a:gd name="T57" fmla="*/ 345 h 558"/>
                <a:gd name="T58" fmla="*/ 347 w 373"/>
                <a:gd name="T59" fmla="*/ 305 h 558"/>
                <a:gd name="T60" fmla="*/ 343 w 373"/>
                <a:gd name="T61" fmla="*/ 297 h 558"/>
                <a:gd name="T62" fmla="*/ 348 w 373"/>
                <a:gd name="T63" fmla="*/ 286 h 558"/>
                <a:gd name="T64" fmla="*/ 367 w 373"/>
                <a:gd name="T65" fmla="*/ 265 h 558"/>
                <a:gd name="T66" fmla="*/ 372 w 373"/>
                <a:gd name="T67" fmla="*/ 249 h 558"/>
                <a:gd name="T68" fmla="*/ 373 w 373"/>
                <a:gd name="T69" fmla="*/ 249 h 558"/>
                <a:gd name="T70" fmla="*/ 175 w 373"/>
                <a:gd name="T71" fmla="*/ 0 h 558"/>
                <a:gd name="T72" fmla="*/ 182 w 373"/>
                <a:gd name="T73" fmla="*/ 154 h 558"/>
                <a:gd name="T74" fmla="*/ 107 w 373"/>
                <a:gd name="T75" fmla="*/ 148 h 558"/>
                <a:gd name="T76" fmla="*/ 130 w 373"/>
                <a:gd name="T77" fmla="*/ 123 h 558"/>
                <a:gd name="T78" fmla="*/ 143 w 373"/>
                <a:gd name="T79" fmla="*/ 123 h 558"/>
                <a:gd name="T80" fmla="*/ 183 w 373"/>
                <a:gd name="T81" fmla="*/ 145 h 558"/>
                <a:gd name="T82" fmla="*/ 182 w 373"/>
                <a:gd name="T83" fmla="*/ 154 h 558"/>
                <a:gd name="T84" fmla="*/ 276 w 373"/>
                <a:gd name="T85" fmla="*/ 179 h 558"/>
                <a:gd name="T86" fmla="*/ 261 w 373"/>
                <a:gd name="T87" fmla="*/ 190 h 558"/>
                <a:gd name="T88" fmla="*/ 204 w 373"/>
                <a:gd name="T89" fmla="*/ 185 h 558"/>
                <a:gd name="T90" fmla="*/ 192 w 373"/>
                <a:gd name="T91" fmla="*/ 175 h 558"/>
                <a:gd name="T92" fmla="*/ 185 w 373"/>
                <a:gd name="T93" fmla="*/ 161 h 558"/>
                <a:gd name="T94" fmla="*/ 209 w 373"/>
                <a:gd name="T95" fmla="*/ 151 h 558"/>
                <a:gd name="T96" fmla="*/ 228 w 373"/>
                <a:gd name="T97" fmla="*/ 161 h 558"/>
                <a:gd name="T98" fmla="*/ 258 w 373"/>
                <a:gd name="T99" fmla="*/ 164 h 558"/>
                <a:gd name="T100" fmla="*/ 265 w 373"/>
                <a:gd name="T101" fmla="*/ 166 h 558"/>
                <a:gd name="T102" fmla="*/ 276 w 373"/>
                <a:gd name="T103" fmla="*/ 179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558">
                  <a:moveTo>
                    <a:pt x="175" y="0"/>
                  </a:moveTo>
                  <a:cubicBezTo>
                    <a:pt x="173" y="1"/>
                    <a:pt x="170" y="3"/>
                    <a:pt x="168" y="4"/>
                  </a:cubicBezTo>
                  <a:cubicBezTo>
                    <a:pt x="160" y="9"/>
                    <a:pt x="153" y="12"/>
                    <a:pt x="146" y="16"/>
                  </a:cubicBezTo>
                  <a:cubicBezTo>
                    <a:pt x="142" y="18"/>
                    <a:pt x="138" y="19"/>
                    <a:pt x="135" y="21"/>
                  </a:cubicBezTo>
                  <a:cubicBezTo>
                    <a:pt x="122" y="27"/>
                    <a:pt x="118" y="38"/>
                    <a:pt x="124" y="51"/>
                  </a:cubicBezTo>
                  <a:cubicBezTo>
                    <a:pt x="127" y="58"/>
                    <a:pt x="125" y="62"/>
                    <a:pt x="120" y="67"/>
                  </a:cubicBezTo>
                  <a:cubicBezTo>
                    <a:pt x="111" y="77"/>
                    <a:pt x="101" y="77"/>
                    <a:pt x="89" y="77"/>
                  </a:cubicBezTo>
                  <a:cubicBezTo>
                    <a:pt x="58" y="77"/>
                    <a:pt x="37" y="106"/>
                    <a:pt x="46" y="135"/>
                  </a:cubicBezTo>
                  <a:cubicBezTo>
                    <a:pt x="48" y="145"/>
                    <a:pt x="55" y="151"/>
                    <a:pt x="67" y="155"/>
                  </a:cubicBezTo>
                  <a:cubicBezTo>
                    <a:pt x="53" y="169"/>
                    <a:pt x="42" y="183"/>
                    <a:pt x="29" y="195"/>
                  </a:cubicBezTo>
                  <a:cubicBezTo>
                    <a:pt x="16" y="209"/>
                    <a:pt x="7" y="224"/>
                    <a:pt x="6" y="243"/>
                  </a:cubicBezTo>
                  <a:cubicBezTo>
                    <a:pt x="5" y="255"/>
                    <a:pt x="3" y="267"/>
                    <a:pt x="2" y="278"/>
                  </a:cubicBezTo>
                  <a:cubicBezTo>
                    <a:pt x="0" y="294"/>
                    <a:pt x="7" y="307"/>
                    <a:pt x="15" y="320"/>
                  </a:cubicBezTo>
                  <a:cubicBezTo>
                    <a:pt x="25" y="334"/>
                    <a:pt x="37" y="344"/>
                    <a:pt x="52" y="353"/>
                  </a:cubicBezTo>
                  <a:cubicBezTo>
                    <a:pt x="64" y="360"/>
                    <a:pt x="76" y="362"/>
                    <a:pt x="89" y="357"/>
                  </a:cubicBezTo>
                  <a:cubicBezTo>
                    <a:pt x="100" y="354"/>
                    <a:pt x="110" y="350"/>
                    <a:pt x="121" y="346"/>
                  </a:cubicBezTo>
                  <a:cubicBezTo>
                    <a:pt x="130" y="343"/>
                    <a:pt x="132" y="344"/>
                    <a:pt x="138" y="352"/>
                  </a:cubicBezTo>
                  <a:cubicBezTo>
                    <a:pt x="147" y="366"/>
                    <a:pt x="155" y="379"/>
                    <a:pt x="157" y="395"/>
                  </a:cubicBezTo>
                  <a:cubicBezTo>
                    <a:pt x="159" y="403"/>
                    <a:pt x="164" y="411"/>
                    <a:pt x="168" y="419"/>
                  </a:cubicBezTo>
                  <a:cubicBezTo>
                    <a:pt x="174" y="430"/>
                    <a:pt x="174" y="442"/>
                    <a:pt x="169" y="453"/>
                  </a:cubicBezTo>
                  <a:cubicBezTo>
                    <a:pt x="162" y="467"/>
                    <a:pt x="162" y="481"/>
                    <a:pt x="167" y="495"/>
                  </a:cubicBezTo>
                  <a:cubicBezTo>
                    <a:pt x="174" y="514"/>
                    <a:pt x="179" y="533"/>
                    <a:pt x="185" y="552"/>
                  </a:cubicBezTo>
                  <a:cubicBezTo>
                    <a:pt x="186" y="554"/>
                    <a:pt x="187" y="556"/>
                    <a:pt x="188" y="558"/>
                  </a:cubicBezTo>
                  <a:cubicBezTo>
                    <a:pt x="216" y="546"/>
                    <a:pt x="243" y="530"/>
                    <a:pt x="266" y="511"/>
                  </a:cubicBezTo>
                  <a:cubicBezTo>
                    <a:pt x="270" y="506"/>
                    <a:pt x="274" y="500"/>
                    <a:pt x="278" y="495"/>
                  </a:cubicBezTo>
                  <a:cubicBezTo>
                    <a:pt x="288" y="480"/>
                    <a:pt x="295" y="464"/>
                    <a:pt x="304" y="449"/>
                  </a:cubicBezTo>
                  <a:cubicBezTo>
                    <a:pt x="310" y="438"/>
                    <a:pt x="313" y="426"/>
                    <a:pt x="311" y="413"/>
                  </a:cubicBezTo>
                  <a:cubicBezTo>
                    <a:pt x="309" y="403"/>
                    <a:pt x="311" y="393"/>
                    <a:pt x="316" y="384"/>
                  </a:cubicBezTo>
                  <a:cubicBezTo>
                    <a:pt x="324" y="371"/>
                    <a:pt x="333" y="358"/>
                    <a:pt x="342" y="345"/>
                  </a:cubicBezTo>
                  <a:cubicBezTo>
                    <a:pt x="352" y="332"/>
                    <a:pt x="354" y="320"/>
                    <a:pt x="347" y="305"/>
                  </a:cubicBezTo>
                  <a:cubicBezTo>
                    <a:pt x="345" y="302"/>
                    <a:pt x="344" y="300"/>
                    <a:pt x="343" y="297"/>
                  </a:cubicBezTo>
                  <a:cubicBezTo>
                    <a:pt x="341" y="292"/>
                    <a:pt x="342" y="288"/>
                    <a:pt x="348" y="286"/>
                  </a:cubicBezTo>
                  <a:cubicBezTo>
                    <a:pt x="358" y="283"/>
                    <a:pt x="364" y="275"/>
                    <a:pt x="367" y="265"/>
                  </a:cubicBezTo>
                  <a:cubicBezTo>
                    <a:pt x="369" y="260"/>
                    <a:pt x="370" y="254"/>
                    <a:pt x="372" y="249"/>
                  </a:cubicBezTo>
                  <a:cubicBezTo>
                    <a:pt x="372" y="249"/>
                    <a:pt x="373" y="249"/>
                    <a:pt x="373" y="249"/>
                  </a:cubicBezTo>
                  <a:cubicBezTo>
                    <a:pt x="360" y="133"/>
                    <a:pt x="282" y="37"/>
                    <a:pt x="175" y="0"/>
                  </a:cubicBezTo>
                  <a:close/>
                  <a:moveTo>
                    <a:pt x="182" y="154"/>
                  </a:moveTo>
                  <a:cubicBezTo>
                    <a:pt x="159" y="133"/>
                    <a:pt x="134" y="142"/>
                    <a:pt x="107" y="148"/>
                  </a:cubicBezTo>
                  <a:cubicBezTo>
                    <a:pt x="115" y="138"/>
                    <a:pt x="122" y="130"/>
                    <a:pt x="130" y="123"/>
                  </a:cubicBezTo>
                  <a:cubicBezTo>
                    <a:pt x="132" y="121"/>
                    <a:pt x="139" y="121"/>
                    <a:pt x="143" y="123"/>
                  </a:cubicBezTo>
                  <a:cubicBezTo>
                    <a:pt x="156" y="129"/>
                    <a:pt x="169" y="137"/>
                    <a:pt x="183" y="145"/>
                  </a:cubicBezTo>
                  <a:cubicBezTo>
                    <a:pt x="182" y="147"/>
                    <a:pt x="182" y="150"/>
                    <a:pt x="182" y="154"/>
                  </a:cubicBezTo>
                  <a:close/>
                  <a:moveTo>
                    <a:pt x="276" y="179"/>
                  </a:moveTo>
                  <a:cubicBezTo>
                    <a:pt x="274" y="187"/>
                    <a:pt x="268" y="191"/>
                    <a:pt x="261" y="190"/>
                  </a:cubicBezTo>
                  <a:cubicBezTo>
                    <a:pt x="242" y="189"/>
                    <a:pt x="223" y="188"/>
                    <a:pt x="204" y="185"/>
                  </a:cubicBezTo>
                  <a:cubicBezTo>
                    <a:pt x="200" y="184"/>
                    <a:pt x="195" y="179"/>
                    <a:pt x="192" y="175"/>
                  </a:cubicBezTo>
                  <a:cubicBezTo>
                    <a:pt x="189" y="171"/>
                    <a:pt x="188" y="166"/>
                    <a:pt x="185" y="161"/>
                  </a:cubicBezTo>
                  <a:cubicBezTo>
                    <a:pt x="196" y="163"/>
                    <a:pt x="203" y="159"/>
                    <a:pt x="209" y="151"/>
                  </a:cubicBezTo>
                  <a:cubicBezTo>
                    <a:pt x="214" y="159"/>
                    <a:pt x="220" y="161"/>
                    <a:pt x="228" y="161"/>
                  </a:cubicBezTo>
                  <a:cubicBezTo>
                    <a:pt x="238" y="162"/>
                    <a:pt x="248" y="163"/>
                    <a:pt x="258" y="164"/>
                  </a:cubicBezTo>
                  <a:cubicBezTo>
                    <a:pt x="260" y="164"/>
                    <a:pt x="263" y="165"/>
                    <a:pt x="265" y="166"/>
                  </a:cubicBezTo>
                  <a:cubicBezTo>
                    <a:pt x="271" y="169"/>
                    <a:pt x="277" y="171"/>
                    <a:pt x="276" y="1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29" name="Freeform 28"/>
            <p:cNvSpPr>
              <a:spLocks/>
            </p:cNvSpPr>
            <p:nvPr userDrawn="1"/>
          </p:nvSpPr>
          <p:spPr bwMode="auto">
            <a:xfrm>
              <a:off x="1257" y="1785"/>
              <a:ext cx="22" cy="26"/>
            </a:xfrm>
            <a:custGeom>
              <a:avLst/>
              <a:gdLst>
                <a:gd name="T0" fmla="*/ 19 w 34"/>
                <a:gd name="T1" fmla="*/ 35 h 40"/>
                <a:gd name="T2" fmla="*/ 31 w 34"/>
                <a:gd name="T3" fmla="*/ 8 h 40"/>
                <a:gd name="T4" fmla="*/ 28 w 34"/>
                <a:gd name="T5" fmla="*/ 0 h 40"/>
                <a:gd name="T6" fmla="*/ 0 w 34"/>
                <a:gd name="T7" fmla="*/ 33 h 40"/>
                <a:gd name="T8" fmla="*/ 19 w 34"/>
                <a:gd name="T9" fmla="*/ 35 h 40"/>
              </a:gdLst>
              <a:ahLst/>
              <a:cxnLst>
                <a:cxn ang="0">
                  <a:pos x="T0" y="T1"/>
                </a:cxn>
                <a:cxn ang="0">
                  <a:pos x="T2" y="T3"/>
                </a:cxn>
                <a:cxn ang="0">
                  <a:pos x="T4" y="T5"/>
                </a:cxn>
                <a:cxn ang="0">
                  <a:pos x="T6" y="T7"/>
                </a:cxn>
                <a:cxn ang="0">
                  <a:pos x="T8" y="T9"/>
                </a:cxn>
              </a:cxnLst>
              <a:rect l="0" t="0" r="r" b="b"/>
              <a:pathLst>
                <a:path w="34" h="40">
                  <a:moveTo>
                    <a:pt x="19" y="35"/>
                  </a:moveTo>
                  <a:cubicBezTo>
                    <a:pt x="30" y="29"/>
                    <a:pt x="34" y="20"/>
                    <a:pt x="31" y="8"/>
                  </a:cubicBezTo>
                  <a:cubicBezTo>
                    <a:pt x="30" y="5"/>
                    <a:pt x="29" y="3"/>
                    <a:pt x="28" y="0"/>
                  </a:cubicBezTo>
                  <a:cubicBezTo>
                    <a:pt x="18" y="10"/>
                    <a:pt x="9" y="21"/>
                    <a:pt x="0" y="33"/>
                  </a:cubicBezTo>
                  <a:cubicBezTo>
                    <a:pt x="9" y="39"/>
                    <a:pt x="12" y="40"/>
                    <a:pt x="19"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0" name="Freeform 29"/>
            <p:cNvSpPr>
              <a:spLocks/>
            </p:cNvSpPr>
            <p:nvPr userDrawn="1"/>
          </p:nvSpPr>
          <p:spPr bwMode="auto">
            <a:xfrm>
              <a:off x="1222" y="1946"/>
              <a:ext cx="88" cy="124"/>
            </a:xfrm>
            <a:custGeom>
              <a:avLst/>
              <a:gdLst>
                <a:gd name="T0" fmla="*/ 117 w 135"/>
                <a:gd name="T1" fmla="*/ 160 h 190"/>
                <a:gd name="T2" fmla="*/ 125 w 135"/>
                <a:gd name="T3" fmla="*/ 123 h 190"/>
                <a:gd name="T4" fmla="*/ 130 w 135"/>
                <a:gd name="T5" fmla="*/ 113 h 190"/>
                <a:gd name="T6" fmla="*/ 118 w 135"/>
                <a:gd name="T7" fmla="*/ 81 h 190"/>
                <a:gd name="T8" fmla="*/ 78 w 135"/>
                <a:gd name="T9" fmla="*/ 64 h 190"/>
                <a:gd name="T10" fmla="*/ 58 w 135"/>
                <a:gd name="T11" fmla="*/ 54 h 190"/>
                <a:gd name="T12" fmla="*/ 50 w 135"/>
                <a:gd name="T13" fmla="*/ 45 h 190"/>
                <a:gd name="T14" fmla="*/ 35 w 135"/>
                <a:gd name="T15" fmla="*/ 25 h 190"/>
                <a:gd name="T16" fmla="*/ 0 w 135"/>
                <a:gd name="T17" fmla="*/ 0 h 190"/>
                <a:gd name="T18" fmla="*/ 104 w 135"/>
                <a:gd name="T19" fmla="*/ 190 h 190"/>
                <a:gd name="T20" fmla="*/ 117 w 135"/>
                <a:gd name="T21" fmla="*/ 16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90">
                  <a:moveTo>
                    <a:pt x="117" y="160"/>
                  </a:moveTo>
                  <a:cubicBezTo>
                    <a:pt x="116" y="147"/>
                    <a:pt x="117" y="134"/>
                    <a:pt x="125" y="123"/>
                  </a:cubicBezTo>
                  <a:cubicBezTo>
                    <a:pt x="127" y="120"/>
                    <a:pt x="129" y="116"/>
                    <a:pt x="130" y="113"/>
                  </a:cubicBezTo>
                  <a:cubicBezTo>
                    <a:pt x="135" y="99"/>
                    <a:pt x="131" y="88"/>
                    <a:pt x="118" y="81"/>
                  </a:cubicBezTo>
                  <a:cubicBezTo>
                    <a:pt x="105" y="75"/>
                    <a:pt x="91" y="70"/>
                    <a:pt x="78" y="64"/>
                  </a:cubicBezTo>
                  <a:cubicBezTo>
                    <a:pt x="71" y="61"/>
                    <a:pt x="64" y="58"/>
                    <a:pt x="58" y="54"/>
                  </a:cubicBezTo>
                  <a:cubicBezTo>
                    <a:pt x="55" y="52"/>
                    <a:pt x="51" y="49"/>
                    <a:pt x="50" y="45"/>
                  </a:cubicBezTo>
                  <a:cubicBezTo>
                    <a:pt x="48" y="36"/>
                    <a:pt x="43" y="29"/>
                    <a:pt x="35" y="25"/>
                  </a:cubicBezTo>
                  <a:cubicBezTo>
                    <a:pt x="23" y="17"/>
                    <a:pt x="11" y="9"/>
                    <a:pt x="0" y="0"/>
                  </a:cubicBezTo>
                  <a:cubicBezTo>
                    <a:pt x="9" y="76"/>
                    <a:pt x="48" y="143"/>
                    <a:pt x="104" y="190"/>
                  </a:cubicBezTo>
                  <a:cubicBezTo>
                    <a:pt x="118" y="182"/>
                    <a:pt x="119" y="179"/>
                    <a:pt x="117"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1" name="Freeform 30"/>
            <p:cNvSpPr>
              <a:spLocks/>
            </p:cNvSpPr>
            <p:nvPr userDrawn="1"/>
          </p:nvSpPr>
          <p:spPr bwMode="auto">
            <a:xfrm>
              <a:off x="1305" y="1726"/>
              <a:ext cx="99" cy="45"/>
            </a:xfrm>
            <a:custGeom>
              <a:avLst/>
              <a:gdLst>
                <a:gd name="T0" fmla="*/ 19 w 152"/>
                <a:gd name="T1" fmla="*/ 63 h 68"/>
                <a:gd name="T2" fmla="*/ 43 w 152"/>
                <a:gd name="T3" fmla="*/ 47 h 68"/>
                <a:gd name="T4" fmla="*/ 84 w 152"/>
                <a:gd name="T5" fmla="*/ 31 h 68"/>
                <a:gd name="T6" fmla="*/ 105 w 152"/>
                <a:gd name="T7" fmla="*/ 29 h 68"/>
                <a:gd name="T8" fmla="*/ 145 w 152"/>
                <a:gd name="T9" fmla="*/ 7 h 68"/>
                <a:gd name="T10" fmla="*/ 152 w 152"/>
                <a:gd name="T11" fmla="*/ 0 h 68"/>
                <a:gd name="T12" fmla="*/ 0 w 152"/>
                <a:gd name="T13" fmla="*/ 52 h 68"/>
                <a:gd name="T14" fmla="*/ 19 w 152"/>
                <a:gd name="T15" fmla="*/ 63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68">
                  <a:moveTo>
                    <a:pt x="19" y="63"/>
                  </a:moveTo>
                  <a:cubicBezTo>
                    <a:pt x="27" y="58"/>
                    <a:pt x="35" y="53"/>
                    <a:pt x="43" y="47"/>
                  </a:cubicBezTo>
                  <a:cubicBezTo>
                    <a:pt x="55" y="39"/>
                    <a:pt x="69" y="32"/>
                    <a:pt x="84" y="31"/>
                  </a:cubicBezTo>
                  <a:cubicBezTo>
                    <a:pt x="91" y="31"/>
                    <a:pt x="98" y="30"/>
                    <a:pt x="105" y="29"/>
                  </a:cubicBezTo>
                  <a:cubicBezTo>
                    <a:pt x="121" y="26"/>
                    <a:pt x="134" y="19"/>
                    <a:pt x="145" y="7"/>
                  </a:cubicBezTo>
                  <a:cubicBezTo>
                    <a:pt x="147" y="5"/>
                    <a:pt x="150" y="3"/>
                    <a:pt x="152" y="0"/>
                  </a:cubicBezTo>
                  <a:cubicBezTo>
                    <a:pt x="96" y="3"/>
                    <a:pt x="44" y="22"/>
                    <a:pt x="0" y="52"/>
                  </a:cubicBezTo>
                  <a:cubicBezTo>
                    <a:pt x="0" y="64"/>
                    <a:pt x="7" y="68"/>
                    <a:pt x="19"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3" name="Transportmiddel_tog" hidden="1"/>
          <p:cNvGrpSpPr>
            <a:grpSpLocks noChangeAspect="1"/>
          </p:cNvGrpSpPr>
          <p:nvPr userDrawn="1"/>
        </p:nvGrpSpPr>
        <p:grpSpPr bwMode="auto">
          <a:xfrm>
            <a:off x="4068764" y="1806576"/>
            <a:ext cx="1008063" cy="1495425"/>
            <a:chOff x="3547" y="1142"/>
            <a:chExt cx="635" cy="942"/>
          </a:xfrm>
        </p:grpSpPr>
        <p:sp>
          <p:nvSpPr>
            <p:cNvPr id="135" name="Freeform 34"/>
            <p:cNvSpPr>
              <a:spLocks/>
            </p:cNvSpPr>
            <p:nvPr userDrawn="1"/>
          </p:nvSpPr>
          <p:spPr bwMode="auto">
            <a:xfrm>
              <a:off x="3615" y="2036"/>
              <a:ext cx="499" cy="48"/>
            </a:xfrm>
            <a:custGeom>
              <a:avLst/>
              <a:gdLst>
                <a:gd name="T0" fmla="*/ 38 w 499"/>
                <a:gd name="T1" fmla="*/ 0 h 48"/>
                <a:gd name="T2" fmla="*/ 0 w 499"/>
                <a:gd name="T3" fmla="*/ 48 h 48"/>
                <a:gd name="T4" fmla="*/ 499 w 499"/>
                <a:gd name="T5" fmla="*/ 48 h 48"/>
                <a:gd name="T6" fmla="*/ 460 w 499"/>
                <a:gd name="T7" fmla="*/ 0 h 48"/>
                <a:gd name="T8" fmla="*/ 38 w 499"/>
                <a:gd name="T9" fmla="*/ 0 h 48"/>
              </a:gdLst>
              <a:ahLst/>
              <a:cxnLst>
                <a:cxn ang="0">
                  <a:pos x="T0" y="T1"/>
                </a:cxn>
                <a:cxn ang="0">
                  <a:pos x="T2" y="T3"/>
                </a:cxn>
                <a:cxn ang="0">
                  <a:pos x="T4" y="T5"/>
                </a:cxn>
                <a:cxn ang="0">
                  <a:pos x="T6" y="T7"/>
                </a:cxn>
                <a:cxn ang="0">
                  <a:pos x="T8" y="T9"/>
                </a:cxn>
              </a:cxnLst>
              <a:rect l="0" t="0" r="r" b="b"/>
              <a:pathLst>
                <a:path w="499" h="48">
                  <a:moveTo>
                    <a:pt x="38" y="0"/>
                  </a:moveTo>
                  <a:lnTo>
                    <a:pt x="0" y="48"/>
                  </a:lnTo>
                  <a:lnTo>
                    <a:pt x="499" y="48"/>
                  </a:lnTo>
                  <a:lnTo>
                    <a:pt x="460" y="0"/>
                  </a:lnTo>
                  <a:lnTo>
                    <a:pt x="38"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6" name="Freeform 35"/>
            <p:cNvSpPr>
              <a:spLocks/>
            </p:cNvSpPr>
            <p:nvPr userDrawn="1"/>
          </p:nvSpPr>
          <p:spPr bwMode="auto">
            <a:xfrm>
              <a:off x="3687" y="1944"/>
              <a:ext cx="354" cy="49"/>
            </a:xfrm>
            <a:custGeom>
              <a:avLst/>
              <a:gdLst>
                <a:gd name="T0" fmla="*/ 39 w 354"/>
                <a:gd name="T1" fmla="*/ 0 h 49"/>
                <a:gd name="T2" fmla="*/ 0 w 354"/>
                <a:gd name="T3" fmla="*/ 49 h 49"/>
                <a:gd name="T4" fmla="*/ 354 w 354"/>
                <a:gd name="T5" fmla="*/ 49 h 49"/>
                <a:gd name="T6" fmla="*/ 316 w 354"/>
                <a:gd name="T7" fmla="*/ 0 h 49"/>
                <a:gd name="T8" fmla="*/ 39 w 354"/>
                <a:gd name="T9" fmla="*/ 0 h 49"/>
              </a:gdLst>
              <a:ahLst/>
              <a:cxnLst>
                <a:cxn ang="0">
                  <a:pos x="T0" y="T1"/>
                </a:cxn>
                <a:cxn ang="0">
                  <a:pos x="T2" y="T3"/>
                </a:cxn>
                <a:cxn ang="0">
                  <a:pos x="T4" y="T5"/>
                </a:cxn>
                <a:cxn ang="0">
                  <a:pos x="T6" y="T7"/>
                </a:cxn>
                <a:cxn ang="0">
                  <a:pos x="T8" y="T9"/>
                </a:cxn>
              </a:cxnLst>
              <a:rect l="0" t="0" r="r" b="b"/>
              <a:pathLst>
                <a:path w="354" h="49">
                  <a:moveTo>
                    <a:pt x="39" y="0"/>
                  </a:moveTo>
                  <a:lnTo>
                    <a:pt x="0" y="49"/>
                  </a:lnTo>
                  <a:lnTo>
                    <a:pt x="354" y="49"/>
                  </a:lnTo>
                  <a:lnTo>
                    <a:pt x="316" y="0"/>
                  </a:lnTo>
                  <a:lnTo>
                    <a:pt x="39"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37" name="Freeform 36"/>
            <p:cNvSpPr>
              <a:spLocks noEditPoints="1"/>
            </p:cNvSpPr>
            <p:nvPr userDrawn="1"/>
          </p:nvSpPr>
          <p:spPr bwMode="auto">
            <a:xfrm>
              <a:off x="3547" y="1142"/>
              <a:ext cx="635" cy="763"/>
            </a:xfrm>
            <a:custGeom>
              <a:avLst/>
              <a:gdLst>
                <a:gd name="T0" fmla="*/ 698 w 698"/>
                <a:gd name="T1" fmla="*/ 281 h 839"/>
                <a:gd name="T2" fmla="*/ 698 w 698"/>
                <a:gd name="T3" fmla="*/ 262 h 839"/>
                <a:gd name="T4" fmla="*/ 436 w 698"/>
                <a:gd name="T5" fmla="*/ 0 h 839"/>
                <a:gd name="T6" fmla="*/ 262 w 698"/>
                <a:gd name="T7" fmla="*/ 0 h 839"/>
                <a:gd name="T8" fmla="*/ 0 w 698"/>
                <a:gd name="T9" fmla="*/ 262 h 839"/>
                <a:gd name="T10" fmla="*/ 0 w 698"/>
                <a:gd name="T11" fmla="*/ 281 h 839"/>
                <a:gd name="T12" fmla="*/ 0 w 698"/>
                <a:gd name="T13" fmla="*/ 287 h 839"/>
                <a:gd name="T14" fmla="*/ 0 w 698"/>
                <a:gd name="T15" fmla="*/ 792 h 839"/>
                <a:gd name="T16" fmla="*/ 47 w 698"/>
                <a:gd name="T17" fmla="*/ 839 h 839"/>
                <a:gd name="T18" fmla="*/ 650 w 698"/>
                <a:gd name="T19" fmla="*/ 839 h 839"/>
                <a:gd name="T20" fmla="*/ 698 w 698"/>
                <a:gd name="T21" fmla="*/ 792 h 839"/>
                <a:gd name="T22" fmla="*/ 698 w 698"/>
                <a:gd name="T23" fmla="*/ 287 h 839"/>
                <a:gd name="T24" fmla="*/ 698 w 698"/>
                <a:gd name="T25" fmla="*/ 281 h 839"/>
                <a:gd name="T26" fmla="*/ 230 w 698"/>
                <a:gd name="T27" fmla="*/ 70 h 839"/>
                <a:gd name="T28" fmla="*/ 468 w 698"/>
                <a:gd name="T29" fmla="*/ 70 h 839"/>
                <a:gd name="T30" fmla="*/ 489 w 698"/>
                <a:gd name="T31" fmla="*/ 92 h 839"/>
                <a:gd name="T32" fmla="*/ 468 w 698"/>
                <a:gd name="T33" fmla="*/ 114 h 839"/>
                <a:gd name="T34" fmla="*/ 230 w 698"/>
                <a:gd name="T35" fmla="*/ 114 h 839"/>
                <a:gd name="T36" fmla="*/ 208 w 698"/>
                <a:gd name="T37" fmla="*/ 92 h 839"/>
                <a:gd name="T38" fmla="*/ 230 w 698"/>
                <a:gd name="T39" fmla="*/ 70 h 839"/>
                <a:gd name="T40" fmla="*/ 167 w 698"/>
                <a:gd name="T41" fmla="*/ 758 h 839"/>
                <a:gd name="T42" fmla="*/ 95 w 698"/>
                <a:gd name="T43" fmla="*/ 686 h 839"/>
                <a:gd name="T44" fmla="*/ 167 w 698"/>
                <a:gd name="T45" fmla="*/ 614 h 839"/>
                <a:gd name="T46" fmla="*/ 239 w 698"/>
                <a:gd name="T47" fmla="*/ 686 h 839"/>
                <a:gd name="T48" fmla="*/ 167 w 698"/>
                <a:gd name="T49" fmla="*/ 758 h 839"/>
                <a:gd name="T50" fmla="*/ 537 w 698"/>
                <a:gd name="T51" fmla="*/ 758 h 839"/>
                <a:gd name="T52" fmla="*/ 465 w 698"/>
                <a:gd name="T53" fmla="*/ 686 h 839"/>
                <a:gd name="T54" fmla="*/ 537 w 698"/>
                <a:gd name="T55" fmla="*/ 614 h 839"/>
                <a:gd name="T56" fmla="*/ 610 w 698"/>
                <a:gd name="T57" fmla="*/ 686 h 839"/>
                <a:gd name="T58" fmla="*/ 537 w 698"/>
                <a:gd name="T59" fmla="*/ 758 h 839"/>
                <a:gd name="T60" fmla="*/ 616 w 698"/>
                <a:gd name="T61" fmla="*/ 442 h 839"/>
                <a:gd name="T62" fmla="*/ 81 w 698"/>
                <a:gd name="T63" fmla="*/ 442 h 839"/>
                <a:gd name="T64" fmla="*/ 81 w 698"/>
                <a:gd name="T65" fmla="*/ 181 h 839"/>
                <a:gd name="T66" fmla="*/ 616 w 698"/>
                <a:gd name="T67" fmla="*/ 181 h 839"/>
                <a:gd name="T68" fmla="*/ 616 w 698"/>
                <a:gd name="T69" fmla="*/ 442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8" h="839">
                  <a:moveTo>
                    <a:pt x="698" y="281"/>
                  </a:moveTo>
                  <a:cubicBezTo>
                    <a:pt x="698" y="262"/>
                    <a:pt x="698" y="262"/>
                    <a:pt x="698" y="262"/>
                  </a:cubicBezTo>
                  <a:cubicBezTo>
                    <a:pt x="698" y="118"/>
                    <a:pt x="580" y="0"/>
                    <a:pt x="436" y="0"/>
                  </a:cubicBezTo>
                  <a:cubicBezTo>
                    <a:pt x="262" y="0"/>
                    <a:pt x="262" y="0"/>
                    <a:pt x="262" y="0"/>
                  </a:cubicBezTo>
                  <a:cubicBezTo>
                    <a:pt x="118" y="0"/>
                    <a:pt x="0" y="118"/>
                    <a:pt x="0" y="262"/>
                  </a:cubicBezTo>
                  <a:cubicBezTo>
                    <a:pt x="0" y="281"/>
                    <a:pt x="0" y="281"/>
                    <a:pt x="0" y="281"/>
                  </a:cubicBezTo>
                  <a:cubicBezTo>
                    <a:pt x="0" y="283"/>
                    <a:pt x="0" y="285"/>
                    <a:pt x="0" y="287"/>
                  </a:cubicBezTo>
                  <a:cubicBezTo>
                    <a:pt x="0" y="792"/>
                    <a:pt x="0" y="792"/>
                    <a:pt x="0" y="792"/>
                  </a:cubicBezTo>
                  <a:cubicBezTo>
                    <a:pt x="0" y="818"/>
                    <a:pt x="21" y="839"/>
                    <a:pt x="47" y="839"/>
                  </a:cubicBezTo>
                  <a:cubicBezTo>
                    <a:pt x="650" y="839"/>
                    <a:pt x="650" y="839"/>
                    <a:pt x="650" y="839"/>
                  </a:cubicBezTo>
                  <a:cubicBezTo>
                    <a:pt x="677" y="839"/>
                    <a:pt x="698" y="818"/>
                    <a:pt x="698" y="792"/>
                  </a:cubicBezTo>
                  <a:cubicBezTo>
                    <a:pt x="698" y="287"/>
                    <a:pt x="698" y="287"/>
                    <a:pt x="698" y="287"/>
                  </a:cubicBezTo>
                  <a:cubicBezTo>
                    <a:pt x="698" y="285"/>
                    <a:pt x="698" y="283"/>
                    <a:pt x="698" y="281"/>
                  </a:cubicBezTo>
                  <a:close/>
                  <a:moveTo>
                    <a:pt x="230" y="70"/>
                  </a:moveTo>
                  <a:cubicBezTo>
                    <a:pt x="468" y="70"/>
                    <a:pt x="468" y="70"/>
                    <a:pt x="468" y="70"/>
                  </a:cubicBezTo>
                  <a:cubicBezTo>
                    <a:pt x="480" y="70"/>
                    <a:pt x="489" y="80"/>
                    <a:pt x="489" y="92"/>
                  </a:cubicBezTo>
                  <a:cubicBezTo>
                    <a:pt x="489" y="104"/>
                    <a:pt x="480" y="114"/>
                    <a:pt x="468" y="114"/>
                  </a:cubicBezTo>
                  <a:cubicBezTo>
                    <a:pt x="230" y="114"/>
                    <a:pt x="230" y="114"/>
                    <a:pt x="230" y="114"/>
                  </a:cubicBezTo>
                  <a:cubicBezTo>
                    <a:pt x="218" y="114"/>
                    <a:pt x="208" y="104"/>
                    <a:pt x="208" y="92"/>
                  </a:cubicBezTo>
                  <a:cubicBezTo>
                    <a:pt x="208" y="80"/>
                    <a:pt x="218" y="70"/>
                    <a:pt x="230" y="70"/>
                  </a:cubicBezTo>
                  <a:close/>
                  <a:moveTo>
                    <a:pt x="167" y="758"/>
                  </a:moveTo>
                  <a:cubicBezTo>
                    <a:pt x="127" y="758"/>
                    <a:pt x="95" y="726"/>
                    <a:pt x="95" y="686"/>
                  </a:cubicBezTo>
                  <a:cubicBezTo>
                    <a:pt x="95" y="646"/>
                    <a:pt x="127" y="614"/>
                    <a:pt x="167" y="614"/>
                  </a:cubicBezTo>
                  <a:cubicBezTo>
                    <a:pt x="207" y="614"/>
                    <a:pt x="239" y="646"/>
                    <a:pt x="239" y="686"/>
                  </a:cubicBezTo>
                  <a:cubicBezTo>
                    <a:pt x="239" y="726"/>
                    <a:pt x="207" y="758"/>
                    <a:pt x="167" y="758"/>
                  </a:cubicBezTo>
                  <a:close/>
                  <a:moveTo>
                    <a:pt x="537" y="758"/>
                  </a:moveTo>
                  <a:cubicBezTo>
                    <a:pt x="498" y="758"/>
                    <a:pt x="465" y="726"/>
                    <a:pt x="465" y="686"/>
                  </a:cubicBezTo>
                  <a:cubicBezTo>
                    <a:pt x="465" y="646"/>
                    <a:pt x="498" y="614"/>
                    <a:pt x="537" y="614"/>
                  </a:cubicBezTo>
                  <a:cubicBezTo>
                    <a:pt x="577" y="614"/>
                    <a:pt x="610" y="646"/>
                    <a:pt x="610" y="686"/>
                  </a:cubicBezTo>
                  <a:cubicBezTo>
                    <a:pt x="610" y="726"/>
                    <a:pt x="577" y="758"/>
                    <a:pt x="537" y="758"/>
                  </a:cubicBezTo>
                  <a:close/>
                  <a:moveTo>
                    <a:pt x="616" y="442"/>
                  </a:moveTo>
                  <a:cubicBezTo>
                    <a:pt x="81" y="442"/>
                    <a:pt x="81" y="442"/>
                    <a:pt x="81" y="442"/>
                  </a:cubicBezTo>
                  <a:cubicBezTo>
                    <a:pt x="81" y="181"/>
                    <a:pt x="81" y="181"/>
                    <a:pt x="81" y="181"/>
                  </a:cubicBezTo>
                  <a:cubicBezTo>
                    <a:pt x="616" y="181"/>
                    <a:pt x="616" y="181"/>
                    <a:pt x="616" y="181"/>
                  </a:cubicBezTo>
                  <a:lnTo>
                    <a:pt x="616" y="44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39" name="SvartArbeid" hidden="1"/>
          <p:cNvGrpSpPr>
            <a:grpSpLocks noChangeAspect="1"/>
          </p:cNvGrpSpPr>
          <p:nvPr userDrawn="1"/>
        </p:nvGrpSpPr>
        <p:grpSpPr bwMode="auto">
          <a:xfrm>
            <a:off x="4143376" y="1974851"/>
            <a:ext cx="858838" cy="1158875"/>
            <a:chOff x="1863" y="1517"/>
            <a:chExt cx="541" cy="730"/>
          </a:xfrm>
        </p:grpSpPr>
        <p:sp>
          <p:nvSpPr>
            <p:cNvPr id="141" name="Freeform 40"/>
            <p:cNvSpPr>
              <a:spLocks/>
            </p:cNvSpPr>
            <p:nvPr userDrawn="1"/>
          </p:nvSpPr>
          <p:spPr bwMode="auto">
            <a:xfrm>
              <a:off x="1863" y="1833"/>
              <a:ext cx="541" cy="414"/>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2" y="650"/>
                    <a:pt x="743" y="576"/>
                    <a:pt x="851" y="457"/>
                  </a:cubicBezTo>
                  <a:cubicBezTo>
                    <a:pt x="851" y="165"/>
                    <a:pt x="660" y="0"/>
                    <a:pt x="426"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2" name="Oval 41"/>
            <p:cNvSpPr>
              <a:spLocks noChangeArrowheads="1"/>
            </p:cNvSpPr>
            <p:nvPr userDrawn="1"/>
          </p:nvSpPr>
          <p:spPr bwMode="auto">
            <a:xfrm>
              <a:off x="1990" y="1517"/>
              <a:ext cx="287" cy="29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43" name="Freeform 42"/>
            <p:cNvSpPr>
              <a:spLocks noEditPoints="1"/>
            </p:cNvSpPr>
            <p:nvPr userDrawn="1"/>
          </p:nvSpPr>
          <p:spPr bwMode="auto">
            <a:xfrm>
              <a:off x="1995" y="1612"/>
              <a:ext cx="275" cy="89"/>
            </a:xfrm>
            <a:custGeom>
              <a:avLst/>
              <a:gdLst>
                <a:gd name="T0" fmla="*/ 420 w 434"/>
                <a:gd name="T1" fmla="*/ 54 h 140"/>
                <a:gd name="T2" fmla="*/ 434 w 434"/>
                <a:gd name="T3" fmla="*/ 12 h 140"/>
                <a:gd name="T4" fmla="*/ 420 w 434"/>
                <a:gd name="T5" fmla="*/ 7 h 140"/>
                <a:gd name="T6" fmla="*/ 221 w 434"/>
                <a:gd name="T7" fmla="*/ 21 h 140"/>
                <a:gd name="T8" fmla="*/ 219 w 434"/>
                <a:gd name="T9" fmla="*/ 21 h 140"/>
                <a:gd name="T10" fmla="*/ 216 w 434"/>
                <a:gd name="T11" fmla="*/ 21 h 140"/>
                <a:gd name="T12" fmla="*/ 17 w 434"/>
                <a:gd name="T13" fmla="*/ 7 h 140"/>
                <a:gd name="T14" fmla="*/ 7 w 434"/>
                <a:gd name="T15" fmla="*/ 10 h 140"/>
                <a:gd name="T16" fmla="*/ 1 w 434"/>
                <a:gd name="T17" fmla="*/ 20 h 140"/>
                <a:gd name="T18" fmla="*/ 0 w 434"/>
                <a:gd name="T19" fmla="*/ 34 h 140"/>
                <a:gd name="T20" fmla="*/ 17 w 434"/>
                <a:gd name="T21" fmla="*/ 54 h 140"/>
                <a:gd name="T22" fmla="*/ 137 w 434"/>
                <a:gd name="T23" fmla="*/ 140 h 140"/>
                <a:gd name="T24" fmla="*/ 143 w 434"/>
                <a:gd name="T25" fmla="*/ 140 h 140"/>
                <a:gd name="T26" fmla="*/ 184 w 434"/>
                <a:gd name="T27" fmla="*/ 117 h 140"/>
                <a:gd name="T28" fmla="*/ 217 w 434"/>
                <a:gd name="T29" fmla="*/ 97 h 140"/>
                <a:gd name="T30" fmla="*/ 220 w 434"/>
                <a:gd name="T31" fmla="*/ 97 h 140"/>
                <a:gd name="T32" fmla="*/ 253 w 434"/>
                <a:gd name="T33" fmla="*/ 117 h 140"/>
                <a:gd name="T34" fmla="*/ 294 w 434"/>
                <a:gd name="T35" fmla="*/ 140 h 140"/>
                <a:gd name="T36" fmla="*/ 300 w 434"/>
                <a:gd name="T37" fmla="*/ 140 h 140"/>
                <a:gd name="T38" fmla="*/ 420 w 434"/>
                <a:gd name="T39" fmla="*/ 54 h 140"/>
                <a:gd name="T40" fmla="*/ 137 w 434"/>
                <a:gd name="T41" fmla="*/ 95 h 140"/>
                <a:gd name="T42" fmla="*/ 90 w 434"/>
                <a:gd name="T43" fmla="*/ 65 h 140"/>
                <a:gd name="T44" fmla="*/ 128 w 434"/>
                <a:gd name="T45" fmla="*/ 51 h 140"/>
                <a:gd name="T46" fmla="*/ 136 w 434"/>
                <a:gd name="T47" fmla="*/ 51 h 140"/>
                <a:gd name="T48" fmla="*/ 183 w 434"/>
                <a:gd name="T49" fmla="*/ 76 h 140"/>
                <a:gd name="T50" fmla="*/ 137 w 434"/>
                <a:gd name="T51" fmla="*/ 95 h 140"/>
                <a:gd name="T52" fmla="*/ 300 w 434"/>
                <a:gd name="T53" fmla="*/ 95 h 140"/>
                <a:gd name="T54" fmla="*/ 254 w 434"/>
                <a:gd name="T55" fmla="*/ 76 h 140"/>
                <a:gd name="T56" fmla="*/ 301 w 434"/>
                <a:gd name="T57" fmla="*/ 51 h 140"/>
                <a:gd name="T58" fmla="*/ 309 w 434"/>
                <a:gd name="T59" fmla="*/ 51 h 140"/>
                <a:gd name="T60" fmla="*/ 347 w 434"/>
                <a:gd name="T61" fmla="*/ 65 h 140"/>
                <a:gd name="T62" fmla="*/ 300 w 434"/>
                <a:gd name="T63" fmla="*/ 9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140">
                  <a:moveTo>
                    <a:pt x="420" y="54"/>
                  </a:moveTo>
                  <a:cubicBezTo>
                    <a:pt x="433" y="38"/>
                    <a:pt x="434" y="14"/>
                    <a:pt x="434" y="12"/>
                  </a:cubicBezTo>
                  <a:cubicBezTo>
                    <a:pt x="434" y="3"/>
                    <a:pt x="427" y="7"/>
                    <a:pt x="420" y="7"/>
                  </a:cubicBezTo>
                  <a:cubicBezTo>
                    <a:pt x="376" y="11"/>
                    <a:pt x="265" y="21"/>
                    <a:pt x="221" y="21"/>
                  </a:cubicBezTo>
                  <a:cubicBezTo>
                    <a:pt x="220" y="21"/>
                    <a:pt x="219" y="21"/>
                    <a:pt x="219" y="21"/>
                  </a:cubicBezTo>
                  <a:cubicBezTo>
                    <a:pt x="218" y="21"/>
                    <a:pt x="217" y="21"/>
                    <a:pt x="216" y="21"/>
                  </a:cubicBezTo>
                  <a:cubicBezTo>
                    <a:pt x="172" y="21"/>
                    <a:pt x="61" y="11"/>
                    <a:pt x="17" y="7"/>
                  </a:cubicBezTo>
                  <a:cubicBezTo>
                    <a:pt x="17" y="15"/>
                    <a:pt x="7" y="0"/>
                    <a:pt x="7" y="10"/>
                  </a:cubicBezTo>
                  <a:cubicBezTo>
                    <a:pt x="1" y="20"/>
                    <a:pt x="1" y="20"/>
                    <a:pt x="1" y="20"/>
                  </a:cubicBezTo>
                  <a:cubicBezTo>
                    <a:pt x="1" y="28"/>
                    <a:pt x="0" y="25"/>
                    <a:pt x="0" y="34"/>
                  </a:cubicBezTo>
                  <a:cubicBezTo>
                    <a:pt x="1" y="35"/>
                    <a:pt x="17" y="53"/>
                    <a:pt x="17" y="54"/>
                  </a:cubicBezTo>
                  <a:cubicBezTo>
                    <a:pt x="32" y="73"/>
                    <a:pt x="101" y="140"/>
                    <a:pt x="137" y="140"/>
                  </a:cubicBezTo>
                  <a:cubicBezTo>
                    <a:pt x="139" y="140"/>
                    <a:pt x="141" y="140"/>
                    <a:pt x="143" y="140"/>
                  </a:cubicBezTo>
                  <a:cubicBezTo>
                    <a:pt x="156" y="138"/>
                    <a:pt x="169" y="128"/>
                    <a:pt x="184" y="117"/>
                  </a:cubicBezTo>
                  <a:cubicBezTo>
                    <a:pt x="195" y="108"/>
                    <a:pt x="209" y="97"/>
                    <a:pt x="217" y="97"/>
                  </a:cubicBezTo>
                  <a:cubicBezTo>
                    <a:pt x="217" y="97"/>
                    <a:pt x="220" y="97"/>
                    <a:pt x="220" y="97"/>
                  </a:cubicBezTo>
                  <a:cubicBezTo>
                    <a:pt x="228" y="97"/>
                    <a:pt x="242" y="108"/>
                    <a:pt x="253" y="117"/>
                  </a:cubicBezTo>
                  <a:cubicBezTo>
                    <a:pt x="268" y="128"/>
                    <a:pt x="281" y="138"/>
                    <a:pt x="294" y="140"/>
                  </a:cubicBezTo>
                  <a:cubicBezTo>
                    <a:pt x="296" y="140"/>
                    <a:pt x="298" y="140"/>
                    <a:pt x="300" y="140"/>
                  </a:cubicBezTo>
                  <a:cubicBezTo>
                    <a:pt x="336" y="140"/>
                    <a:pt x="405" y="73"/>
                    <a:pt x="420" y="54"/>
                  </a:cubicBezTo>
                  <a:close/>
                  <a:moveTo>
                    <a:pt x="137" y="95"/>
                  </a:moveTo>
                  <a:cubicBezTo>
                    <a:pt x="104" y="95"/>
                    <a:pt x="92" y="71"/>
                    <a:pt x="90" y="65"/>
                  </a:cubicBezTo>
                  <a:cubicBezTo>
                    <a:pt x="92" y="62"/>
                    <a:pt x="100" y="51"/>
                    <a:pt x="128" y="51"/>
                  </a:cubicBezTo>
                  <a:cubicBezTo>
                    <a:pt x="131" y="51"/>
                    <a:pt x="134" y="51"/>
                    <a:pt x="136" y="51"/>
                  </a:cubicBezTo>
                  <a:cubicBezTo>
                    <a:pt x="168" y="58"/>
                    <a:pt x="180" y="71"/>
                    <a:pt x="183" y="76"/>
                  </a:cubicBezTo>
                  <a:cubicBezTo>
                    <a:pt x="180" y="81"/>
                    <a:pt x="168" y="95"/>
                    <a:pt x="137" y="95"/>
                  </a:cubicBezTo>
                  <a:close/>
                  <a:moveTo>
                    <a:pt x="300" y="95"/>
                  </a:moveTo>
                  <a:cubicBezTo>
                    <a:pt x="269" y="95"/>
                    <a:pt x="257" y="81"/>
                    <a:pt x="254" y="76"/>
                  </a:cubicBezTo>
                  <a:cubicBezTo>
                    <a:pt x="257" y="71"/>
                    <a:pt x="269" y="58"/>
                    <a:pt x="301" y="51"/>
                  </a:cubicBezTo>
                  <a:cubicBezTo>
                    <a:pt x="303" y="51"/>
                    <a:pt x="306" y="51"/>
                    <a:pt x="309" y="51"/>
                  </a:cubicBezTo>
                  <a:cubicBezTo>
                    <a:pt x="337" y="51"/>
                    <a:pt x="345" y="62"/>
                    <a:pt x="347" y="65"/>
                  </a:cubicBezTo>
                  <a:cubicBezTo>
                    <a:pt x="345" y="71"/>
                    <a:pt x="333" y="95"/>
                    <a:pt x="300" y="9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45" name="Skjema" hidden="1"/>
          <p:cNvGrpSpPr>
            <a:grpSpLocks noChangeAspect="1"/>
          </p:cNvGrpSpPr>
          <p:nvPr userDrawn="1"/>
        </p:nvGrpSpPr>
        <p:grpSpPr bwMode="auto">
          <a:xfrm>
            <a:off x="3430589" y="1896268"/>
            <a:ext cx="2284413" cy="1316038"/>
            <a:chOff x="2733" y="2022"/>
            <a:chExt cx="1439" cy="829"/>
          </a:xfrm>
        </p:grpSpPr>
        <p:sp>
          <p:nvSpPr>
            <p:cNvPr id="147" name="Freeform 46"/>
            <p:cNvSpPr>
              <a:spLocks/>
            </p:cNvSpPr>
            <p:nvPr userDrawn="1"/>
          </p:nvSpPr>
          <p:spPr bwMode="auto">
            <a:xfrm>
              <a:off x="2733" y="2024"/>
              <a:ext cx="606" cy="827"/>
            </a:xfrm>
            <a:custGeom>
              <a:avLst/>
              <a:gdLst>
                <a:gd name="T0" fmla="*/ 677 w 700"/>
                <a:gd name="T1" fmla="*/ 952 h 952"/>
                <a:gd name="T2" fmla="*/ 23 w 700"/>
                <a:gd name="T3" fmla="*/ 952 h 952"/>
                <a:gd name="T4" fmla="*/ 0 w 700"/>
                <a:gd name="T5" fmla="*/ 928 h 952"/>
                <a:gd name="T6" fmla="*/ 0 w 700"/>
                <a:gd name="T7" fmla="*/ 24 h 952"/>
                <a:gd name="T8" fmla="*/ 23 w 700"/>
                <a:gd name="T9" fmla="*/ 0 h 952"/>
                <a:gd name="T10" fmla="*/ 677 w 700"/>
                <a:gd name="T11" fmla="*/ 0 h 952"/>
                <a:gd name="T12" fmla="*/ 700 w 700"/>
                <a:gd name="T13" fmla="*/ 24 h 952"/>
                <a:gd name="T14" fmla="*/ 700 w 700"/>
                <a:gd name="T15" fmla="*/ 928 h 952"/>
                <a:gd name="T16" fmla="*/ 677 w 700"/>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0" h="952">
                  <a:moveTo>
                    <a:pt x="677" y="952"/>
                  </a:moveTo>
                  <a:cubicBezTo>
                    <a:pt x="23" y="952"/>
                    <a:pt x="23" y="952"/>
                    <a:pt x="23" y="952"/>
                  </a:cubicBezTo>
                  <a:cubicBezTo>
                    <a:pt x="10" y="952"/>
                    <a:pt x="0" y="941"/>
                    <a:pt x="0" y="928"/>
                  </a:cubicBezTo>
                  <a:cubicBezTo>
                    <a:pt x="0" y="24"/>
                    <a:pt x="0" y="24"/>
                    <a:pt x="0" y="24"/>
                  </a:cubicBezTo>
                  <a:cubicBezTo>
                    <a:pt x="0" y="11"/>
                    <a:pt x="10" y="0"/>
                    <a:pt x="23" y="0"/>
                  </a:cubicBezTo>
                  <a:cubicBezTo>
                    <a:pt x="677" y="0"/>
                    <a:pt x="677" y="0"/>
                    <a:pt x="677" y="0"/>
                  </a:cubicBezTo>
                  <a:cubicBezTo>
                    <a:pt x="690" y="0"/>
                    <a:pt x="700" y="11"/>
                    <a:pt x="700" y="24"/>
                  </a:cubicBezTo>
                  <a:cubicBezTo>
                    <a:pt x="700" y="928"/>
                    <a:pt x="700" y="928"/>
                    <a:pt x="700" y="928"/>
                  </a:cubicBezTo>
                  <a:cubicBezTo>
                    <a:pt x="700"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8" name="Freeform 47"/>
            <p:cNvSpPr>
              <a:spLocks/>
            </p:cNvSpPr>
            <p:nvPr userDrawn="1"/>
          </p:nvSpPr>
          <p:spPr bwMode="auto">
            <a:xfrm>
              <a:off x="3565" y="2022"/>
              <a:ext cx="607" cy="827"/>
            </a:xfrm>
            <a:custGeom>
              <a:avLst/>
              <a:gdLst>
                <a:gd name="T0" fmla="*/ 677 w 701"/>
                <a:gd name="T1" fmla="*/ 952 h 952"/>
                <a:gd name="T2" fmla="*/ 24 w 701"/>
                <a:gd name="T3" fmla="*/ 952 h 952"/>
                <a:gd name="T4" fmla="*/ 0 w 701"/>
                <a:gd name="T5" fmla="*/ 928 h 952"/>
                <a:gd name="T6" fmla="*/ 0 w 701"/>
                <a:gd name="T7" fmla="*/ 24 h 952"/>
                <a:gd name="T8" fmla="*/ 24 w 701"/>
                <a:gd name="T9" fmla="*/ 0 h 952"/>
                <a:gd name="T10" fmla="*/ 677 w 701"/>
                <a:gd name="T11" fmla="*/ 0 h 952"/>
                <a:gd name="T12" fmla="*/ 701 w 701"/>
                <a:gd name="T13" fmla="*/ 24 h 952"/>
                <a:gd name="T14" fmla="*/ 701 w 701"/>
                <a:gd name="T15" fmla="*/ 928 h 952"/>
                <a:gd name="T16" fmla="*/ 677 w 701"/>
                <a:gd name="T17" fmla="*/ 952 h 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952">
                  <a:moveTo>
                    <a:pt x="677" y="952"/>
                  </a:moveTo>
                  <a:cubicBezTo>
                    <a:pt x="24" y="952"/>
                    <a:pt x="24" y="952"/>
                    <a:pt x="24" y="952"/>
                  </a:cubicBezTo>
                  <a:cubicBezTo>
                    <a:pt x="11" y="952"/>
                    <a:pt x="0" y="941"/>
                    <a:pt x="0" y="928"/>
                  </a:cubicBezTo>
                  <a:cubicBezTo>
                    <a:pt x="0" y="24"/>
                    <a:pt x="0" y="24"/>
                    <a:pt x="0" y="24"/>
                  </a:cubicBezTo>
                  <a:cubicBezTo>
                    <a:pt x="0" y="11"/>
                    <a:pt x="11" y="0"/>
                    <a:pt x="24" y="0"/>
                  </a:cubicBezTo>
                  <a:cubicBezTo>
                    <a:pt x="677" y="0"/>
                    <a:pt x="677" y="0"/>
                    <a:pt x="677" y="0"/>
                  </a:cubicBezTo>
                  <a:cubicBezTo>
                    <a:pt x="690" y="0"/>
                    <a:pt x="701" y="11"/>
                    <a:pt x="701" y="24"/>
                  </a:cubicBezTo>
                  <a:cubicBezTo>
                    <a:pt x="701" y="928"/>
                    <a:pt x="701" y="928"/>
                    <a:pt x="701" y="928"/>
                  </a:cubicBezTo>
                  <a:cubicBezTo>
                    <a:pt x="701" y="941"/>
                    <a:pt x="690" y="952"/>
                    <a:pt x="677" y="9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49" name="Line 48"/>
            <p:cNvSpPr>
              <a:spLocks noChangeShapeType="1"/>
            </p:cNvSpPr>
            <p:nvPr userDrawn="1"/>
          </p:nvSpPr>
          <p:spPr bwMode="auto">
            <a:xfrm>
              <a:off x="2814" y="2293"/>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0" name="Line 49"/>
            <p:cNvSpPr>
              <a:spLocks noChangeShapeType="1"/>
            </p:cNvSpPr>
            <p:nvPr userDrawn="1"/>
          </p:nvSpPr>
          <p:spPr bwMode="auto">
            <a:xfrm>
              <a:off x="2814" y="2441"/>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1" name="Line 50"/>
            <p:cNvSpPr>
              <a:spLocks noChangeShapeType="1"/>
            </p:cNvSpPr>
            <p:nvPr userDrawn="1"/>
          </p:nvSpPr>
          <p:spPr bwMode="auto">
            <a:xfrm>
              <a:off x="2814" y="2589"/>
              <a:ext cx="444"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2" name="Line 51"/>
            <p:cNvSpPr>
              <a:spLocks noChangeShapeType="1"/>
            </p:cNvSpPr>
            <p:nvPr userDrawn="1"/>
          </p:nvSpPr>
          <p:spPr bwMode="auto">
            <a:xfrm>
              <a:off x="3670" y="2250"/>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3" name="Freeform 52"/>
            <p:cNvSpPr>
              <a:spLocks/>
            </p:cNvSpPr>
            <p:nvPr userDrawn="1"/>
          </p:nvSpPr>
          <p:spPr bwMode="auto">
            <a:xfrm>
              <a:off x="3986" y="2180"/>
              <a:ext cx="96" cy="104"/>
            </a:xfrm>
            <a:custGeom>
              <a:avLst/>
              <a:gdLst>
                <a:gd name="T0" fmla="*/ 0 w 96"/>
                <a:gd name="T1" fmla="*/ 49 h 104"/>
                <a:gd name="T2" fmla="*/ 31 w 96"/>
                <a:gd name="T3" fmla="*/ 104 h 104"/>
                <a:gd name="T4" fmla="*/ 96 w 96"/>
                <a:gd name="T5" fmla="*/ 0 h 104"/>
              </a:gdLst>
              <a:ahLst/>
              <a:cxnLst>
                <a:cxn ang="0">
                  <a:pos x="T0" y="T1"/>
                </a:cxn>
                <a:cxn ang="0">
                  <a:pos x="T2" y="T3"/>
                </a:cxn>
                <a:cxn ang="0">
                  <a:pos x="T4" y="T5"/>
                </a:cxn>
              </a:cxnLst>
              <a:rect l="0" t="0" r="r" b="b"/>
              <a:pathLst>
                <a:path w="96" h="104">
                  <a:moveTo>
                    <a:pt x="0" y="49"/>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54" name="Line 53"/>
            <p:cNvSpPr>
              <a:spLocks noChangeShapeType="1"/>
            </p:cNvSpPr>
            <p:nvPr userDrawn="1"/>
          </p:nvSpPr>
          <p:spPr bwMode="auto">
            <a:xfrm>
              <a:off x="3670" y="24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0" name="Freeform 54"/>
            <p:cNvSpPr>
              <a:spLocks/>
            </p:cNvSpPr>
            <p:nvPr userDrawn="1"/>
          </p:nvSpPr>
          <p:spPr bwMode="auto">
            <a:xfrm>
              <a:off x="3986" y="2383"/>
              <a:ext cx="96" cy="105"/>
            </a:xfrm>
            <a:custGeom>
              <a:avLst/>
              <a:gdLst>
                <a:gd name="T0" fmla="*/ 0 w 96"/>
                <a:gd name="T1" fmla="*/ 49 h 105"/>
                <a:gd name="T2" fmla="*/ 31 w 96"/>
                <a:gd name="T3" fmla="*/ 105 h 105"/>
                <a:gd name="T4" fmla="*/ 96 w 96"/>
                <a:gd name="T5" fmla="*/ 0 h 105"/>
              </a:gdLst>
              <a:ahLst/>
              <a:cxnLst>
                <a:cxn ang="0">
                  <a:pos x="T0" y="T1"/>
                </a:cxn>
                <a:cxn ang="0">
                  <a:pos x="T2" y="T3"/>
                </a:cxn>
                <a:cxn ang="0">
                  <a:pos x="T4" y="T5"/>
                </a:cxn>
              </a:cxnLst>
              <a:rect l="0" t="0" r="r" b="b"/>
              <a:pathLst>
                <a:path w="96" h="105">
                  <a:moveTo>
                    <a:pt x="0" y="49"/>
                  </a:moveTo>
                  <a:lnTo>
                    <a:pt x="31" y="105"/>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1" name="Line 55"/>
            <p:cNvSpPr>
              <a:spLocks noChangeShapeType="1"/>
            </p:cNvSpPr>
            <p:nvPr userDrawn="1"/>
          </p:nvSpPr>
          <p:spPr bwMode="auto">
            <a:xfrm>
              <a:off x="3670" y="2653"/>
              <a:ext cx="260" cy="0"/>
            </a:xfrm>
            <a:prstGeom prst="line">
              <a:avLst/>
            </a:prstGeom>
            <a:noFill/>
            <a:ln w="4603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62" name="Freeform 56"/>
            <p:cNvSpPr>
              <a:spLocks/>
            </p:cNvSpPr>
            <p:nvPr userDrawn="1"/>
          </p:nvSpPr>
          <p:spPr bwMode="auto">
            <a:xfrm>
              <a:off x="3986" y="2587"/>
              <a:ext cx="96" cy="104"/>
            </a:xfrm>
            <a:custGeom>
              <a:avLst/>
              <a:gdLst>
                <a:gd name="T0" fmla="*/ 0 w 96"/>
                <a:gd name="T1" fmla="*/ 48 h 104"/>
                <a:gd name="T2" fmla="*/ 31 w 96"/>
                <a:gd name="T3" fmla="*/ 104 h 104"/>
                <a:gd name="T4" fmla="*/ 96 w 96"/>
                <a:gd name="T5" fmla="*/ 0 h 104"/>
              </a:gdLst>
              <a:ahLst/>
              <a:cxnLst>
                <a:cxn ang="0">
                  <a:pos x="T0" y="T1"/>
                </a:cxn>
                <a:cxn ang="0">
                  <a:pos x="T2" y="T3"/>
                </a:cxn>
                <a:cxn ang="0">
                  <a:pos x="T4" y="T5"/>
                </a:cxn>
              </a:cxnLst>
              <a:rect l="0" t="0" r="r" b="b"/>
              <a:pathLst>
                <a:path w="96" h="104">
                  <a:moveTo>
                    <a:pt x="0" y="48"/>
                  </a:moveTo>
                  <a:lnTo>
                    <a:pt x="31" y="104"/>
                  </a:lnTo>
                  <a:lnTo>
                    <a:pt x="96" y="0"/>
                  </a:lnTo>
                </a:path>
              </a:pathLst>
            </a:custGeom>
            <a:noFill/>
            <a:ln w="492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64" name="Regnskapsfoerer" hidden="1"/>
          <p:cNvGrpSpPr>
            <a:grpSpLocks noChangeAspect="1"/>
          </p:cNvGrpSpPr>
          <p:nvPr userDrawn="1"/>
        </p:nvGrpSpPr>
        <p:grpSpPr bwMode="auto">
          <a:xfrm>
            <a:off x="4132264" y="1943101"/>
            <a:ext cx="881063" cy="1222375"/>
            <a:chOff x="3989" y="190"/>
            <a:chExt cx="555" cy="770"/>
          </a:xfrm>
        </p:grpSpPr>
        <p:sp>
          <p:nvSpPr>
            <p:cNvPr id="966" name="Freeform 60"/>
            <p:cNvSpPr>
              <a:spLocks/>
            </p:cNvSpPr>
            <p:nvPr userDrawn="1"/>
          </p:nvSpPr>
          <p:spPr bwMode="auto">
            <a:xfrm>
              <a:off x="3989" y="516"/>
              <a:ext cx="555" cy="423"/>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7" name="Oval 61"/>
            <p:cNvSpPr>
              <a:spLocks noChangeArrowheads="1"/>
            </p:cNvSpPr>
            <p:nvPr userDrawn="1"/>
          </p:nvSpPr>
          <p:spPr bwMode="auto">
            <a:xfrm>
              <a:off x="4120" y="190"/>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68" name="Freeform 62"/>
            <p:cNvSpPr>
              <a:spLocks noEditPoints="1"/>
            </p:cNvSpPr>
            <p:nvPr userDrawn="1"/>
          </p:nvSpPr>
          <p:spPr bwMode="auto">
            <a:xfrm>
              <a:off x="4161" y="677"/>
              <a:ext cx="213" cy="283"/>
            </a:xfrm>
            <a:custGeom>
              <a:avLst/>
              <a:gdLst>
                <a:gd name="T0" fmla="*/ 268 w 327"/>
                <a:gd name="T1" fmla="*/ 0 h 435"/>
                <a:gd name="T2" fmla="*/ 58 w 327"/>
                <a:gd name="T3" fmla="*/ 0 h 435"/>
                <a:gd name="T4" fmla="*/ 0 w 327"/>
                <a:gd name="T5" fmla="*/ 59 h 435"/>
                <a:gd name="T6" fmla="*/ 0 w 327"/>
                <a:gd name="T7" fmla="*/ 376 h 435"/>
                <a:gd name="T8" fmla="*/ 58 w 327"/>
                <a:gd name="T9" fmla="*/ 435 h 435"/>
                <a:gd name="T10" fmla="*/ 268 w 327"/>
                <a:gd name="T11" fmla="*/ 435 h 435"/>
                <a:gd name="T12" fmla="*/ 327 w 327"/>
                <a:gd name="T13" fmla="*/ 376 h 435"/>
                <a:gd name="T14" fmla="*/ 327 w 327"/>
                <a:gd name="T15" fmla="*/ 59 h 435"/>
                <a:gd name="T16" fmla="*/ 268 w 327"/>
                <a:gd name="T17" fmla="*/ 0 h 435"/>
                <a:gd name="T18" fmla="*/ 100 w 327"/>
                <a:gd name="T19" fmla="*/ 380 h 435"/>
                <a:gd name="T20" fmla="*/ 47 w 327"/>
                <a:gd name="T21" fmla="*/ 380 h 435"/>
                <a:gd name="T22" fmla="*/ 47 w 327"/>
                <a:gd name="T23" fmla="*/ 327 h 435"/>
                <a:gd name="T24" fmla="*/ 100 w 327"/>
                <a:gd name="T25" fmla="*/ 327 h 435"/>
                <a:gd name="T26" fmla="*/ 100 w 327"/>
                <a:gd name="T27" fmla="*/ 380 h 435"/>
                <a:gd name="T28" fmla="*/ 100 w 327"/>
                <a:gd name="T29" fmla="*/ 308 h 435"/>
                <a:gd name="T30" fmla="*/ 47 w 327"/>
                <a:gd name="T31" fmla="*/ 308 h 435"/>
                <a:gd name="T32" fmla="*/ 47 w 327"/>
                <a:gd name="T33" fmla="*/ 255 h 435"/>
                <a:gd name="T34" fmla="*/ 100 w 327"/>
                <a:gd name="T35" fmla="*/ 255 h 435"/>
                <a:gd name="T36" fmla="*/ 100 w 327"/>
                <a:gd name="T37" fmla="*/ 308 h 435"/>
                <a:gd name="T38" fmla="*/ 100 w 327"/>
                <a:gd name="T39" fmla="*/ 231 h 435"/>
                <a:gd name="T40" fmla="*/ 47 w 327"/>
                <a:gd name="T41" fmla="*/ 231 h 435"/>
                <a:gd name="T42" fmla="*/ 47 w 327"/>
                <a:gd name="T43" fmla="*/ 178 h 435"/>
                <a:gd name="T44" fmla="*/ 100 w 327"/>
                <a:gd name="T45" fmla="*/ 178 h 435"/>
                <a:gd name="T46" fmla="*/ 100 w 327"/>
                <a:gd name="T47" fmla="*/ 231 h 435"/>
                <a:gd name="T48" fmla="*/ 190 w 327"/>
                <a:gd name="T49" fmla="*/ 380 h 435"/>
                <a:gd name="T50" fmla="*/ 137 w 327"/>
                <a:gd name="T51" fmla="*/ 380 h 435"/>
                <a:gd name="T52" fmla="*/ 137 w 327"/>
                <a:gd name="T53" fmla="*/ 327 h 435"/>
                <a:gd name="T54" fmla="*/ 190 w 327"/>
                <a:gd name="T55" fmla="*/ 327 h 435"/>
                <a:gd name="T56" fmla="*/ 190 w 327"/>
                <a:gd name="T57" fmla="*/ 380 h 435"/>
                <a:gd name="T58" fmla="*/ 190 w 327"/>
                <a:gd name="T59" fmla="*/ 308 h 435"/>
                <a:gd name="T60" fmla="*/ 137 w 327"/>
                <a:gd name="T61" fmla="*/ 308 h 435"/>
                <a:gd name="T62" fmla="*/ 137 w 327"/>
                <a:gd name="T63" fmla="*/ 255 h 435"/>
                <a:gd name="T64" fmla="*/ 190 w 327"/>
                <a:gd name="T65" fmla="*/ 255 h 435"/>
                <a:gd name="T66" fmla="*/ 190 w 327"/>
                <a:gd name="T67" fmla="*/ 308 h 435"/>
                <a:gd name="T68" fmla="*/ 190 w 327"/>
                <a:gd name="T69" fmla="*/ 231 h 435"/>
                <a:gd name="T70" fmla="*/ 137 w 327"/>
                <a:gd name="T71" fmla="*/ 231 h 435"/>
                <a:gd name="T72" fmla="*/ 137 w 327"/>
                <a:gd name="T73" fmla="*/ 178 h 435"/>
                <a:gd name="T74" fmla="*/ 190 w 327"/>
                <a:gd name="T75" fmla="*/ 178 h 435"/>
                <a:gd name="T76" fmla="*/ 190 w 327"/>
                <a:gd name="T77" fmla="*/ 231 h 435"/>
                <a:gd name="T78" fmla="*/ 279 w 327"/>
                <a:gd name="T79" fmla="*/ 380 h 435"/>
                <a:gd name="T80" fmla="*/ 226 w 327"/>
                <a:gd name="T81" fmla="*/ 380 h 435"/>
                <a:gd name="T82" fmla="*/ 226 w 327"/>
                <a:gd name="T83" fmla="*/ 327 h 435"/>
                <a:gd name="T84" fmla="*/ 279 w 327"/>
                <a:gd name="T85" fmla="*/ 327 h 435"/>
                <a:gd name="T86" fmla="*/ 279 w 327"/>
                <a:gd name="T87" fmla="*/ 380 h 435"/>
                <a:gd name="T88" fmla="*/ 279 w 327"/>
                <a:gd name="T89" fmla="*/ 308 h 435"/>
                <a:gd name="T90" fmla="*/ 226 w 327"/>
                <a:gd name="T91" fmla="*/ 308 h 435"/>
                <a:gd name="T92" fmla="*/ 226 w 327"/>
                <a:gd name="T93" fmla="*/ 255 h 435"/>
                <a:gd name="T94" fmla="*/ 279 w 327"/>
                <a:gd name="T95" fmla="*/ 255 h 435"/>
                <a:gd name="T96" fmla="*/ 279 w 327"/>
                <a:gd name="T97" fmla="*/ 308 h 435"/>
                <a:gd name="T98" fmla="*/ 279 w 327"/>
                <a:gd name="T99" fmla="*/ 231 h 435"/>
                <a:gd name="T100" fmla="*/ 226 w 327"/>
                <a:gd name="T101" fmla="*/ 231 h 435"/>
                <a:gd name="T102" fmla="*/ 226 w 327"/>
                <a:gd name="T103" fmla="*/ 178 h 435"/>
                <a:gd name="T104" fmla="*/ 279 w 327"/>
                <a:gd name="T105" fmla="*/ 178 h 435"/>
                <a:gd name="T106" fmla="*/ 279 w 327"/>
                <a:gd name="T107" fmla="*/ 231 h 435"/>
                <a:gd name="T108" fmla="*/ 279 w 327"/>
                <a:gd name="T109" fmla="*/ 128 h 435"/>
                <a:gd name="T110" fmla="*/ 47 w 327"/>
                <a:gd name="T111" fmla="*/ 128 h 435"/>
                <a:gd name="T112" fmla="*/ 47 w 327"/>
                <a:gd name="T113" fmla="*/ 55 h 435"/>
                <a:gd name="T114" fmla="*/ 279 w 327"/>
                <a:gd name="T115" fmla="*/ 55 h 435"/>
                <a:gd name="T116" fmla="*/ 279 w 327"/>
                <a:gd name="T117" fmla="*/ 128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7" h="435">
                  <a:moveTo>
                    <a:pt x="268" y="0"/>
                  </a:moveTo>
                  <a:cubicBezTo>
                    <a:pt x="58" y="0"/>
                    <a:pt x="58" y="0"/>
                    <a:pt x="58" y="0"/>
                  </a:cubicBezTo>
                  <a:cubicBezTo>
                    <a:pt x="26" y="0"/>
                    <a:pt x="0" y="26"/>
                    <a:pt x="0" y="59"/>
                  </a:cubicBezTo>
                  <a:cubicBezTo>
                    <a:pt x="0" y="376"/>
                    <a:pt x="0" y="376"/>
                    <a:pt x="0" y="376"/>
                  </a:cubicBezTo>
                  <a:cubicBezTo>
                    <a:pt x="0" y="409"/>
                    <a:pt x="26" y="435"/>
                    <a:pt x="58" y="435"/>
                  </a:cubicBezTo>
                  <a:cubicBezTo>
                    <a:pt x="268" y="435"/>
                    <a:pt x="268" y="435"/>
                    <a:pt x="268" y="435"/>
                  </a:cubicBezTo>
                  <a:cubicBezTo>
                    <a:pt x="300" y="435"/>
                    <a:pt x="327" y="409"/>
                    <a:pt x="327" y="376"/>
                  </a:cubicBezTo>
                  <a:cubicBezTo>
                    <a:pt x="327" y="59"/>
                    <a:pt x="327" y="59"/>
                    <a:pt x="327" y="59"/>
                  </a:cubicBezTo>
                  <a:cubicBezTo>
                    <a:pt x="327" y="26"/>
                    <a:pt x="300" y="0"/>
                    <a:pt x="268" y="0"/>
                  </a:cubicBezTo>
                  <a:close/>
                  <a:moveTo>
                    <a:pt x="100" y="380"/>
                  </a:moveTo>
                  <a:cubicBezTo>
                    <a:pt x="47" y="380"/>
                    <a:pt x="47" y="380"/>
                    <a:pt x="47" y="380"/>
                  </a:cubicBezTo>
                  <a:cubicBezTo>
                    <a:pt x="47" y="327"/>
                    <a:pt x="47" y="327"/>
                    <a:pt x="47" y="327"/>
                  </a:cubicBezTo>
                  <a:cubicBezTo>
                    <a:pt x="100" y="327"/>
                    <a:pt x="100" y="327"/>
                    <a:pt x="100" y="327"/>
                  </a:cubicBezTo>
                  <a:lnTo>
                    <a:pt x="100" y="380"/>
                  </a:lnTo>
                  <a:close/>
                  <a:moveTo>
                    <a:pt x="100" y="308"/>
                  </a:moveTo>
                  <a:cubicBezTo>
                    <a:pt x="47" y="308"/>
                    <a:pt x="47" y="308"/>
                    <a:pt x="47" y="308"/>
                  </a:cubicBezTo>
                  <a:cubicBezTo>
                    <a:pt x="47" y="255"/>
                    <a:pt x="47" y="255"/>
                    <a:pt x="47" y="255"/>
                  </a:cubicBezTo>
                  <a:cubicBezTo>
                    <a:pt x="100" y="255"/>
                    <a:pt x="100" y="255"/>
                    <a:pt x="100" y="255"/>
                  </a:cubicBezTo>
                  <a:lnTo>
                    <a:pt x="100" y="308"/>
                  </a:lnTo>
                  <a:close/>
                  <a:moveTo>
                    <a:pt x="100" y="231"/>
                  </a:moveTo>
                  <a:cubicBezTo>
                    <a:pt x="47" y="231"/>
                    <a:pt x="47" y="231"/>
                    <a:pt x="47" y="231"/>
                  </a:cubicBezTo>
                  <a:cubicBezTo>
                    <a:pt x="47" y="178"/>
                    <a:pt x="47" y="178"/>
                    <a:pt x="47" y="178"/>
                  </a:cubicBezTo>
                  <a:cubicBezTo>
                    <a:pt x="100" y="178"/>
                    <a:pt x="100" y="178"/>
                    <a:pt x="100" y="178"/>
                  </a:cubicBezTo>
                  <a:lnTo>
                    <a:pt x="100" y="231"/>
                  </a:lnTo>
                  <a:close/>
                  <a:moveTo>
                    <a:pt x="190" y="380"/>
                  </a:moveTo>
                  <a:cubicBezTo>
                    <a:pt x="137" y="380"/>
                    <a:pt x="137" y="380"/>
                    <a:pt x="137" y="380"/>
                  </a:cubicBezTo>
                  <a:cubicBezTo>
                    <a:pt x="137" y="327"/>
                    <a:pt x="137" y="327"/>
                    <a:pt x="137" y="327"/>
                  </a:cubicBezTo>
                  <a:cubicBezTo>
                    <a:pt x="190" y="327"/>
                    <a:pt x="190" y="327"/>
                    <a:pt x="190" y="327"/>
                  </a:cubicBezTo>
                  <a:lnTo>
                    <a:pt x="190" y="380"/>
                  </a:lnTo>
                  <a:close/>
                  <a:moveTo>
                    <a:pt x="190" y="308"/>
                  </a:moveTo>
                  <a:cubicBezTo>
                    <a:pt x="137" y="308"/>
                    <a:pt x="137" y="308"/>
                    <a:pt x="137" y="308"/>
                  </a:cubicBezTo>
                  <a:cubicBezTo>
                    <a:pt x="137" y="255"/>
                    <a:pt x="137" y="255"/>
                    <a:pt x="137" y="255"/>
                  </a:cubicBezTo>
                  <a:cubicBezTo>
                    <a:pt x="190" y="255"/>
                    <a:pt x="190" y="255"/>
                    <a:pt x="190" y="255"/>
                  </a:cubicBezTo>
                  <a:lnTo>
                    <a:pt x="190" y="308"/>
                  </a:lnTo>
                  <a:close/>
                  <a:moveTo>
                    <a:pt x="190" y="231"/>
                  </a:moveTo>
                  <a:cubicBezTo>
                    <a:pt x="137" y="231"/>
                    <a:pt x="137" y="231"/>
                    <a:pt x="137" y="231"/>
                  </a:cubicBezTo>
                  <a:cubicBezTo>
                    <a:pt x="137" y="178"/>
                    <a:pt x="137" y="178"/>
                    <a:pt x="137" y="178"/>
                  </a:cubicBezTo>
                  <a:cubicBezTo>
                    <a:pt x="190" y="178"/>
                    <a:pt x="190" y="178"/>
                    <a:pt x="190" y="178"/>
                  </a:cubicBezTo>
                  <a:lnTo>
                    <a:pt x="190" y="231"/>
                  </a:lnTo>
                  <a:close/>
                  <a:moveTo>
                    <a:pt x="279" y="380"/>
                  </a:moveTo>
                  <a:cubicBezTo>
                    <a:pt x="226" y="380"/>
                    <a:pt x="226" y="380"/>
                    <a:pt x="226" y="380"/>
                  </a:cubicBezTo>
                  <a:cubicBezTo>
                    <a:pt x="226" y="327"/>
                    <a:pt x="226" y="327"/>
                    <a:pt x="226" y="327"/>
                  </a:cubicBezTo>
                  <a:cubicBezTo>
                    <a:pt x="279" y="327"/>
                    <a:pt x="279" y="327"/>
                    <a:pt x="279" y="327"/>
                  </a:cubicBezTo>
                  <a:lnTo>
                    <a:pt x="279" y="380"/>
                  </a:lnTo>
                  <a:close/>
                  <a:moveTo>
                    <a:pt x="279" y="308"/>
                  </a:moveTo>
                  <a:cubicBezTo>
                    <a:pt x="226" y="308"/>
                    <a:pt x="226" y="308"/>
                    <a:pt x="226" y="308"/>
                  </a:cubicBezTo>
                  <a:cubicBezTo>
                    <a:pt x="226" y="255"/>
                    <a:pt x="226" y="255"/>
                    <a:pt x="226" y="255"/>
                  </a:cubicBezTo>
                  <a:cubicBezTo>
                    <a:pt x="279" y="255"/>
                    <a:pt x="279" y="255"/>
                    <a:pt x="279" y="255"/>
                  </a:cubicBezTo>
                  <a:lnTo>
                    <a:pt x="279" y="308"/>
                  </a:lnTo>
                  <a:close/>
                  <a:moveTo>
                    <a:pt x="279" y="231"/>
                  </a:moveTo>
                  <a:cubicBezTo>
                    <a:pt x="226" y="231"/>
                    <a:pt x="226" y="231"/>
                    <a:pt x="226" y="231"/>
                  </a:cubicBezTo>
                  <a:cubicBezTo>
                    <a:pt x="226" y="178"/>
                    <a:pt x="226" y="178"/>
                    <a:pt x="226" y="178"/>
                  </a:cubicBezTo>
                  <a:cubicBezTo>
                    <a:pt x="279" y="178"/>
                    <a:pt x="279" y="178"/>
                    <a:pt x="279" y="178"/>
                  </a:cubicBezTo>
                  <a:lnTo>
                    <a:pt x="279" y="231"/>
                  </a:lnTo>
                  <a:close/>
                  <a:moveTo>
                    <a:pt x="279" y="128"/>
                  </a:moveTo>
                  <a:cubicBezTo>
                    <a:pt x="47" y="128"/>
                    <a:pt x="47" y="128"/>
                    <a:pt x="47" y="128"/>
                  </a:cubicBezTo>
                  <a:cubicBezTo>
                    <a:pt x="47" y="55"/>
                    <a:pt x="47" y="55"/>
                    <a:pt x="47" y="55"/>
                  </a:cubicBezTo>
                  <a:cubicBezTo>
                    <a:pt x="279" y="55"/>
                    <a:pt x="279" y="55"/>
                    <a:pt x="279" y="55"/>
                  </a:cubicBezTo>
                  <a:lnTo>
                    <a:pt x="279" y="1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0" name="Pensjonist" hidden="1"/>
          <p:cNvGrpSpPr>
            <a:grpSpLocks noChangeAspect="1"/>
          </p:cNvGrpSpPr>
          <p:nvPr userDrawn="1"/>
        </p:nvGrpSpPr>
        <p:grpSpPr bwMode="auto">
          <a:xfrm>
            <a:off x="4133057" y="1893888"/>
            <a:ext cx="879475" cy="1320801"/>
            <a:chOff x="4341" y="1057"/>
            <a:chExt cx="554" cy="832"/>
          </a:xfrm>
        </p:grpSpPr>
        <p:sp>
          <p:nvSpPr>
            <p:cNvPr id="972" name="Freeform 66"/>
            <p:cNvSpPr>
              <a:spLocks/>
            </p:cNvSpPr>
            <p:nvPr userDrawn="1"/>
          </p:nvSpPr>
          <p:spPr bwMode="auto">
            <a:xfrm>
              <a:off x="4341" y="1382"/>
              <a:ext cx="554" cy="423"/>
            </a:xfrm>
            <a:custGeom>
              <a:avLst/>
              <a:gdLst>
                <a:gd name="T0" fmla="*/ 0 w 851"/>
                <a:gd name="T1" fmla="*/ 456 h 649"/>
                <a:gd name="T2" fmla="*/ 426 w 851"/>
                <a:gd name="T3" fmla="*/ 649 h 649"/>
                <a:gd name="T4" fmla="*/ 851 w 851"/>
                <a:gd name="T5" fmla="*/ 456 h 649"/>
                <a:gd name="T6" fmla="*/ 426 w 851"/>
                <a:gd name="T7" fmla="*/ 0 h 649"/>
                <a:gd name="T8" fmla="*/ 0 w 851"/>
                <a:gd name="T9" fmla="*/ 456 h 649"/>
              </a:gdLst>
              <a:ahLst/>
              <a:cxnLst>
                <a:cxn ang="0">
                  <a:pos x="T0" y="T1"/>
                </a:cxn>
                <a:cxn ang="0">
                  <a:pos x="T2" y="T3"/>
                </a:cxn>
                <a:cxn ang="0">
                  <a:pos x="T4" y="T5"/>
                </a:cxn>
                <a:cxn ang="0">
                  <a:pos x="T6" y="T7"/>
                </a:cxn>
                <a:cxn ang="0">
                  <a:pos x="T8" y="T9"/>
                </a:cxn>
              </a:cxnLst>
              <a:rect l="0" t="0" r="r" b="b"/>
              <a:pathLst>
                <a:path w="851" h="649">
                  <a:moveTo>
                    <a:pt x="0" y="456"/>
                  </a:moveTo>
                  <a:cubicBezTo>
                    <a:pt x="108" y="575"/>
                    <a:pt x="259" y="649"/>
                    <a:pt x="426" y="649"/>
                  </a:cubicBezTo>
                  <a:cubicBezTo>
                    <a:pt x="592" y="649"/>
                    <a:pt x="743" y="575"/>
                    <a:pt x="851" y="456"/>
                  </a:cubicBezTo>
                  <a:cubicBezTo>
                    <a:pt x="851" y="165"/>
                    <a:pt x="660" y="0"/>
                    <a:pt x="426" y="0"/>
                  </a:cubicBezTo>
                  <a:cubicBezTo>
                    <a:pt x="191" y="0"/>
                    <a:pt x="0" y="165"/>
                    <a:pt x="0" y="45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3" name="Oval 67"/>
            <p:cNvSpPr>
              <a:spLocks noChangeArrowheads="1"/>
            </p:cNvSpPr>
            <p:nvPr userDrawn="1"/>
          </p:nvSpPr>
          <p:spPr bwMode="auto">
            <a:xfrm>
              <a:off x="4472" y="1057"/>
              <a:ext cx="293" cy="30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4" name="Freeform 68"/>
            <p:cNvSpPr>
              <a:spLocks/>
            </p:cNvSpPr>
            <p:nvPr userDrawn="1"/>
          </p:nvSpPr>
          <p:spPr bwMode="auto">
            <a:xfrm>
              <a:off x="4663" y="1463"/>
              <a:ext cx="122" cy="426"/>
            </a:xfrm>
            <a:custGeom>
              <a:avLst/>
              <a:gdLst>
                <a:gd name="T0" fmla="*/ 68 w 186"/>
                <a:gd name="T1" fmla="*/ 131 h 654"/>
                <a:gd name="T2" fmla="*/ 82 w 186"/>
                <a:gd name="T3" fmla="*/ 70 h 654"/>
                <a:gd name="T4" fmla="*/ 120 w 186"/>
                <a:gd name="T5" fmla="*/ 72 h 654"/>
                <a:gd name="T6" fmla="*/ 124 w 186"/>
                <a:gd name="T7" fmla="*/ 145 h 654"/>
                <a:gd name="T8" fmla="*/ 117 w 186"/>
                <a:gd name="T9" fmla="*/ 239 h 654"/>
                <a:gd name="T10" fmla="*/ 87 w 186"/>
                <a:gd name="T11" fmla="*/ 616 h 654"/>
                <a:gd name="T12" fmla="*/ 147 w 186"/>
                <a:gd name="T13" fmla="*/ 616 h 654"/>
                <a:gd name="T14" fmla="*/ 184 w 186"/>
                <a:gd name="T15" fmla="*/ 137 h 654"/>
                <a:gd name="T16" fmla="*/ 172 w 186"/>
                <a:gd name="T17" fmla="*/ 42 h 654"/>
                <a:gd name="T18" fmla="*/ 98 w 186"/>
                <a:gd name="T19" fmla="*/ 1 h 654"/>
                <a:gd name="T20" fmla="*/ 10 w 186"/>
                <a:gd name="T21" fmla="*/ 147 h 654"/>
                <a:gd name="T22" fmla="*/ 68 w 186"/>
                <a:gd name="T23" fmla="*/ 131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 h="654">
                  <a:moveTo>
                    <a:pt x="68" y="131"/>
                  </a:moveTo>
                  <a:cubicBezTo>
                    <a:pt x="65" y="110"/>
                    <a:pt x="68" y="86"/>
                    <a:pt x="82" y="70"/>
                  </a:cubicBezTo>
                  <a:cubicBezTo>
                    <a:pt x="93" y="57"/>
                    <a:pt x="111" y="57"/>
                    <a:pt x="120" y="72"/>
                  </a:cubicBezTo>
                  <a:cubicBezTo>
                    <a:pt x="132" y="91"/>
                    <a:pt x="125" y="124"/>
                    <a:pt x="124" y="145"/>
                  </a:cubicBezTo>
                  <a:cubicBezTo>
                    <a:pt x="122" y="177"/>
                    <a:pt x="120" y="208"/>
                    <a:pt x="117" y="239"/>
                  </a:cubicBezTo>
                  <a:cubicBezTo>
                    <a:pt x="109" y="365"/>
                    <a:pt x="99" y="490"/>
                    <a:pt x="87" y="616"/>
                  </a:cubicBezTo>
                  <a:cubicBezTo>
                    <a:pt x="84" y="654"/>
                    <a:pt x="144" y="654"/>
                    <a:pt x="147" y="616"/>
                  </a:cubicBezTo>
                  <a:cubicBezTo>
                    <a:pt x="162" y="456"/>
                    <a:pt x="174" y="297"/>
                    <a:pt x="184" y="137"/>
                  </a:cubicBezTo>
                  <a:cubicBezTo>
                    <a:pt x="186" y="104"/>
                    <a:pt x="186" y="72"/>
                    <a:pt x="172" y="42"/>
                  </a:cubicBezTo>
                  <a:cubicBezTo>
                    <a:pt x="159" y="14"/>
                    <a:pt x="127" y="0"/>
                    <a:pt x="98" y="1"/>
                  </a:cubicBezTo>
                  <a:cubicBezTo>
                    <a:pt x="24" y="3"/>
                    <a:pt x="0" y="86"/>
                    <a:pt x="10" y="147"/>
                  </a:cubicBezTo>
                  <a:cubicBezTo>
                    <a:pt x="17" y="185"/>
                    <a:pt x="74" y="169"/>
                    <a:pt x="68" y="1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976" name="Pengeoverfoering" hidden="1"/>
          <p:cNvGrpSpPr>
            <a:grpSpLocks noChangeAspect="1"/>
          </p:cNvGrpSpPr>
          <p:nvPr userDrawn="1"/>
        </p:nvGrpSpPr>
        <p:grpSpPr bwMode="auto">
          <a:xfrm>
            <a:off x="3571082" y="1752601"/>
            <a:ext cx="2003425" cy="1603375"/>
            <a:chOff x="2307" y="187"/>
            <a:chExt cx="1262" cy="1010"/>
          </a:xfrm>
        </p:grpSpPr>
        <p:sp>
          <p:nvSpPr>
            <p:cNvPr id="978" name="Freeform 72"/>
            <p:cNvSpPr>
              <a:spLocks/>
            </p:cNvSpPr>
            <p:nvPr userDrawn="1"/>
          </p:nvSpPr>
          <p:spPr bwMode="auto">
            <a:xfrm>
              <a:off x="2307" y="611"/>
              <a:ext cx="1262" cy="586"/>
            </a:xfrm>
            <a:custGeom>
              <a:avLst/>
              <a:gdLst>
                <a:gd name="T0" fmla="*/ 951 w 962"/>
                <a:gd name="T1" fmla="*/ 209 h 446"/>
                <a:gd name="T2" fmla="*/ 835 w 962"/>
                <a:gd name="T3" fmla="*/ 136 h 446"/>
                <a:gd name="T4" fmla="*/ 813 w 962"/>
                <a:gd name="T5" fmla="*/ 123 h 446"/>
                <a:gd name="T6" fmla="*/ 630 w 962"/>
                <a:gd name="T7" fmla="*/ 9 h 446"/>
                <a:gd name="T8" fmla="*/ 599 w 962"/>
                <a:gd name="T9" fmla="*/ 23 h 446"/>
                <a:gd name="T10" fmla="*/ 599 w 962"/>
                <a:gd name="T11" fmla="*/ 129 h 446"/>
                <a:gd name="T12" fmla="*/ 0 w 962"/>
                <a:gd name="T13" fmla="*/ 129 h 446"/>
                <a:gd name="T14" fmla="*/ 0 w 962"/>
                <a:gd name="T15" fmla="*/ 317 h 446"/>
                <a:gd name="T16" fmla="*/ 599 w 962"/>
                <a:gd name="T17" fmla="*/ 317 h 446"/>
                <a:gd name="T18" fmla="*/ 599 w 962"/>
                <a:gd name="T19" fmla="*/ 423 h 446"/>
                <a:gd name="T20" fmla="*/ 630 w 962"/>
                <a:gd name="T21" fmla="*/ 437 h 446"/>
                <a:gd name="T22" fmla="*/ 951 w 962"/>
                <a:gd name="T23" fmla="*/ 237 h 446"/>
                <a:gd name="T24" fmla="*/ 951 w 962"/>
                <a:gd name="T25" fmla="*/ 209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2" h="446">
                  <a:moveTo>
                    <a:pt x="951" y="209"/>
                  </a:moveTo>
                  <a:cubicBezTo>
                    <a:pt x="835" y="136"/>
                    <a:pt x="835" y="136"/>
                    <a:pt x="835" y="136"/>
                  </a:cubicBezTo>
                  <a:cubicBezTo>
                    <a:pt x="813" y="123"/>
                    <a:pt x="813" y="123"/>
                    <a:pt x="813" y="123"/>
                  </a:cubicBezTo>
                  <a:cubicBezTo>
                    <a:pt x="630" y="9"/>
                    <a:pt x="630" y="9"/>
                    <a:pt x="630" y="9"/>
                  </a:cubicBezTo>
                  <a:cubicBezTo>
                    <a:pt x="617" y="0"/>
                    <a:pt x="599" y="9"/>
                    <a:pt x="599" y="23"/>
                  </a:cubicBezTo>
                  <a:cubicBezTo>
                    <a:pt x="599" y="129"/>
                    <a:pt x="599" y="129"/>
                    <a:pt x="599" y="129"/>
                  </a:cubicBezTo>
                  <a:cubicBezTo>
                    <a:pt x="0" y="129"/>
                    <a:pt x="0" y="129"/>
                    <a:pt x="0" y="129"/>
                  </a:cubicBezTo>
                  <a:cubicBezTo>
                    <a:pt x="0" y="317"/>
                    <a:pt x="0" y="317"/>
                    <a:pt x="0" y="317"/>
                  </a:cubicBezTo>
                  <a:cubicBezTo>
                    <a:pt x="599" y="317"/>
                    <a:pt x="599" y="317"/>
                    <a:pt x="599" y="317"/>
                  </a:cubicBezTo>
                  <a:cubicBezTo>
                    <a:pt x="599" y="423"/>
                    <a:pt x="599" y="423"/>
                    <a:pt x="599" y="423"/>
                  </a:cubicBezTo>
                  <a:cubicBezTo>
                    <a:pt x="599" y="437"/>
                    <a:pt x="617" y="446"/>
                    <a:pt x="630" y="437"/>
                  </a:cubicBezTo>
                  <a:cubicBezTo>
                    <a:pt x="951" y="237"/>
                    <a:pt x="951" y="237"/>
                    <a:pt x="951" y="237"/>
                  </a:cubicBezTo>
                  <a:cubicBezTo>
                    <a:pt x="962" y="230"/>
                    <a:pt x="962" y="216"/>
                    <a:pt x="951" y="209"/>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79" name="Freeform 73"/>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0" name="Freeform 74"/>
            <p:cNvSpPr>
              <a:spLocks/>
            </p:cNvSpPr>
            <p:nvPr userDrawn="1"/>
          </p:nvSpPr>
          <p:spPr bwMode="auto">
            <a:xfrm>
              <a:off x="2441" y="648"/>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1" name="Freeform 75"/>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2" name="Freeform 76"/>
            <p:cNvSpPr>
              <a:spLocks/>
            </p:cNvSpPr>
            <p:nvPr userDrawn="1"/>
          </p:nvSpPr>
          <p:spPr bwMode="auto">
            <a:xfrm>
              <a:off x="2441" y="551"/>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3"/>
                    <a:pt x="227" y="128"/>
                    <a:pt x="146" y="128"/>
                  </a:cubicBezTo>
                  <a:cubicBezTo>
                    <a:pt x="65" y="128"/>
                    <a:pt x="0" y="103"/>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3" name="Freeform 77"/>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4" name="Freeform 78"/>
            <p:cNvSpPr>
              <a:spLocks/>
            </p:cNvSpPr>
            <p:nvPr userDrawn="1"/>
          </p:nvSpPr>
          <p:spPr bwMode="auto">
            <a:xfrm>
              <a:off x="2441" y="454"/>
              <a:ext cx="383"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5" name="Freeform 79"/>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6" name="Freeform 80"/>
            <p:cNvSpPr>
              <a:spLocks/>
            </p:cNvSpPr>
            <p:nvPr userDrawn="1"/>
          </p:nvSpPr>
          <p:spPr bwMode="auto">
            <a:xfrm>
              <a:off x="2441" y="360"/>
              <a:ext cx="383"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7" name="Oval 81"/>
            <p:cNvSpPr>
              <a:spLocks noChangeArrowheads="1"/>
            </p:cNvSpPr>
            <p:nvPr userDrawn="1"/>
          </p:nvSpPr>
          <p:spPr bwMode="auto">
            <a:xfrm>
              <a:off x="2441" y="283"/>
              <a:ext cx="383"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88" name="Oval 82"/>
            <p:cNvSpPr>
              <a:spLocks noChangeArrowheads="1"/>
            </p:cNvSpPr>
            <p:nvPr userDrawn="1"/>
          </p:nvSpPr>
          <p:spPr bwMode="auto">
            <a:xfrm>
              <a:off x="2441" y="283"/>
              <a:ext cx="383"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89" name="Freeform 83"/>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0" name="Freeform 84"/>
            <p:cNvSpPr>
              <a:spLocks/>
            </p:cNvSpPr>
            <p:nvPr userDrawn="1"/>
          </p:nvSpPr>
          <p:spPr bwMode="auto">
            <a:xfrm>
              <a:off x="2896" y="677"/>
              <a:ext cx="385" cy="168"/>
            </a:xfrm>
            <a:custGeom>
              <a:avLst/>
              <a:gdLst>
                <a:gd name="T0" fmla="*/ 293 w 293"/>
                <a:gd name="T1" fmla="*/ 0 h 128"/>
                <a:gd name="T2" fmla="*/ 293 w 293"/>
                <a:gd name="T3" fmla="*/ 72 h 128"/>
                <a:gd name="T4" fmla="*/ 147 w 293"/>
                <a:gd name="T5" fmla="*/ 128 h 128"/>
                <a:gd name="T6" fmla="*/ 0 w 293"/>
                <a:gd name="T7" fmla="*/ 72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2"/>
                    <a:pt x="293" y="72"/>
                    <a:pt x="293" y="72"/>
                  </a:cubicBezTo>
                  <a:cubicBezTo>
                    <a:pt x="293" y="103"/>
                    <a:pt x="228" y="128"/>
                    <a:pt x="147" y="128"/>
                  </a:cubicBezTo>
                  <a:cubicBezTo>
                    <a:pt x="66" y="128"/>
                    <a:pt x="0" y="103"/>
                    <a:pt x="0" y="72"/>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1" name="Freeform 85"/>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2" name="Freeform 86"/>
            <p:cNvSpPr>
              <a:spLocks/>
            </p:cNvSpPr>
            <p:nvPr userDrawn="1"/>
          </p:nvSpPr>
          <p:spPr bwMode="auto">
            <a:xfrm>
              <a:off x="2896" y="580"/>
              <a:ext cx="385" cy="168"/>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3"/>
                    <a:pt x="228" y="128"/>
                    <a:pt x="147" y="128"/>
                  </a:cubicBezTo>
                  <a:cubicBezTo>
                    <a:pt x="66" y="128"/>
                    <a:pt x="0" y="103"/>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3" name="Freeform 87"/>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4" name="Freeform 88"/>
            <p:cNvSpPr>
              <a:spLocks/>
            </p:cNvSpPr>
            <p:nvPr userDrawn="1"/>
          </p:nvSpPr>
          <p:spPr bwMode="auto">
            <a:xfrm>
              <a:off x="2896" y="482"/>
              <a:ext cx="385" cy="169"/>
            </a:xfrm>
            <a:custGeom>
              <a:avLst/>
              <a:gdLst>
                <a:gd name="T0" fmla="*/ 293 w 293"/>
                <a:gd name="T1" fmla="*/ 0 h 128"/>
                <a:gd name="T2" fmla="*/ 293 w 293"/>
                <a:gd name="T3" fmla="*/ 71 h 128"/>
                <a:gd name="T4" fmla="*/ 147 w 293"/>
                <a:gd name="T5" fmla="*/ 128 h 128"/>
                <a:gd name="T6" fmla="*/ 0 w 293"/>
                <a:gd name="T7" fmla="*/ 71 h 128"/>
                <a:gd name="T8" fmla="*/ 0 w 293"/>
                <a:gd name="T9" fmla="*/ 0 h 128"/>
                <a:gd name="T10" fmla="*/ 293 w 293"/>
                <a:gd name="T11" fmla="*/ 0 h 128"/>
              </a:gdLst>
              <a:ahLst/>
              <a:cxnLst>
                <a:cxn ang="0">
                  <a:pos x="T0" y="T1"/>
                </a:cxn>
                <a:cxn ang="0">
                  <a:pos x="T2" y="T3"/>
                </a:cxn>
                <a:cxn ang="0">
                  <a:pos x="T4" y="T5"/>
                </a:cxn>
                <a:cxn ang="0">
                  <a:pos x="T6" y="T7"/>
                </a:cxn>
                <a:cxn ang="0">
                  <a:pos x="T8" y="T9"/>
                </a:cxn>
                <a:cxn ang="0">
                  <a:pos x="T10" y="T11"/>
                </a:cxn>
              </a:cxnLst>
              <a:rect l="0" t="0" r="r" b="b"/>
              <a:pathLst>
                <a:path w="293" h="128">
                  <a:moveTo>
                    <a:pt x="293" y="0"/>
                  </a:moveTo>
                  <a:cubicBezTo>
                    <a:pt x="293" y="71"/>
                    <a:pt x="293" y="71"/>
                    <a:pt x="293" y="71"/>
                  </a:cubicBezTo>
                  <a:cubicBezTo>
                    <a:pt x="293" y="102"/>
                    <a:pt x="228" y="128"/>
                    <a:pt x="147" y="128"/>
                  </a:cubicBezTo>
                  <a:cubicBezTo>
                    <a:pt x="66" y="128"/>
                    <a:pt x="0" y="102"/>
                    <a:pt x="0" y="71"/>
                  </a:cubicBezTo>
                  <a:cubicBezTo>
                    <a:pt x="0" y="0"/>
                    <a:pt x="0" y="0"/>
                    <a:pt x="0" y="0"/>
                  </a:cubicBezTo>
                  <a:lnTo>
                    <a:pt x="293"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5" name="Oval 89"/>
            <p:cNvSpPr>
              <a:spLocks noChangeArrowheads="1"/>
            </p:cNvSpPr>
            <p:nvPr userDrawn="1"/>
          </p:nvSpPr>
          <p:spPr bwMode="auto">
            <a:xfrm>
              <a:off x="2896" y="405"/>
              <a:ext cx="385" cy="147"/>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6" name="Oval 90"/>
            <p:cNvSpPr>
              <a:spLocks noChangeArrowheads="1"/>
            </p:cNvSpPr>
            <p:nvPr userDrawn="1"/>
          </p:nvSpPr>
          <p:spPr bwMode="auto">
            <a:xfrm>
              <a:off x="2896" y="405"/>
              <a:ext cx="385" cy="147"/>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7" name="Freeform 91"/>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998" name="Freeform 92"/>
            <p:cNvSpPr>
              <a:spLocks/>
            </p:cNvSpPr>
            <p:nvPr userDrawn="1"/>
          </p:nvSpPr>
          <p:spPr bwMode="auto">
            <a:xfrm>
              <a:off x="2612" y="749"/>
              <a:ext cx="384" cy="168"/>
            </a:xfrm>
            <a:custGeom>
              <a:avLst/>
              <a:gdLst>
                <a:gd name="T0" fmla="*/ 146 w 292"/>
                <a:gd name="T1" fmla="*/ 128 h 128"/>
                <a:gd name="T2" fmla="*/ 0 w 292"/>
                <a:gd name="T3" fmla="*/ 72 h 128"/>
                <a:gd name="T4" fmla="*/ 0 w 292"/>
                <a:gd name="T5" fmla="*/ 0 h 128"/>
                <a:gd name="T6" fmla="*/ 292 w 292"/>
                <a:gd name="T7" fmla="*/ 0 h 128"/>
                <a:gd name="T8" fmla="*/ 292 w 292"/>
                <a:gd name="T9" fmla="*/ 72 h 128"/>
                <a:gd name="T10" fmla="*/ 146 w 292"/>
                <a:gd name="T11" fmla="*/ 128 h 128"/>
              </a:gdLst>
              <a:ahLst/>
              <a:cxnLst>
                <a:cxn ang="0">
                  <a:pos x="T0" y="T1"/>
                </a:cxn>
                <a:cxn ang="0">
                  <a:pos x="T2" y="T3"/>
                </a:cxn>
                <a:cxn ang="0">
                  <a:pos x="T4" y="T5"/>
                </a:cxn>
                <a:cxn ang="0">
                  <a:pos x="T6" y="T7"/>
                </a:cxn>
                <a:cxn ang="0">
                  <a:pos x="T8" y="T9"/>
                </a:cxn>
                <a:cxn ang="0">
                  <a:pos x="T10" y="T11"/>
                </a:cxn>
              </a:cxnLst>
              <a:rect l="0" t="0" r="r" b="b"/>
              <a:pathLst>
                <a:path w="292" h="128">
                  <a:moveTo>
                    <a:pt x="146" y="128"/>
                  </a:moveTo>
                  <a:cubicBezTo>
                    <a:pt x="65" y="128"/>
                    <a:pt x="0" y="103"/>
                    <a:pt x="0" y="72"/>
                  </a:cubicBezTo>
                  <a:cubicBezTo>
                    <a:pt x="0" y="0"/>
                    <a:pt x="0" y="0"/>
                    <a:pt x="0" y="0"/>
                  </a:cubicBezTo>
                  <a:cubicBezTo>
                    <a:pt x="292" y="0"/>
                    <a:pt x="292" y="0"/>
                    <a:pt x="292" y="0"/>
                  </a:cubicBezTo>
                  <a:cubicBezTo>
                    <a:pt x="292" y="72"/>
                    <a:pt x="292" y="72"/>
                    <a:pt x="292" y="72"/>
                  </a:cubicBezTo>
                  <a:cubicBezTo>
                    <a:pt x="292" y="103"/>
                    <a:pt x="227" y="128"/>
                    <a:pt x="146" y="128"/>
                  </a:cubicBezTo>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999" name="Freeform 93"/>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0" name="Freeform 94"/>
            <p:cNvSpPr>
              <a:spLocks/>
            </p:cNvSpPr>
            <p:nvPr userDrawn="1"/>
          </p:nvSpPr>
          <p:spPr bwMode="auto">
            <a:xfrm>
              <a:off x="2612" y="652"/>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1" name="Freeform 95"/>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2" name="Freeform 96"/>
            <p:cNvSpPr>
              <a:spLocks/>
            </p:cNvSpPr>
            <p:nvPr userDrawn="1"/>
          </p:nvSpPr>
          <p:spPr bwMode="auto">
            <a:xfrm>
              <a:off x="2612" y="555"/>
              <a:ext cx="384" cy="168"/>
            </a:xfrm>
            <a:custGeom>
              <a:avLst/>
              <a:gdLst>
                <a:gd name="T0" fmla="*/ 292 w 292"/>
                <a:gd name="T1" fmla="*/ 0 h 128"/>
                <a:gd name="T2" fmla="*/ 292 w 292"/>
                <a:gd name="T3" fmla="*/ 71 h 128"/>
                <a:gd name="T4" fmla="*/ 146 w 292"/>
                <a:gd name="T5" fmla="*/ 128 h 128"/>
                <a:gd name="T6" fmla="*/ 0 w 292"/>
                <a:gd name="T7" fmla="*/ 71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1"/>
                    <a:pt x="292" y="71"/>
                    <a:pt x="292" y="71"/>
                  </a:cubicBezTo>
                  <a:cubicBezTo>
                    <a:pt x="292" y="102"/>
                    <a:pt x="227" y="128"/>
                    <a:pt x="146" y="128"/>
                  </a:cubicBezTo>
                  <a:cubicBezTo>
                    <a:pt x="65" y="128"/>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3" name="Freeform 97"/>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4" name="Freeform 98"/>
            <p:cNvSpPr>
              <a:spLocks/>
            </p:cNvSpPr>
            <p:nvPr userDrawn="1"/>
          </p:nvSpPr>
          <p:spPr bwMode="auto">
            <a:xfrm>
              <a:off x="2612" y="460"/>
              <a:ext cx="384" cy="167"/>
            </a:xfrm>
            <a:custGeom>
              <a:avLst/>
              <a:gdLst>
                <a:gd name="T0" fmla="*/ 292 w 292"/>
                <a:gd name="T1" fmla="*/ 0 h 127"/>
                <a:gd name="T2" fmla="*/ 292 w 292"/>
                <a:gd name="T3" fmla="*/ 71 h 127"/>
                <a:gd name="T4" fmla="*/ 146 w 292"/>
                <a:gd name="T5" fmla="*/ 127 h 127"/>
                <a:gd name="T6" fmla="*/ 0 w 292"/>
                <a:gd name="T7" fmla="*/ 71 h 127"/>
                <a:gd name="T8" fmla="*/ 0 w 292"/>
                <a:gd name="T9" fmla="*/ 0 h 127"/>
                <a:gd name="T10" fmla="*/ 292 w 292"/>
                <a:gd name="T11" fmla="*/ 0 h 127"/>
              </a:gdLst>
              <a:ahLst/>
              <a:cxnLst>
                <a:cxn ang="0">
                  <a:pos x="T0" y="T1"/>
                </a:cxn>
                <a:cxn ang="0">
                  <a:pos x="T2" y="T3"/>
                </a:cxn>
                <a:cxn ang="0">
                  <a:pos x="T4" y="T5"/>
                </a:cxn>
                <a:cxn ang="0">
                  <a:pos x="T6" y="T7"/>
                </a:cxn>
                <a:cxn ang="0">
                  <a:pos x="T8" y="T9"/>
                </a:cxn>
                <a:cxn ang="0">
                  <a:pos x="T10" y="T11"/>
                </a:cxn>
              </a:cxnLst>
              <a:rect l="0" t="0" r="r" b="b"/>
              <a:pathLst>
                <a:path w="292" h="127">
                  <a:moveTo>
                    <a:pt x="292" y="0"/>
                  </a:moveTo>
                  <a:cubicBezTo>
                    <a:pt x="292" y="71"/>
                    <a:pt x="292" y="71"/>
                    <a:pt x="292" y="71"/>
                  </a:cubicBezTo>
                  <a:cubicBezTo>
                    <a:pt x="292" y="102"/>
                    <a:pt x="227" y="127"/>
                    <a:pt x="146" y="127"/>
                  </a:cubicBezTo>
                  <a:cubicBezTo>
                    <a:pt x="65" y="127"/>
                    <a:pt x="0" y="102"/>
                    <a:pt x="0" y="71"/>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5" name="Freeform 99"/>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6" name="Freeform 100"/>
            <p:cNvSpPr>
              <a:spLocks/>
            </p:cNvSpPr>
            <p:nvPr userDrawn="1"/>
          </p:nvSpPr>
          <p:spPr bwMode="auto">
            <a:xfrm>
              <a:off x="2612" y="362"/>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7" name="Freeform 101"/>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08" name="Freeform 102"/>
            <p:cNvSpPr>
              <a:spLocks/>
            </p:cNvSpPr>
            <p:nvPr userDrawn="1"/>
          </p:nvSpPr>
          <p:spPr bwMode="auto">
            <a:xfrm>
              <a:off x="2612" y="264"/>
              <a:ext cx="384" cy="168"/>
            </a:xfrm>
            <a:custGeom>
              <a:avLst/>
              <a:gdLst>
                <a:gd name="T0" fmla="*/ 292 w 292"/>
                <a:gd name="T1" fmla="*/ 0 h 128"/>
                <a:gd name="T2" fmla="*/ 292 w 292"/>
                <a:gd name="T3" fmla="*/ 72 h 128"/>
                <a:gd name="T4" fmla="*/ 146 w 292"/>
                <a:gd name="T5" fmla="*/ 128 h 128"/>
                <a:gd name="T6" fmla="*/ 0 w 292"/>
                <a:gd name="T7" fmla="*/ 72 h 128"/>
                <a:gd name="T8" fmla="*/ 0 w 292"/>
                <a:gd name="T9" fmla="*/ 0 h 128"/>
                <a:gd name="T10" fmla="*/ 292 w 292"/>
                <a:gd name="T11" fmla="*/ 0 h 128"/>
              </a:gdLst>
              <a:ahLst/>
              <a:cxnLst>
                <a:cxn ang="0">
                  <a:pos x="T0" y="T1"/>
                </a:cxn>
                <a:cxn ang="0">
                  <a:pos x="T2" y="T3"/>
                </a:cxn>
                <a:cxn ang="0">
                  <a:pos x="T4" y="T5"/>
                </a:cxn>
                <a:cxn ang="0">
                  <a:pos x="T6" y="T7"/>
                </a:cxn>
                <a:cxn ang="0">
                  <a:pos x="T8" y="T9"/>
                </a:cxn>
                <a:cxn ang="0">
                  <a:pos x="T10" y="T11"/>
                </a:cxn>
              </a:cxnLst>
              <a:rect l="0" t="0" r="r" b="b"/>
              <a:pathLst>
                <a:path w="292" h="128">
                  <a:moveTo>
                    <a:pt x="292" y="0"/>
                  </a:moveTo>
                  <a:cubicBezTo>
                    <a:pt x="292" y="72"/>
                    <a:pt x="292" y="72"/>
                    <a:pt x="292" y="72"/>
                  </a:cubicBezTo>
                  <a:cubicBezTo>
                    <a:pt x="292" y="103"/>
                    <a:pt x="227" y="128"/>
                    <a:pt x="146" y="128"/>
                  </a:cubicBezTo>
                  <a:cubicBezTo>
                    <a:pt x="65" y="128"/>
                    <a:pt x="0" y="103"/>
                    <a:pt x="0" y="72"/>
                  </a:cubicBezTo>
                  <a:cubicBezTo>
                    <a:pt x="0" y="0"/>
                    <a:pt x="0" y="0"/>
                    <a:pt x="0" y="0"/>
                  </a:cubicBezTo>
                  <a:lnTo>
                    <a:pt x="292" y="0"/>
                  </a:lnTo>
                  <a:close/>
                </a:path>
              </a:pathLst>
            </a:cu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09" name="Oval 103"/>
            <p:cNvSpPr>
              <a:spLocks noChangeArrowheads="1"/>
            </p:cNvSpPr>
            <p:nvPr userDrawn="1"/>
          </p:nvSpPr>
          <p:spPr bwMode="auto">
            <a:xfrm>
              <a:off x="2612" y="187"/>
              <a:ext cx="384" cy="148"/>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0" name="Oval 104"/>
            <p:cNvSpPr>
              <a:spLocks noChangeArrowheads="1"/>
            </p:cNvSpPr>
            <p:nvPr userDrawn="1"/>
          </p:nvSpPr>
          <p:spPr bwMode="auto">
            <a:xfrm>
              <a:off x="2612" y="187"/>
              <a:ext cx="384" cy="148"/>
            </a:xfrm>
            <a:prstGeom prst="ellipse">
              <a:avLst/>
            </a:prstGeom>
            <a:noFill/>
            <a:ln w="539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2" name="Nettbrett" hidden="1"/>
          <p:cNvGrpSpPr>
            <a:grpSpLocks noChangeAspect="1"/>
          </p:cNvGrpSpPr>
          <p:nvPr userDrawn="1"/>
        </p:nvGrpSpPr>
        <p:grpSpPr bwMode="auto">
          <a:xfrm>
            <a:off x="3467101" y="1872457"/>
            <a:ext cx="2211388" cy="1363663"/>
            <a:chOff x="2517" y="961"/>
            <a:chExt cx="1393" cy="859"/>
          </a:xfrm>
        </p:grpSpPr>
        <p:sp>
          <p:nvSpPr>
            <p:cNvPr id="1014" name="Freeform 108"/>
            <p:cNvSpPr>
              <a:spLocks/>
            </p:cNvSpPr>
            <p:nvPr userDrawn="1"/>
          </p:nvSpPr>
          <p:spPr bwMode="auto">
            <a:xfrm>
              <a:off x="2517" y="961"/>
              <a:ext cx="1393" cy="859"/>
            </a:xfrm>
            <a:custGeom>
              <a:avLst/>
              <a:gdLst>
                <a:gd name="T0" fmla="*/ 1675 w 1675"/>
                <a:gd name="T1" fmla="*/ 146 h 1030"/>
                <a:gd name="T2" fmla="*/ 1675 w 1675"/>
                <a:gd name="T3" fmla="*/ 885 h 1030"/>
                <a:gd name="T4" fmla="*/ 1530 w 1675"/>
                <a:gd name="T5" fmla="*/ 1030 h 1030"/>
                <a:gd name="T6" fmla="*/ 145 w 1675"/>
                <a:gd name="T7" fmla="*/ 1030 h 1030"/>
                <a:gd name="T8" fmla="*/ 0 w 1675"/>
                <a:gd name="T9" fmla="*/ 885 h 1030"/>
                <a:gd name="T10" fmla="*/ 0 w 1675"/>
                <a:gd name="T11" fmla="*/ 146 h 1030"/>
                <a:gd name="T12" fmla="*/ 145 w 1675"/>
                <a:gd name="T13" fmla="*/ 0 h 1030"/>
                <a:gd name="T14" fmla="*/ 1530 w 1675"/>
                <a:gd name="T15" fmla="*/ 0 h 1030"/>
                <a:gd name="T16" fmla="*/ 1675 w 1675"/>
                <a:gd name="T17" fmla="*/ 146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5" h="1030">
                  <a:moveTo>
                    <a:pt x="1675" y="146"/>
                  </a:moveTo>
                  <a:cubicBezTo>
                    <a:pt x="1675" y="885"/>
                    <a:pt x="1675" y="885"/>
                    <a:pt x="1675" y="885"/>
                  </a:cubicBezTo>
                  <a:cubicBezTo>
                    <a:pt x="1675" y="965"/>
                    <a:pt x="1610" y="1030"/>
                    <a:pt x="1530" y="1030"/>
                  </a:cubicBezTo>
                  <a:cubicBezTo>
                    <a:pt x="145" y="1030"/>
                    <a:pt x="145" y="1030"/>
                    <a:pt x="145" y="1030"/>
                  </a:cubicBezTo>
                  <a:cubicBezTo>
                    <a:pt x="65" y="1030"/>
                    <a:pt x="0" y="965"/>
                    <a:pt x="0" y="885"/>
                  </a:cubicBezTo>
                  <a:cubicBezTo>
                    <a:pt x="0" y="146"/>
                    <a:pt x="0" y="146"/>
                    <a:pt x="0" y="146"/>
                  </a:cubicBezTo>
                  <a:cubicBezTo>
                    <a:pt x="0" y="65"/>
                    <a:pt x="65" y="0"/>
                    <a:pt x="145" y="0"/>
                  </a:cubicBezTo>
                  <a:cubicBezTo>
                    <a:pt x="1530" y="0"/>
                    <a:pt x="1530" y="0"/>
                    <a:pt x="1530" y="0"/>
                  </a:cubicBezTo>
                  <a:cubicBezTo>
                    <a:pt x="1610" y="0"/>
                    <a:pt x="1675" y="65"/>
                    <a:pt x="1675" y="14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5" name="Rectangle 109"/>
            <p:cNvSpPr>
              <a:spLocks noChangeArrowheads="1"/>
            </p:cNvSpPr>
            <p:nvPr userDrawn="1"/>
          </p:nvSpPr>
          <p:spPr bwMode="auto">
            <a:xfrm>
              <a:off x="2727" y="1064"/>
              <a:ext cx="919" cy="6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16" name="Oval 110"/>
            <p:cNvSpPr>
              <a:spLocks noChangeArrowheads="1"/>
            </p:cNvSpPr>
            <p:nvPr userDrawn="1"/>
          </p:nvSpPr>
          <p:spPr bwMode="auto">
            <a:xfrm>
              <a:off x="3709" y="1329"/>
              <a:ext cx="122" cy="1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18" name="Mobil" hidden="1"/>
          <p:cNvGrpSpPr>
            <a:grpSpLocks noChangeAspect="1"/>
          </p:cNvGrpSpPr>
          <p:nvPr userDrawn="1"/>
        </p:nvGrpSpPr>
        <p:grpSpPr bwMode="auto">
          <a:xfrm>
            <a:off x="3971926" y="1579563"/>
            <a:ext cx="1201738" cy="1949450"/>
            <a:chOff x="1351" y="832"/>
            <a:chExt cx="757" cy="1228"/>
          </a:xfrm>
        </p:grpSpPr>
        <p:sp>
          <p:nvSpPr>
            <p:cNvPr id="1020" name="Freeform 114"/>
            <p:cNvSpPr>
              <a:spLocks/>
            </p:cNvSpPr>
            <p:nvPr userDrawn="1"/>
          </p:nvSpPr>
          <p:spPr bwMode="auto">
            <a:xfrm>
              <a:off x="1351" y="832"/>
              <a:ext cx="757" cy="1228"/>
            </a:xfrm>
            <a:custGeom>
              <a:avLst/>
              <a:gdLst>
                <a:gd name="T0" fmla="*/ 590 w 687"/>
                <a:gd name="T1" fmla="*/ 1116 h 1116"/>
                <a:gd name="T2" fmla="*/ 97 w 687"/>
                <a:gd name="T3" fmla="*/ 1116 h 1116"/>
                <a:gd name="T4" fmla="*/ 0 w 687"/>
                <a:gd name="T5" fmla="*/ 1020 h 1116"/>
                <a:gd name="T6" fmla="*/ 0 w 687"/>
                <a:gd name="T7" fmla="*/ 97 h 1116"/>
                <a:gd name="T8" fmla="*/ 97 w 687"/>
                <a:gd name="T9" fmla="*/ 0 h 1116"/>
                <a:gd name="T10" fmla="*/ 590 w 687"/>
                <a:gd name="T11" fmla="*/ 0 h 1116"/>
                <a:gd name="T12" fmla="*/ 687 w 687"/>
                <a:gd name="T13" fmla="*/ 97 h 1116"/>
                <a:gd name="T14" fmla="*/ 687 w 687"/>
                <a:gd name="T15" fmla="*/ 1020 h 1116"/>
                <a:gd name="T16" fmla="*/ 590 w 687"/>
                <a:gd name="T17" fmla="*/ 1116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7" h="1116">
                  <a:moveTo>
                    <a:pt x="590" y="1116"/>
                  </a:moveTo>
                  <a:cubicBezTo>
                    <a:pt x="97" y="1116"/>
                    <a:pt x="97" y="1116"/>
                    <a:pt x="97" y="1116"/>
                  </a:cubicBezTo>
                  <a:cubicBezTo>
                    <a:pt x="44" y="1116"/>
                    <a:pt x="0" y="1073"/>
                    <a:pt x="0" y="1020"/>
                  </a:cubicBezTo>
                  <a:cubicBezTo>
                    <a:pt x="0" y="97"/>
                    <a:pt x="0" y="97"/>
                    <a:pt x="0" y="97"/>
                  </a:cubicBezTo>
                  <a:cubicBezTo>
                    <a:pt x="0" y="43"/>
                    <a:pt x="44" y="0"/>
                    <a:pt x="97" y="0"/>
                  </a:cubicBezTo>
                  <a:cubicBezTo>
                    <a:pt x="590" y="0"/>
                    <a:pt x="590" y="0"/>
                    <a:pt x="590" y="0"/>
                  </a:cubicBezTo>
                  <a:cubicBezTo>
                    <a:pt x="643" y="0"/>
                    <a:pt x="687" y="43"/>
                    <a:pt x="687" y="97"/>
                  </a:cubicBezTo>
                  <a:cubicBezTo>
                    <a:pt x="687" y="1020"/>
                    <a:pt x="687" y="1020"/>
                    <a:pt x="687" y="1020"/>
                  </a:cubicBezTo>
                  <a:cubicBezTo>
                    <a:pt x="687" y="1073"/>
                    <a:pt x="643" y="1116"/>
                    <a:pt x="590" y="1116"/>
                  </a:cubicBezTo>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1" name="Rectangle 115"/>
            <p:cNvSpPr>
              <a:spLocks noChangeArrowheads="1"/>
            </p:cNvSpPr>
            <p:nvPr userDrawn="1"/>
          </p:nvSpPr>
          <p:spPr bwMode="auto">
            <a:xfrm>
              <a:off x="1441" y="1017"/>
              <a:ext cx="575" cy="81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2" name="Oval 116"/>
            <p:cNvSpPr>
              <a:spLocks noChangeArrowheads="1"/>
            </p:cNvSpPr>
            <p:nvPr userDrawn="1"/>
          </p:nvSpPr>
          <p:spPr bwMode="auto">
            <a:xfrm>
              <a:off x="1675" y="1883"/>
              <a:ext cx="109" cy="1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24" name="Institusjon" hidden="1"/>
          <p:cNvGrpSpPr>
            <a:grpSpLocks noChangeAspect="1"/>
          </p:cNvGrpSpPr>
          <p:nvPr userDrawn="1"/>
        </p:nvGrpSpPr>
        <p:grpSpPr bwMode="auto">
          <a:xfrm>
            <a:off x="3409951" y="1926432"/>
            <a:ext cx="2325688" cy="1255712"/>
            <a:chOff x="2465" y="1978"/>
            <a:chExt cx="1465" cy="791"/>
          </a:xfrm>
        </p:grpSpPr>
        <p:sp>
          <p:nvSpPr>
            <p:cNvPr id="1026" name="Freeform 120"/>
            <p:cNvSpPr>
              <a:spLocks/>
            </p:cNvSpPr>
            <p:nvPr userDrawn="1"/>
          </p:nvSpPr>
          <p:spPr bwMode="auto">
            <a:xfrm>
              <a:off x="2527" y="2298"/>
              <a:ext cx="350" cy="359"/>
            </a:xfrm>
            <a:custGeom>
              <a:avLst/>
              <a:gdLst>
                <a:gd name="T0" fmla="*/ 263 w 350"/>
                <a:gd name="T1" fmla="*/ 0 h 359"/>
                <a:gd name="T2" fmla="*/ 0 w 350"/>
                <a:gd name="T3" fmla="*/ 0 h 359"/>
                <a:gd name="T4" fmla="*/ 0 w 350"/>
                <a:gd name="T5" fmla="*/ 359 h 359"/>
                <a:gd name="T6" fmla="*/ 350 w 350"/>
                <a:gd name="T7" fmla="*/ 299 h 359"/>
                <a:gd name="T8" fmla="*/ 350 w 350"/>
                <a:gd name="T9" fmla="*/ 0 h 359"/>
                <a:gd name="T10" fmla="*/ 263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263" y="0"/>
                  </a:moveTo>
                  <a:lnTo>
                    <a:pt x="0" y="0"/>
                  </a:lnTo>
                  <a:lnTo>
                    <a:pt x="0" y="359"/>
                  </a:lnTo>
                  <a:lnTo>
                    <a:pt x="350" y="299"/>
                  </a:lnTo>
                  <a:lnTo>
                    <a:pt x="350" y="0"/>
                  </a:lnTo>
                  <a:lnTo>
                    <a:pt x="26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7" name="Freeform 121"/>
            <p:cNvSpPr>
              <a:spLocks/>
            </p:cNvSpPr>
            <p:nvPr userDrawn="1"/>
          </p:nvSpPr>
          <p:spPr bwMode="auto">
            <a:xfrm>
              <a:off x="3518" y="2298"/>
              <a:ext cx="350" cy="359"/>
            </a:xfrm>
            <a:custGeom>
              <a:avLst/>
              <a:gdLst>
                <a:gd name="T0" fmla="*/ 87 w 350"/>
                <a:gd name="T1" fmla="*/ 0 h 359"/>
                <a:gd name="T2" fmla="*/ 0 w 350"/>
                <a:gd name="T3" fmla="*/ 0 h 359"/>
                <a:gd name="T4" fmla="*/ 0 w 350"/>
                <a:gd name="T5" fmla="*/ 299 h 359"/>
                <a:gd name="T6" fmla="*/ 350 w 350"/>
                <a:gd name="T7" fmla="*/ 359 h 359"/>
                <a:gd name="T8" fmla="*/ 350 w 350"/>
                <a:gd name="T9" fmla="*/ 0 h 359"/>
                <a:gd name="T10" fmla="*/ 87 w 350"/>
                <a:gd name="T11" fmla="*/ 0 h 359"/>
              </a:gdLst>
              <a:ahLst/>
              <a:cxnLst>
                <a:cxn ang="0">
                  <a:pos x="T0" y="T1"/>
                </a:cxn>
                <a:cxn ang="0">
                  <a:pos x="T2" y="T3"/>
                </a:cxn>
                <a:cxn ang="0">
                  <a:pos x="T4" y="T5"/>
                </a:cxn>
                <a:cxn ang="0">
                  <a:pos x="T6" y="T7"/>
                </a:cxn>
                <a:cxn ang="0">
                  <a:pos x="T8" y="T9"/>
                </a:cxn>
                <a:cxn ang="0">
                  <a:pos x="T10" y="T11"/>
                </a:cxn>
              </a:cxnLst>
              <a:rect l="0" t="0" r="r" b="b"/>
              <a:pathLst>
                <a:path w="350" h="359">
                  <a:moveTo>
                    <a:pt x="87" y="0"/>
                  </a:moveTo>
                  <a:lnTo>
                    <a:pt x="0" y="0"/>
                  </a:lnTo>
                  <a:lnTo>
                    <a:pt x="0" y="299"/>
                  </a:lnTo>
                  <a:lnTo>
                    <a:pt x="350" y="359"/>
                  </a:lnTo>
                  <a:lnTo>
                    <a:pt x="350" y="0"/>
                  </a:lnTo>
                  <a:lnTo>
                    <a:pt x="8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8" name="Rectangle 122"/>
            <p:cNvSpPr>
              <a:spLocks noChangeArrowheads="1"/>
            </p:cNvSpPr>
            <p:nvPr userDrawn="1"/>
          </p:nvSpPr>
          <p:spPr bwMode="auto">
            <a:xfrm>
              <a:off x="2897" y="2202"/>
              <a:ext cx="601" cy="39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29" name="Freeform 123"/>
            <p:cNvSpPr>
              <a:spLocks/>
            </p:cNvSpPr>
            <p:nvPr userDrawn="1"/>
          </p:nvSpPr>
          <p:spPr bwMode="auto">
            <a:xfrm>
              <a:off x="2867" y="2087"/>
              <a:ext cx="660" cy="92"/>
            </a:xfrm>
            <a:custGeom>
              <a:avLst/>
              <a:gdLst>
                <a:gd name="T0" fmla="*/ 660 w 660"/>
                <a:gd name="T1" fmla="*/ 92 h 92"/>
                <a:gd name="T2" fmla="*/ 330 w 660"/>
                <a:gd name="T3" fmla="*/ 0 h 92"/>
                <a:gd name="T4" fmla="*/ 0 w 660"/>
                <a:gd name="T5" fmla="*/ 92 h 92"/>
                <a:gd name="T6" fmla="*/ 660 w 660"/>
                <a:gd name="T7" fmla="*/ 92 h 92"/>
              </a:gdLst>
              <a:ahLst/>
              <a:cxnLst>
                <a:cxn ang="0">
                  <a:pos x="T0" y="T1"/>
                </a:cxn>
                <a:cxn ang="0">
                  <a:pos x="T2" y="T3"/>
                </a:cxn>
                <a:cxn ang="0">
                  <a:pos x="T4" y="T5"/>
                </a:cxn>
                <a:cxn ang="0">
                  <a:pos x="T6" y="T7"/>
                </a:cxn>
              </a:cxnLst>
              <a:rect l="0" t="0" r="r" b="b"/>
              <a:pathLst>
                <a:path w="660" h="92">
                  <a:moveTo>
                    <a:pt x="660" y="92"/>
                  </a:moveTo>
                  <a:lnTo>
                    <a:pt x="330" y="0"/>
                  </a:lnTo>
                  <a:lnTo>
                    <a:pt x="0" y="92"/>
                  </a:lnTo>
                  <a:lnTo>
                    <a:pt x="660" y="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0" name="Freeform 124"/>
            <p:cNvSpPr>
              <a:spLocks/>
            </p:cNvSpPr>
            <p:nvPr userDrawn="1"/>
          </p:nvSpPr>
          <p:spPr bwMode="auto">
            <a:xfrm>
              <a:off x="2556" y="2243"/>
              <a:ext cx="321" cy="35"/>
            </a:xfrm>
            <a:custGeom>
              <a:avLst/>
              <a:gdLst>
                <a:gd name="T0" fmla="*/ 321 w 321"/>
                <a:gd name="T1" fmla="*/ 35 h 35"/>
                <a:gd name="T2" fmla="*/ 321 w 321"/>
                <a:gd name="T3" fmla="*/ 0 h 35"/>
                <a:gd name="T4" fmla="*/ 102 w 321"/>
                <a:gd name="T5" fmla="*/ 0 h 35"/>
                <a:gd name="T6" fmla="*/ 0 w 321"/>
                <a:gd name="T7" fmla="*/ 35 h 35"/>
                <a:gd name="T8" fmla="*/ 321 w 321"/>
                <a:gd name="T9" fmla="*/ 35 h 35"/>
              </a:gdLst>
              <a:ahLst/>
              <a:cxnLst>
                <a:cxn ang="0">
                  <a:pos x="T0" y="T1"/>
                </a:cxn>
                <a:cxn ang="0">
                  <a:pos x="T2" y="T3"/>
                </a:cxn>
                <a:cxn ang="0">
                  <a:pos x="T4" y="T5"/>
                </a:cxn>
                <a:cxn ang="0">
                  <a:pos x="T6" y="T7"/>
                </a:cxn>
                <a:cxn ang="0">
                  <a:pos x="T8" y="T9"/>
                </a:cxn>
              </a:cxnLst>
              <a:rect l="0" t="0" r="r" b="b"/>
              <a:pathLst>
                <a:path w="321" h="35">
                  <a:moveTo>
                    <a:pt x="321" y="35"/>
                  </a:moveTo>
                  <a:lnTo>
                    <a:pt x="321" y="0"/>
                  </a:lnTo>
                  <a:lnTo>
                    <a:pt x="102" y="0"/>
                  </a:lnTo>
                  <a:lnTo>
                    <a:pt x="0" y="35"/>
                  </a:lnTo>
                  <a:lnTo>
                    <a:pt x="32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1" name="Freeform 125"/>
            <p:cNvSpPr>
              <a:spLocks/>
            </p:cNvSpPr>
            <p:nvPr userDrawn="1"/>
          </p:nvSpPr>
          <p:spPr bwMode="auto">
            <a:xfrm>
              <a:off x="3520" y="2243"/>
              <a:ext cx="321" cy="35"/>
            </a:xfrm>
            <a:custGeom>
              <a:avLst/>
              <a:gdLst>
                <a:gd name="T0" fmla="*/ 0 w 321"/>
                <a:gd name="T1" fmla="*/ 35 h 35"/>
                <a:gd name="T2" fmla="*/ 0 w 321"/>
                <a:gd name="T3" fmla="*/ 0 h 35"/>
                <a:gd name="T4" fmla="*/ 218 w 321"/>
                <a:gd name="T5" fmla="*/ 0 h 35"/>
                <a:gd name="T6" fmla="*/ 321 w 321"/>
                <a:gd name="T7" fmla="*/ 35 h 35"/>
                <a:gd name="T8" fmla="*/ 0 w 321"/>
                <a:gd name="T9" fmla="*/ 35 h 35"/>
              </a:gdLst>
              <a:ahLst/>
              <a:cxnLst>
                <a:cxn ang="0">
                  <a:pos x="T0" y="T1"/>
                </a:cxn>
                <a:cxn ang="0">
                  <a:pos x="T2" y="T3"/>
                </a:cxn>
                <a:cxn ang="0">
                  <a:pos x="T4" y="T5"/>
                </a:cxn>
                <a:cxn ang="0">
                  <a:pos x="T6" y="T7"/>
                </a:cxn>
                <a:cxn ang="0">
                  <a:pos x="T8" y="T9"/>
                </a:cxn>
              </a:cxnLst>
              <a:rect l="0" t="0" r="r" b="b"/>
              <a:pathLst>
                <a:path w="321" h="35">
                  <a:moveTo>
                    <a:pt x="0" y="35"/>
                  </a:moveTo>
                  <a:lnTo>
                    <a:pt x="0" y="0"/>
                  </a:lnTo>
                  <a:lnTo>
                    <a:pt x="218" y="0"/>
                  </a:lnTo>
                  <a:lnTo>
                    <a:pt x="321" y="35"/>
                  </a:lnTo>
                  <a:lnTo>
                    <a:pt x="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2" name="Freeform 126"/>
            <p:cNvSpPr>
              <a:spLocks/>
            </p:cNvSpPr>
            <p:nvPr userDrawn="1"/>
          </p:nvSpPr>
          <p:spPr bwMode="auto">
            <a:xfrm>
              <a:off x="3188" y="1978"/>
              <a:ext cx="152" cy="117"/>
            </a:xfrm>
            <a:custGeom>
              <a:avLst/>
              <a:gdLst>
                <a:gd name="T0" fmla="*/ 152 w 152"/>
                <a:gd name="T1" fmla="*/ 32 h 117"/>
                <a:gd name="T2" fmla="*/ 17 w 152"/>
                <a:gd name="T3" fmla="*/ 0 h 117"/>
                <a:gd name="T4" fmla="*/ 17 w 152"/>
                <a:gd name="T5" fmla="*/ 0 h 117"/>
                <a:gd name="T6" fmla="*/ 0 w 152"/>
                <a:gd name="T7" fmla="*/ 0 h 117"/>
                <a:gd name="T8" fmla="*/ 0 w 152"/>
                <a:gd name="T9" fmla="*/ 117 h 117"/>
                <a:gd name="T10" fmla="*/ 17 w 152"/>
                <a:gd name="T11" fmla="*/ 117 h 117"/>
                <a:gd name="T12" fmla="*/ 17 w 152"/>
                <a:gd name="T13" fmla="*/ 71 h 117"/>
                <a:gd name="T14" fmla="*/ 152 w 152"/>
                <a:gd name="T15" fmla="*/ 32 h 1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 h="117">
                  <a:moveTo>
                    <a:pt x="152" y="32"/>
                  </a:moveTo>
                  <a:lnTo>
                    <a:pt x="17" y="0"/>
                  </a:lnTo>
                  <a:lnTo>
                    <a:pt x="17" y="0"/>
                  </a:lnTo>
                  <a:lnTo>
                    <a:pt x="0" y="0"/>
                  </a:lnTo>
                  <a:lnTo>
                    <a:pt x="0" y="117"/>
                  </a:lnTo>
                  <a:lnTo>
                    <a:pt x="17" y="117"/>
                  </a:lnTo>
                  <a:lnTo>
                    <a:pt x="17" y="71"/>
                  </a:lnTo>
                  <a:lnTo>
                    <a:pt x="15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3" name="Freeform 127"/>
            <p:cNvSpPr>
              <a:spLocks/>
            </p:cNvSpPr>
            <p:nvPr userDrawn="1"/>
          </p:nvSpPr>
          <p:spPr bwMode="auto">
            <a:xfrm>
              <a:off x="3038" y="2297"/>
              <a:ext cx="83"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4" name="Freeform 128"/>
            <p:cNvSpPr>
              <a:spLocks/>
            </p:cNvSpPr>
            <p:nvPr userDrawn="1"/>
          </p:nvSpPr>
          <p:spPr bwMode="auto">
            <a:xfrm>
              <a:off x="2956"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5" name="Freeform 129"/>
            <p:cNvSpPr>
              <a:spLocks/>
            </p:cNvSpPr>
            <p:nvPr userDrawn="1"/>
          </p:nvSpPr>
          <p:spPr bwMode="auto">
            <a:xfrm>
              <a:off x="3385" y="2297"/>
              <a:ext cx="54" cy="150"/>
            </a:xfrm>
            <a:custGeom>
              <a:avLst/>
              <a:gdLst>
                <a:gd name="T0" fmla="*/ 75 w 75"/>
                <a:gd name="T1" fmla="*/ 57 h 209"/>
                <a:gd name="T2" fmla="*/ 37 w 75"/>
                <a:gd name="T3" fmla="*/ 0 h 209"/>
                <a:gd name="T4" fmla="*/ 0 w 75"/>
                <a:gd name="T5" fmla="*/ 57 h 209"/>
                <a:gd name="T6" fmla="*/ 0 w 75"/>
                <a:gd name="T7" fmla="*/ 61 h 209"/>
                <a:gd name="T8" fmla="*/ 0 w 75"/>
                <a:gd name="T9" fmla="*/ 61 h 209"/>
                <a:gd name="T10" fmla="*/ 0 w 75"/>
                <a:gd name="T11" fmla="*/ 209 h 209"/>
                <a:gd name="T12" fmla="*/ 75 w 75"/>
                <a:gd name="T13" fmla="*/ 209 h 209"/>
                <a:gd name="T14" fmla="*/ 75 w 75"/>
                <a:gd name="T15" fmla="*/ 61 h 209"/>
                <a:gd name="T16" fmla="*/ 75 w 75"/>
                <a:gd name="T17" fmla="*/ 61 h 209"/>
                <a:gd name="T18" fmla="*/ 75 w 7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209">
                  <a:moveTo>
                    <a:pt x="75" y="57"/>
                  </a:moveTo>
                  <a:cubicBezTo>
                    <a:pt x="75" y="25"/>
                    <a:pt x="58" y="0"/>
                    <a:pt x="37" y="0"/>
                  </a:cubicBezTo>
                  <a:cubicBezTo>
                    <a:pt x="17" y="0"/>
                    <a:pt x="0" y="25"/>
                    <a:pt x="0" y="57"/>
                  </a:cubicBezTo>
                  <a:cubicBezTo>
                    <a:pt x="0" y="58"/>
                    <a:pt x="0" y="60"/>
                    <a:pt x="0" y="61"/>
                  </a:cubicBezTo>
                  <a:cubicBezTo>
                    <a:pt x="0" y="61"/>
                    <a:pt x="0" y="61"/>
                    <a:pt x="0" y="61"/>
                  </a:cubicBezTo>
                  <a:cubicBezTo>
                    <a:pt x="0" y="209"/>
                    <a:pt x="0" y="209"/>
                    <a:pt x="0" y="209"/>
                  </a:cubicBezTo>
                  <a:cubicBezTo>
                    <a:pt x="75" y="209"/>
                    <a:pt x="75" y="209"/>
                    <a:pt x="75" y="209"/>
                  </a:cubicBezTo>
                  <a:cubicBezTo>
                    <a:pt x="75" y="61"/>
                    <a:pt x="75" y="61"/>
                    <a:pt x="75" y="61"/>
                  </a:cubicBezTo>
                  <a:cubicBezTo>
                    <a:pt x="75" y="61"/>
                    <a:pt x="75" y="61"/>
                    <a:pt x="75" y="61"/>
                  </a:cubicBezTo>
                  <a:cubicBezTo>
                    <a:pt x="75" y="60"/>
                    <a:pt x="75" y="58"/>
                    <a:pt x="7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6" name="Freeform 130"/>
            <p:cNvSpPr>
              <a:spLocks/>
            </p:cNvSpPr>
            <p:nvPr userDrawn="1"/>
          </p:nvSpPr>
          <p:spPr bwMode="auto">
            <a:xfrm>
              <a:off x="3156" y="2297"/>
              <a:ext cx="82" cy="150"/>
            </a:xfrm>
            <a:custGeom>
              <a:avLst/>
              <a:gdLst>
                <a:gd name="T0" fmla="*/ 115 w 115"/>
                <a:gd name="T1" fmla="*/ 57 h 209"/>
                <a:gd name="T2" fmla="*/ 58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90" y="0"/>
                    <a:pt x="58" y="0"/>
                  </a:cubicBezTo>
                  <a:cubicBezTo>
                    <a:pt x="26"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7" name="Freeform 131"/>
            <p:cNvSpPr>
              <a:spLocks/>
            </p:cNvSpPr>
            <p:nvPr userDrawn="1"/>
          </p:nvSpPr>
          <p:spPr bwMode="auto">
            <a:xfrm>
              <a:off x="3274" y="2297"/>
              <a:ext cx="82" cy="150"/>
            </a:xfrm>
            <a:custGeom>
              <a:avLst/>
              <a:gdLst>
                <a:gd name="T0" fmla="*/ 115 w 115"/>
                <a:gd name="T1" fmla="*/ 57 h 209"/>
                <a:gd name="T2" fmla="*/ 57 w 115"/>
                <a:gd name="T3" fmla="*/ 0 h 209"/>
                <a:gd name="T4" fmla="*/ 0 w 115"/>
                <a:gd name="T5" fmla="*/ 57 h 209"/>
                <a:gd name="T6" fmla="*/ 0 w 115"/>
                <a:gd name="T7" fmla="*/ 61 h 209"/>
                <a:gd name="T8" fmla="*/ 0 w 115"/>
                <a:gd name="T9" fmla="*/ 61 h 209"/>
                <a:gd name="T10" fmla="*/ 0 w 115"/>
                <a:gd name="T11" fmla="*/ 209 h 209"/>
                <a:gd name="T12" fmla="*/ 115 w 115"/>
                <a:gd name="T13" fmla="*/ 209 h 209"/>
                <a:gd name="T14" fmla="*/ 115 w 115"/>
                <a:gd name="T15" fmla="*/ 61 h 209"/>
                <a:gd name="T16" fmla="*/ 115 w 115"/>
                <a:gd name="T17" fmla="*/ 61 h 209"/>
                <a:gd name="T18" fmla="*/ 115 w 115"/>
                <a:gd name="T19" fmla="*/ 5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5" h="209">
                  <a:moveTo>
                    <a:pt x="115" y="57"/>
                  </a:moveTo>
                  <a:cubicBezTo>
                    <a:pt x="115" y="25"/>
                    <a:pt x="89" y="0"/>
                    <a:pt x="57" y="0"/>
                  </a:cubicBezTo>
                  <a:cubicBezTo>
                    <a:pt x="25" y="0"/>
                    <a:pt x="0" y="25"/>
                    <a:pt x="0" y="57"/>
                  </a:cubicBezTo>
                  <a:cubicBezTo>
                    <a:pt x="0" y="58"/>
                    <a:pt x="0" y="60"/>
                    <a:pt x="0" y="61"/>
                  </a:cubicBezTo>
                  <a:cubicBezTo>
                    <a:pt x="0" y="61"/>
                    <a:pt x="0" y="61"/>
                    <a:pt x="0" y="61"/>
                  </a:cubicBezTo>
                  <a:cubicBezTo>
                    <a:pt x="0" y="209"/>
                    <a:pt x="0" y="209"/>
                    <a:pt x="0" y="209"/>
                  </a:cubicBezTo>
                  <a:cubicBezTo>
                    <a:pt x="115" y="209"/>
                    <a:pt x="115" y="209"/>
                    <a:pt x="115" y="209"/>
                  </a:cubicBezTo>
                  <a:cubicBezTo>
                    <a:pt x="115" y="61"/>
                    <a:pt x="115" y="61"/>
                    <a:pt x="115" y="61"/>
                  </a:cubicBezTo>
                  <a:cubicBezTo>
                    <a:pt x="115" y="61"/>
                    <a:pt x="115" y="61"/>
                    <a:pt x="115" y="61"/>
                  </a:cubicBezTo>
                  <a:cubicBezTo>
                    <a:pt x="115" y="60"/>
                    <a:pt x="115" y="58"/>
                    <a:pt x="115" y="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8" name="Freeform 132"/>
            <p:cNvSpPr>
              <a:spLocks/>
            </p:cNvSpPr>
            <p:nvPr userDrawn="1"/>
          </p:nvSpPr>
          <p:spPr bwMode="auto">
            <a:xfrm>
              <a:off x="2567"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39" name="Freeform 133"/>
            <p:cNvSpPr>
              <a:spLocks/>
            </p:cNvSpPr>
            <p:nvPr userDrawn="1"/>
          </p:nvSpPr>
          <p:spPr bwMode="auto">
            <a:xfrm>
              <a:off x="2641"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0" name="Freeform 134"/>
            <p:cNvSpPr>
              <a:spLocks/>
            </p:cNvSpPr>
            <p:nvPr userDrawn="1"/>
          </p:nvSpPr>
          <p:spPr bwMode="auto">
            <a:xfrm>
              <a:off x="2715"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1" name="Freeform 135"/>
            <p:cNvSpPr>
              <a:spLocks/>
            </p:cNvSpPr>
            <p:nvPr userDrawn="1"/>
          </p:nvSpPr>
          <p:spPr bwMode="auto">
            <a:xfrm>
              <a:off x="2789"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2" name="Freeform 136"/>
            <p:cNvSpPr>
              <a:spLocks/>
            </p:cNvSpPr>
            <p:nvPr userDrawn="1"/>
          </p:nvSpPr>
          <p:spPr bwMode="auto">
            <a:xfrm>
              <a:off x="3559" y="2361"/>
              <a:ext cx="48" cy="86"/>
            </a:xfrm>
            <a:custGeom>
              <a:avLst/>
              <a:gdLst>
                <a:gd name="T0" fmla="*/ 67 w 67"/>
                <a:gd name="T1" fmla="*/ 33 h 120"/>
                <a:gd name="T2" fmla="*/ 33 w 67"/>
                <a:gd name="T3" fmla="*/ 0 h 120"/>
                <a:gd name="T4" fmla="*/ 0 w 67"/>
                <a:gd name="T5" fmla="*/ 33 h 120"/>
                <a:gd name="T6" fmla="*/ 0 w 67"/>
                <a:gd name="T7" fmla="*/ 35 h 120"/>
                <a:gd name="T8" fmla="*/ 0 w 67"/>
                <a:gd name="T9" fmla="*/ 35 h 120"/>
                <a:gd name="T10" fmla="*/ 0 w 67"/>
                <a:gd name="T11" fmla="*/ 120 h 120"/>
                <a:gd name="T12" fmla="*/ 67 w 67"/>
                <a:gd name="T13" fmla="*/ 120 h 120"/>
                <a:gd name="T14" fmla="*/ 67 w 67"/>
                <a:gd name="T15" fmla="*/ 35 h 120"/>
                <a:gd name="T16" fmla="*/ 66 w 67"/>
                <a:gd name="T17" fmla="*/ 35 h 120"/>
                <a:gd name="T18" fmla="*/ 67 w 67"/>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120">
                  <a:moveTo>
                    <a:pt x="67" y="33"/>
                  </a:moveTo>
                  <a:cubicBezTo>
                    <a:pt x="67"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7" y="120"/>
                    <a:pt x="67" y="120"/>
                    <a:pt x="67" y="120"/>
                  </a:cubicBezTo>
                  <a:cubicBezTo>
                    <a:pt x="67" y="35"/>
                    <a:pt x="67" y="35"/>
                    <a:pt x="67" y="35"/>
                  </a:cubicBezTo>
                  <a:cubicBezTo>
                    <a:pt x="66" y="35"/>
                    <a:pt x="66" y="35"/>
                    <a:pt x="66" y="35"/>
                  </a:cubicBezTo>
                  <a:cubicBezTo>
                    <a:pt x="67" y="34"/>
                    <a:pt x="67" y="34"/>
                    <a:pt x="67"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3" name="Freeform 137"/>
            <p:cNvSpPr>
              <a:spLocks/>
            </p:cNvSpPr>
            <p:nvPr userDrawn="1"/>
          </p:nvSpPr>
          <p:spPr bwMode="auto">
            <a:xfrm>
              <a:off x="3632" y="2361"/>
              <a:ext cx="48"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4" name="Freeform 138"/>
            <p:cNvSpPr>
              <a:spLocks/>
            </p:cNvSpPr>
            <p:nvPr userDrawn="1"/>
          </p:nvSpPr>
          <p:spPr bwMode="auto">
            <a:xfrm>
              <a:off x="3706"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2"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5" name="Freeform 139"/>
            <p:cNvSpPr>
              <a:spLocks/>
            </p:cNvSpPr>
            <p:nvPr userDrawn="1"/>
          </p:nvSpPr>
          <p:spPr bwMode="auto">
            <a:xfrm>
              <a:off x="3780" y="2361"/>
              <a:ext cx="47" cy="86"/>
            </a:xfrm>
            <a:custGeom>
              <a:avLst/>
              <a:gdLst>
                <a:gd name="T0" fmla="*/ 66 w 66"/>
                <a:gd name="T1" fmla="*/ 33 h 120"/>
                <a:gd name="T2" fmla="*/ 33 w 66"/>
                <a:gd name="T3" fmla="*/ 0 h 120"/>
                <a:gd name="T4" fmla="*/ 0 w 66"/>
                <a:gd name="T5" fmla="*/ 33 h 120"/>
                <a:gd name="T6" fmla="*/ 0 w 66"/>
                <a:gd name="T7" fmla="*/ 35 h 120"/>
                <a:gd name="T8" fmla="*/ 0 w 66"/>
                <a:gd name="T9" fmla="*/ 35 h 120"/>
                <a:gd name="T10" fmla="*/ 0 w 66"/>
                <a:gd name="T11" fmla="*/ 120 h 120"/>
                <a:gd name="T12" fmla="*/ 66 w 66"/>
                <a:gd name="T13" fmla="*/ 120 h 120"/>
                <a:gd name="T14" fmla="*/ 66 w 66"/>
                <a:gd name="T15" fmla="*/ 35 h 120"/>
                <a:gd name="T16" fmla="*/ 66 w 66"/>
                <a:gd name="T17" fmla="*/ 35 h 120"/>
                <a:gd name="T18" fmla="*/ 66 w 66"/>
                <a:gd name="T19" fmla="*/ 3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120">
                  <a:moveTo>
                    <a:pt x="66" y="33"/>
                  </a:moveTo>
                  <a:cubicBezTo>
                    <a:pt x="66" y="15"/>
                    <a:pt x="51" y="0"/>
                    <a:pt x="33" y="0"/>
                  </a:cubicBezTo>
                  <a:cubicBezTo>
                    <a:pt x="15" y="0"/>
                    <a:pt x="0" y="15"/>
                    <a:pt x="0" y="33"/>
                  </a:cubicBezTo>
                  <a:cubicBezTo>
                    <a:pt x="0" y="34"/>
                    <a:pt x="0" y="34"/>
                    <a:pt x="0" y="35"/>
                  </a:cubicBezTo>
                  <a:cubicBezTo>
                    <a:pt x="0" y="35"/>
                    <a:pt x="0" y="35"/>
                    <a:pt x="0" y="35"/>
                  </a:cubicBezTo>
                  <a:cubicBezTo>
                    <a:pt x="0" y="120"/>
                    <a:pt x="0" y="120"/>
                    <a:pt x="0" y="120"/>
                  </a:cubicBezTo>
                  <a:cubicBezTo>
                    <a:pt x="66" y="120"/>
                    <a:pt x="66" y="120"/>
                    <a:pt x="66" y="120"/>
                  </a:cubicBezTo>
                  <a:cubicBezTo>
                    <a:pt x="66" y="35"/>
                    <a:pt x="66" y="35"/>
                    <a:pt x="66" y="35"/>
                  </a:cubicBezTo>
                  <a:cubicBezTo>
                    <a:pt x="66" y="35"/>
                    <a:pt x="66" y="35"/>
                    <a:pt x="66" y="35"/>
                  </a:cubicBezTo>
                  <a:cubicBezTo>
                    <a:pt x="66" y="34"/>
                    <a:pt x="66" y="34"/>
                    <a:pt x="66"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6" name="Freeform 140"/>
            <p:cNvSpPr>
              <a:spLocks/>
            </p:cNvSpPr>
            <p:nvPr userDrawn="1"/>
          </p:nvSpPr>
          <p:spPr bwMode="auto">
            <a:xfrm>
              <a:off x="2465" y="2618"/>
              <a:ext cx="1465" cy="151"/>
            </a:xfrm>
            <a:custGeom>
              <a:avLst/>
              <a:gdLst>
                <a:gd name="T0" fmla="*/ 1465 w 1465"/>
                <a:gd name="T1" fmla="*/ 151 h 151"/>
                <a:gd name="T2" fmla="*/ 0 w 1465"/>
                <a:gd name="T3" fmla="*/ 151 h 151"/>
                <a:gd name="T4" fmla="*/ 0 w 1465"/>
                <a:gd name="T5" fmla="*/ 75 h 151"/>
                <a:gd name="T6" fmla="*/ 423 w 1465"/>
                <a:gd name="T7" fmla="*/ 0 h 151"/>
                <a:gd name="T8" fmla="*/ 1042 w 1465"/>
                <a:gd name="T9" fmla="*/ 0 h 151"/>
                <a:gd name="T10" fmla="*/ 1465 w 1465"/>
                <a:gd name="T11" fmla="*/ 75 h 151"/>
                <a:gd name="T12" fmla="*/ 1465 w 1465"/>
                <a:gd name="T13" fmla="*/ 151 h 151"/>
              </a:gdLst>
              <a:ahLst/>
              <a:cxnLst>
                <a:cxn ang="0">
                  <a:pos x="T0" y="T1"/>
                </a:cxn>
                <a:cxn ang="0">
                  <a:pos x="T2" y="T3"/>
                </a:cxn>
                <a:cxn ang="0">
                  <a:pos x="T4" y="T5"/>
                </a:cxn>
                <a:cxn ang="0">
                  <a:pos x="T6" y="T7"/>
                </a:cxn>
                <a:cxn ang="0">
                  <a:pos x="T8" y="T9"/>
                </a:cxn>
                <a:cxn ang="0">
                  <a:pos x="T10" y="T11"/>
                </a:cxn>
                <a:cxn ang="0">
                  <a:pos x="T12" y="T13"/>
                </a:cxn>
              </a:cxnLst>
              <a:rect l="0" t="0" r="r" b="b"/>
              <a:pathLst>
                <a:path w="1465" h="151">
                  <a:moveTo>
                    <a:pt x="1465" y="151"/>
                  </a:moveTo>
                  <a:lnTo>
                    <a:pt x="0" y="151"/>
                  </a:lnTo>
                  <a:lnTo>
                    <a:pt x="0" y="75"/>
                  </a:lnTo>
                  <a:lnTo>
                    <a:pt x="423" y="0"/>
                  </a:lnTo>
                  <a:lnTo>
                    <a:pt x="1042" y="0"/>
                  </a:lnTo>
                  <a:lnTo>
                    <a:pt x="1465" y="75"/>
                  </a:lnTo>
                  <a:lnTo>
                    <a:pt x="1465" y="15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47" name="Line 141"/>
            <p:cNvSpPr>
              <a:spLocks noChangeShapeType="1"/>
            </p:cNvSpPr>
            <p:nvPr userDrawn="1"/>
          </p:nvSpPr>
          <p:spPr bwMode="auto">
            <a:xfrm>
              <a:off x="2764" y="2616"/>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8" name="Line 142"/>
            <p:cNvSpPr>
              <a:spLocks noChangeShapeType="1"/>
            </p:cNvSpPr>
            <p:nvPr userDrawn="1"/>
          </p:nvSpPr>
          <p:spPr bwMode="auto">
            <a:xfrm>
              <a:off x="2764" y="229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49" name="Line 143"/>
            <p:cNvSpPr>
              <a:spLocks noChangeShapeType="1"/>
            </p:cNvSpPr>
            <p:nvPr userDrawn="1"/>
          </p:nvSpPr>
          <p:spPr bwMode="auto">
            <a:xfrm>
              <a:off x="2757" y="2290"/>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0" name="Line 144"/>
            <p:cNvSpPr>
              <a:spLocks noChangeShapeType="1"/>
            </p:cNvSpPr>
            <p:nvPr userDrawn="1"/>
          </p:nvSpPr>
          <p:spPr bwMode="auto">
            <a:xfrm>
              <a:off x="2757" y="2637"/>
              <a:ext cx="0" cy="0"/>
            </a:xfrm>
            <a:prstGeom prst="line">
              <a:avLst/>
            </a:prstGeom>
            <a:noFill/>
            <a:ln w="26988"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52" name="Handpenger" hidden="1"/>
          <p:cNvGrpSpPr>
            <a:grpSpLocks noChangeAspect="1"/>
          </p:cNvGrpSpPr>
          <p:nvPr userDrawn="1"/>
        </p:nvGrpSpPr>
        <p:grpSpPr bwMode="auto">
          <a:xfrm>
            <a:off x="3331369" y="1750219"/>
            <a:ext cx="2482850" cy="1608138"/>
            <a:chOff x="2178" y="950"/>
            <a:chExt cx="1564" cy="1013"/>
          </a:xfrm>
        </p:grpSpPr>
        <p:sp>
          <p:nvSpPr>
            <p:cNvPr id="1054" name="Freeform 148"/>
            <p:cNvSpPr>
              <a:spLocks/>
            </p:cNvSpPr>
            <p:nvPr userDrawn="1"/>
          </p:nvSpPr>
          <p:spPr bwMode="auto">
            <a:xfrm>
              <a:off x="2228" y="1599"/>
              <a:ext cx="868" cy="364"/>
            </a:xfrm>
            <a:custGeom>
              <a:avLst/>
              <a:gdLst>
                <a:gd name="T0" fmla="*/ 0 w 769"/>
                <a:gd name="T1" fmla="*/ 270 h 322"/>
                <a:gd name="T2" fmla="*/ 135 w 769"/>
                <a:gd name="T3" fmla="*/ 270 h 322"/>
                <a:gd name="T4" fmla="*/ 181 w 769"/>
                <a:gd name="T5" fmla="*/ 276 h 322"/>
                <a:gd name="T6" fmla="*/ 291 w 769"/>
                <a:gd name="T7" fmla="*/ 295 h 322"/>
                <a:gd name="T8" fmla="*/ 418 w 769"/>
                <a:gd name="T9" fmla="*/ 317 h 322"/>
                <a:gd name="T10" fmla="*/ 467 w 769"/>
                <a:gd name="T11" fmla="*/ 316 h 322"/>
                <a:gd name="T12" fmla="*/ 510 w 769"/>
                <a:gd name="T13" fmla="*/ 299 h 322"/>
                <a:gd name="T14" fmla="*/ 668 w 769"/>
                <a:gd name="T15" fmla="*/ 230 h 322"/>
                <a:gd name="T16" fmla="*/ 742 w 769"/>
                <a:gd name="T17" fmla="*/ 198 h 322"/>
                <a:gd name="T18" fmla="*/ 764 w 769"/>
                <a:gd name="T19" fmla="*/ 178 h 322"/>
                <a:gd name="T20" fmla="*/ 768 w 769"/>
                <a:gd name="T21" fmla="*/ 148 h 322"/>
                <a:gd name="T22" fmla="*/ 756 w 769"/>
                <a:gd name="T23" fmla="*/ 129 h 322"/>
                <a:gd name="T24" fmla="*/ 742 w 769"/>
                <a:gd name="T25" fmla="*/ 123 h 322"/>
                <a:gd name="T26" fmla="*/ 708 w 769"/>
                <a:gd name="T27" fmla="*/ 135 h 322"/>
                <a:gd name="T28" fmla="*/ 563 w 769"/>
                <a:gd name="T29" fmla="*/ 197 h 322"/>
                <a:gd name="T30" fmla="*/ 517 w 769"/>
                <a:gd name="T31" fmla="*/ 216 h 322"/>
                <a:gd name="T32" fmla="*/ 488 w 769"/>
                <a:gd name="T33" fmla="*/ 221 h 322"/>
                <a:gd name="T34" fmla="*/ 401 w 769"/>
                <a:gd name="T35" fmla="*/ 212 h 322"/>
                <a:gd name="T36" fmla="*/ 286 w 769"/>
                <a:gd name="T37" fmla="*/ 189 h 322"/>
                <a:gd name="T38" fmla="*/ 269 w 769"/>
                <a:gd name="T39" fmla="*/ 182 h 322"/>
                <a:gd name="T40" fmla="*/ 260 w 769"/>
                <a:gd name="T41" fmla="*/ 134 h 322"/>
                <a:gd name="T42" fmla="*/ 290 w 769"/>
                <a:gd name="T43" fmla="*/ 108 h 322"/>
                <a:gd name="T44" fmla="*/ 336 w 769"/>
                <a:gd name="T45" fmla="*/ 112 h 322"/>
                <a:gd name="T46" fmla="*/ 471 w 769"/>
                <a:gd name="T47" fmla="*/ 129 h 322"/>
                <a:gd name="T48" fmla="*/ 519 w 769"/>
                <a:gd name="T49" fmla="*/ 134 h 322"/>
                <a:gd name="T50" fmla="*/ 574 w 769"/>
                <a:gd name="T51" fmla="*/ 98 h 322"/>
                <a:gd name="T52" fmla="*/ 549 w 769"/>
                <a:gd name="T53" fmla="*/ 61 h 322"/>
                <a:gd name="T54" fmla="*/ 475 w 769"/>
                <a:gd name="T55" fmla="*/ 46 h 322"/>
                <a:gd name="T56" fmla="*/ 307 w 769"/>
                <a:gd name="T57" fmla="*/ 13 h 322"/>
                <a:gd name="T58" fmla="*/ 232 w 769"/>
                <a:gd name="T59" fmla="*/ 2 h 322"/>
                <a:gd name="T60" fmla="*/ 195 w 769"/>
                <a:gd name="T61" fmla="*/ 8 h 322"/>
                <a:gd name="T62" fmla="*/ 35 w 769"/>
                <a:gd name="T63" fmla="*/ 73 h 322"/>
                <a:gd name="T64" fmla="*/ 0 w 769"/>
                <a:gd name="T65" fmla="*/ 73 h 322"/>
                <a:gd name="T66" fmla="*/ 0 w 769"/>
                <a:gd name="T67" fmla="*/ 270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9" h="322">
                  <a:moveTo>
                    <a:pt x="0" y="270"/>
                  </a:moveTo>
                  <a:cubicBezTo>
                    <a:pt x="135" y="270"/>
                    <a:pt x="135" y="270"/>
                    <a:pt x="135" y="270"/>
                  </a:cubicBezTo>
                  <a:cubicBezTo>
                    <a:pt x="151" y="272"/>
                    <a:pt x="166" y="274"/>
                    <a:pt x="181" y="276"/>
                  </a:cubicBezTo>
                  <a:cubicBezTo>
                    <a:pt x="218" y="282"/>
                    <a:pt x="255" y="288"/>
                    <a:pt x="291" y="295"/>
                  </a:cubicBezTo>
                  <a:cubicBezTo>
                    <a:pt x="333" y="302"/>
                    <a:pt x="376" y="309"/>
                    <a:pt x="418" y="317"/>
                  </a:cubicBezTo>
                  <a:cubicBezTo>
                    <a:pt x="435" y="320"/>
                    <a:pt x="451" y="322"/>
                    <a:pt x="467" y="316"/>
                  </a:cubicBezTo>
                  <a:cubicBezTo>
                    <a:pt x="482" y="310"/>
                    <a:pt x="496" y="305"/>
                    <a:pt x="510" y="299"/>
                  </a:cubicBezTo>
                  <a:cubicBezTo>
                    <a:pt x="563" y="276"/>
                    <a:pt x="616" y="253"/>
                    <a:pt x="668" y="230"/>
                  </a:cubicBezTo>
                  <a:cubicBezTo>
                    <a:pt x="706" y="213"/>
                    <a:pt x="704" y="216"/>
                    <a:pt x="742" y="198"/>
                  </a:cubicBezTo>
                  <a:cubicBezTo>
                    <a:pt x="751" y="194"/>
                    <a:pt x="758" y="187"/>
                    <a:pt x="764" y="178"/>
                  </a:cubicBezTo>
                  <a:cubicBezTo>
                    <a:pt x="769" y="169"/>
                    <a:pt x="769" y="158"/>
                    <a:pt x="768" y="148"/>
                  </a:cubicBezTo>
                  <a:cubicBezTo>
                    <a:pt x="766" y="144"/>
                    <a:pt x="764" y="138"/>
                    <a:pt x="756" y="129"/>
                  </a:cubicBezTo>
                  <a:cubicBezTo>
                    <a:pt x="756" y="129"/>
                    <a:pt x="755" y="124"/>
                    <a:pt x="742" y="123"/>
                  </a:cubicBezTo>
                  <a:cubicBezTo>
                    <a:pt x="729" y="122"/>
                    <a:pt x="708" y="135"/>
                    <a:pt x="708" y="135"/>
                  </a:cubicBezTo>
                  <a:cubicBezTo>
                    <a:pt x="708" y="135"/>
                    <a:pt x="618" y="174"/>
                    <a:pt x="563" y="197"/>
                  </a:cubicBezTo>
                  <a:cubicBezTo>
                    <a:pt x="549" y="203"/>
                    <a:pt x="531" y="210"/>
                    <a:pt x="517" y="216"/>
                  </a:cubicBezTo>
                  <a:cubicBezTo>
                    <a:pt x="508" y="220"/>
                    <a:pt x="498" y="222"/>
                    <a:pt x="488" y="221"/>
                  </a:cubicBezTo>
                  <a:cubicBezTo>
                    <a:pt x="459" y="218"/>
                    <a:pt x="430" y="217"/>
                    <a:pt x="401" y="212"/>
                  </a:cubicBezTo>
                  <a:cubicBezTo>
                    <a:pt x="361" y="206"/>
                    <a:pt x="326" y="196"/>
                    <a:pt x="286" y="189"/>
                  </a:cubicBezTo>
                  <a:cubicBezTo>
                    <a:pt x="280" y="187"/>
                    <a:pt x="274" y="185"/>
                    <a:pt x="269" y="182"/>
                  </a:cubicBezTo>
                  <a:cubicBezTo>
                    <a:pt x="258" y="175"/>
                    <a:pt x="257" y="145"/>
                    <a:pt x="260" y="134"/>
                  </a:cubicBezTo>
                  <a:cubicBezTo>
                    <a:pt x="264" y="120"/>
                    <a:pt x="274" y="109"/>
                    <a:pt x="290" y="108"/>
                  </a:cubicBezTo>
                  <a:cubicBezTo>
                    <a:pt x="305" y="107"/>
                    <a:pt x="321" y="110"/>
                    <a:pt x="336" y="112"/>
                  </a:cubicBezTo>
                  <a:cubicBezTo>
                    <a:pt x="381" y="117"/>
                    <a:pt x="426" y="123"/>
                    <a:pt x="471" y="129"/>
                  </a:cubicBezTo>
                  <a:cubicBezTo>
                    <a:pt x="487" y="131"/>
                    <a:pt x="503" y="133"/>
                    <a:pt x="519" y="134"/>
                  </a:cubicBezTo>
                  <a:cubicBezTo>
                    <a:pt x="544" y="136"/>
                    <a:pt x="568" y="120"/>
                    <a:pt x="574" y="98"/>
                  </a:cubicBezTo>
                  <a:cubicBezTo>
                    <a:pt x="578" y="81"/>
                    <a:pt x="569" y="66"/>
                    <a:pt x="549" y="61"/>
                  </a:cubicBezTo>
                  <a:cubicBezTo>
                    <a:pt x="525" y="56"/>
                    <a:pt x="500" y="51"/>
                    <a:pt x="475" y="46"/>
                  </a:cubicBezTo>
                  <a:cubicBezTo>
                    <a:pt x="419" y="35"/>
                    <a:pt x="363" y="24"/>
                    <a:pt x="307" y="13"/>
                  </a:cubicBezTo>
                  <a:cubicBezTo>
                    <a:pt x="283" y="8"/>
                    <a:pt x="257" y="6"/>
                    <a:pt x="232" y="2"/>
                  </a:cubicBezTo>
                  <a:cubicBezTo>
                    <a:pt x="219" y="0"/>
                    <a:pt x="207" y="4"/>
                    <a:pt x="195" y="8"/>
                  </a:cubicBezTo>
                  <a:cubicBezTo>
                    <a:pt x="140" y="26"/>
                    <a:pt x="87" y="49"/>
                    <a:pt x="35" y="73"/>
                  </a:cubicBezTo>
                  <a:cubicBezTo>
                    <a:pt x="0" y="73"/>
                    <a:pt x="0" y="73"/>
                    <a:pt x="0" y="73"/>
                  </a:cubicBezTo>
                  <a:lnTo>
                    <a:pt x="0" y="27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5" name="Rectangle 149"/>
            <p:cNvSpPr>
              <a:spLocks noChangeArrowheads="1"/>
            </p:cNvSpPr>
            <p:nvPr userDrawn="1"/>
          </p:nvSpPr>
          <p:spPr bwMode="auto">
            <a:xfrm>
              <a:off x="2178" y="1684"/>
              <a:ext cx="33" cy="2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6" name="Freeform 150"/>
            <p:cNvSpPr>
              <a:spLocks/>
            </p:cNvSpPr>
            <p:nvPr userDrawn="1"/>
          </p:nvSpPr>
          <p:spPr bwMode="auto">
            <a:xfrm>
              <a:off x="2843" y="950"/>
              <a:ext cx="849" cy="364"/>
            </a:xfrm>
            <a:custGeom>
              <a:avLst/>
              <a:gdLst>
                <a:gd name="T0" fmla="*/ 752 w 752"/>
                <a:gd name="T1" fmla="*/ 52 h 322"/>
                <a:gd name="T2" fmla="*/ 616 w 752"/>
                <a:gd name="T3" fmla="*/ 52 h 322"/>
                <a:gd name="T4" fmla="*/ 570 w 752"/>
                <a:gd name="T5" fmla="*/ 46 h 322"/>
                <a:gd name="T6" fmla="*/ 460 w 752"/>
                <a:gd name="T7" fmla="*/ 28 h 322"/>
                <a:gd name="T8" fmla="*/ 334 w 752"/>
                <a:gd name="T9" fmla="*/ 5 h 322"/>
                <a:gd name="T10" fmla="*/ 284 w 752"/>
                <a:gd name="T11" fmla="*/ 7 h 322"/>
                <a:gd name="T12" fmla="*/ 241 w 752"/>
                <a:gd name="T13" fmla="*/ 23 h 322"/>
                <a:gd name="T14" fmla="*/ 83 w 752"/>
                <a:gd name="T15" fmla="*/ 92 h 322"/>
                <a:gd name="T16" fmla="*/ 10 w 752"/>
                <a:gd name="T17" fmla="*/ 124 h 322"/>
                <a:gd name="T18" fmla="*/ 235 w 752"/>
                <a:gd name="T19" fmla="*/ 106 h 322"/>
                <a:gd name="T20" fmla="*/ 263 w 752"/>
                <a:gd name="T21" fmla="*/ 101 h 322"/>
                <a:gd name="T22" fmla="*/ 351 w 752"/>
                <a:gd name="T23" fmla="*/ 110 h 322"/>
                <a:gd name="T24" fmla="*/ 465 w 752"/>
                <a:gd name="T25" fmla="*/ 134 h 322"/>
                <a:gd name="T26" fmla="*/ 482 w 752"/>
                <a:gd name="T27" fmla="*/ 140 h 322"/>
                <a:gd name="T28" fmla="*/ 491 w 752"/>
                <a:gd name="T29" fmla="*/ 189 h 322"/>
                <a:gd name="T30" fmla="*/ 462 w 752"/>
                <a:gd name="T31" fmla="*/ 214 h 322"/>
                <a:gd name="T32" fmla="*/ 416 w 752"/>
                <a:gd name="T33" fmla="*/ 211 h 322"/>
                <a:gd name="T34" fmla="*/ 281 w 752"/>
                <a:gd name="T35" fmla="*/ 194 h 322"/>
                <a:gd name="T36" fmla="*/ 233 w 752"/>
                <a:gd name="T37" fmla="*/ 188 h 322"/>
                <a:gd name="T38" fmla="*/ 178 w 752"/>
                <a:gd name="T39" fmla="*/ 224 h 322"/>
                <a:gd name="T40" fmla="*/ 202 w 752"/>
                <a:gd name="T41" fmla="*/ 261 h 322"/>
                <a:gd name="T42" fmla="*/ 277 w 752"/>
                <a:gd name="T43" fmla="*/ 276 h 322"/>
                <a:gd name="T44" fmla="*/ 444 w 752"/>
                <a:gd name="T45" fmla="*/ 309 h 322"/>
                <a:gd name="T46" fmla="*/ 519 w 752"/>
                <a:gd name="T47" fmla="*/ 320 h 322"/>
                <a:gd name="T48" fmla="*/ 557 w 752"/>
                <a:gd name="T49" fmla="*/ 314 h 322"/>
                <a:gd name="T50" fmla="*/ 717 w 752"/>
                <a:gd name="T51" fmla="*/ 250 h 322"/>
                <a:gd name="T52" fmla="*/ 752 w 752"/>
                <a:gd name="T53" fmla="*/ 250 h 322"/>
                <a:gd name="T54" fmla="*/ 752 w 752"/>
                <a:gd name="T55" fmla="*/ 5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52" h="322">
                  <a:moveTo>
                    <a:pt x="752" y="52"/>
                  </a:moveTo>
                  <a:cubicBezTo>
                    <a:pt x="616" y="52"/>
                    <a:pt x="616" y="52"/>
                    <a:pt x="616" y="52"/>
                  </a:cubicBezTo>
                  <a:cubicBezTo>
                    <a:pt x="601" y="50"/>
                    <a:pt x="585" y="49"/>
                    <a:pt x="570" y="46"/>
                  </a:cubicBezTo>
                  <a:cubicBezTo>
                    <a:pt x="534" y="40"/>
                    <a:pt x="497" y="34"/>
                    <a:pt x="460" y="28"/>
                  </a:cubicBezTo>
                  <a:cubicBezTo>
                    <a:pt x="418" y="20"/>
                    <a:pt x="376" y="13"/>
                    <a:pt x="334" y="5"/>
                  </a:cubicBezTo>
                  <a:cubicBezTo>
                    <a:pt x="317" y="2"/>
                    <a:pt x="301" y="0"/>
                    <a:pt x="284" y="7"/>
                  </a:cubicBezTo>
                  <a:cubicBezTo>
                    <a:pt x="270" y="12"/>
                    <a:pt x="255" y="17"/>
                    <a:pt x="241" y="23"/>
                  </a:cubicBezTo>
                  <a:cubicBezTo>
                    <a:pt x="188" y="46"/>
                    <a:pt x="136" y="69"/>
                    <a:pt x="83" y="92"/>
                  </a:cubicBezTo>
                  <a:cubicBezTo>
                    <a:pt x="45" y="109"/>
                    <a:pt x="47" y="106"/>
                    <a:pt x="10" y="124"/>
                  </a:cubicBezTo>
                  <a:cubicBezTo>
                    <a:pt x="0" y="128"/>
                    <a:pt x="221" y="112"/>
                    <a:pt x="235" y="106"/>
                  </a:cubicBezTo>
                  <a:cubicBezTo>
                    <a:pt x="244" y="102"/>
                    <a:pt x="253" y="100"/>
                    <a:pt x="263" y="101"/>
                  </a:cubicBezTo>
                  <a:cubicBezTo>
                    <a:pt x="293" y="104"/>
                    <a:pt x="322" y="106"/>
                    <a:pt x="351" y="110"/>
                  </a:cubicBezTo>
                  <a:cubicBezTo>
                    <a:pt x="391" y="116"/>
                    <a:pt x="426" y="126"/>
                    <a:pt x="465" y="134"/>
                  </a:cubicBezTo>
                  <a:cubicBezTo>
                    <a:pt x="471" y="135"/>
                    <a:pt x="477" y="137"/>
                    <a:pt x="482" y="140"/>
                  </a:cubicBezTo>
                  <a:cubicBezTo>
                    <a:pt x="494" y="147"/>
                    <a:pt x="495" y="178"/>
                    <a:pt x="491" y="189"/>
                  </a:cubicBezTo>
                  <a:cubicBezTo>
                    <a:pt x="487" y="202"/>
                    <a:pt x="478" y="213"/>
                    <a:pt x="462" y="214"/>
                  </a:cubicBezTo>
                  <a:cubicBezTo>
                    <a:pt x="447" y="215"/>
                    <a:pt x="431" y="213"/>
                    <a:pt x="416" y="211"/>
                  </a:cubicBezTo>
                  <a:cubicBezTo>
                    <a:pt x="371" y="205"/>
                    <a:pt x="326" y="199"/>
                    <a:pt x="281" y="194"/>
                  </a:cubicBezTo>
                  <a:cubicBezTo>
                    <a:pt x="265" y="192"/>
                    <a:pt x="249" y="189"/>
                    <a:pt x="233" y="188"/>
                  </a:cubicBezTo>
                  <a:cubicBezTo>
                    <a:pt x="207" y="186"/>
                    <a:pt x="183" y="202"/>
                    <a:pt x="178" y="224"/>
                  </a:cubicBezTo>
                  <a:cubicBezTo>
                    <a:pt x="173" y="241"/>
                    <a:pt x="183" y="257"/>
                    <a:pt x="202" y="261"/>
                  </a:cubicBezTo>
                  <a:cubicBezTo>
                    <a:pt x="227" y="266"/>
                    <a:pt x="252" y="271"/>
                    <a:pt x="277" y="276"/>
                  </a:cubicBezTo>
                  <a:cubicBezTo>
                    <a:pt x="333" y="287"/>
                    <a:pt x="388" y="299"/>
                    <a:pt x="444" y="309"/>
                  </a:cubicBezTo>
                  <a:cubicBezTo>
                    <a:pt x="469" y="314"/>
                    <a:pt x="494" y="316"/>
                    <a:pt x="519" y="320"/>
                  </a:cubicBezTo>
                  <a:cubicBezTo>
                    <a:pt x="532" y="322"/>
                    <a:pt x="545" y="318"/>
                    <a:pt x="557" y="314"/>
                  </a:cubicBezTo>
                  <a:cubicBezTo>
                    <a:pt x="612" y="296"/>
                    <a:pt x="664" y="273"/>
                    <a:pt x="717" y="250"/>
                  </a:cubicBezTo>
                  <a:cubicBezTo>
                    <a:pt x="752" y="250"/>
                    <a:pt x="752" y="250"/>
                    <a:pt x="752" y="250"/>
                  </a:cubicBezTo>
                  <a:lnTo>
                    <a:pt x="752" y="5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7" name="Rectangle 151"/>
            <p:cNvSpPr>
              <a:spLocks noChangeArrowheads="1"/>
            </p:cNvSpPr>
            <p:nvPr userDrawn="1"/>
          </p:nvSpPr>
          <p:spPr bwMode="auto">
            <a:xfrm>
              <a:off x="3708" y="1005"/>
              <a:ext cx="34" cy="2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58" name="Freeform 152"/>
            <p:cNvSpPr>
              <a:spLocks/>
            </p:cNvSpPr>
            <p:nvPr userDrawn="1"/>
          </p:nvSpPr>
          <p:spPr bwMode="auto">
            <a:xfrm>
              <a:off x="2627" y="1047"/>
              <a:ext cx="810" cy="465"/>
            </a:xfrm>
            <a:custGeom>
              <a:avLst/>
              <a:gdLst>
                <a:gd name="T0" fmla="*/ 810 w 810"/>
                <a:gd name="T1" fmla="*/ 395 h 465"/>
                <a:gd name="T2" fmla="*/ 35 w 810"/>
                <a:gd name="T3" fmla="*/ 465 h 465"/>
                <a:gd name="T4" fmla="*/ 0 w 810"/>
                <a:gd name="T5" fmla="*/ 70 h 465"/>
                <a:gd name="T6" fmla="*/ 774 w 810"/>
                <a:gd name="T7" fmla="*/ 0 h 465"/>
                <a:gd name="T8" fmla="*/ 810 w 810"/>
                <a:gd name="T9" fmla="*/ 395 h 465"/>
              </a:gdLst>
              <a:ahLst/>
              <a:cxnLst>
                <a:cxn ang="0">
                  <a:pos x="T0" y="T1"/>
                </a:cxn>
                <a:cxn ang="0">
                  <a:pos x="T2" y="T3"/>
                </a:cxn>
                <a:cxn ang="0">
                  <a:pos x="T4" y="T5"/>
                </a:cxn>
                <a:cxn ang="0">
                  <a:pos x="T6" y="T7"/>
                </a:cxn>
                <a:cxn ang="0">
                  <a:pos x="T8" y="T9"/>
                </a:cxn>
              </a:cxnLst>
              <a:rect l="0" t="0" r="r" b="b"/>
              <a:pathLst>
                <a:path w="810" h="465">
                  <a:moveTo>
                    <a:pt x="810" y="395"/>
                  </a:moveTo>
                  <a:lnTo>
                    <a:pt x="35" y="465"/>
                  </a:lnTo>
                  <a:lnTo>
                    <a:pt x="0" y="70"/>
                  </a:lnTo>
                  <a:lnTo>
                    <a:pt x="774" y="0"/>
                  </a:lnTo>
                  <a:lnTo>
                    <a:pt x="810" y="395"/>
                  </a:lnTo>
                  <a:close/>
                </a:path>
              </a:pathLst>
            </a:custGeom>
            <a:noFill/>
            <a:ln w="28575"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59" name="Freeform 153"/>
            <p:cNvSpPr>
              <a:spLocks noEditPoints="1"/>
            </p:cNvSpPr>
            <p:nvPr userDrawn="1"/>
          </p:nvSpPr>
          <p:spPr bwMode="auto">
            <a:xfrm>
              <a:off x="2809" y="1189"/>
              <a:ext cx="121" cy="210"/>
            </a:xfrm>
            <a:custGeom>
              <a:avLst/>
              <a:gdLst>
                <a:gd name="T0" fmla="*/ 65 w 107"/>
                <a:gd name="T1" fmla="*/ 184 h 185"/>
                <a:gd name="T2" fmla="*/ 56 w 107"/>
                <a:gd name="T3" fmla="*/ 185 h 185"/>
                <a:gd name="T4" fmla="*/ 54 w 107"/>
                <a:gd name="T5" fmla="*/ 165 h 185"/>
                <a:gd name="T6" fmla="*/ 23 w 107"/>
                <a:gd name="T7" fmla="*/ 159 h 185"/>
                <a:gd name="T8" fmla="*/ 3 w 107"/>
                <a:gd name="T9" fmla="*/ 121 h 185"/>
                <a:gd name="T10" fmla="*/ 30 w 107"/>
                <a:gd name="T11" fmla="*/ 118 h 185"/>
                <a:gd name="T12" fmla="*/ 36 w 107"/>
                <a:gd name="T13" fmla="*/ 135 h 185"/>
                <a:gd name="T14" fmla="*/ 52 w 107"/>
                <a:gd name="T15" fmla="*/ 142 h 185"/>
                <a:gd name="T16" fmla="*/ 48 w 107"/>
                <a:gd name="T17" fmla="*/ 99 h 185"/>
                <a:gd name="T18" fmla="*/ 40 w 107"/>
                <a:gd name="T19" fmla="*/ 98 h 185"/>
                <a:gd name="T20" fmla="*/ 11 w 107"/>
                <a:gd name="T21" fmla="*/ 84 h 185"/>
                <a:gd name="T22" fmla="*/ 1 w 107"/>
                <a:gd name="T23" fmla="*/ 61 h 185"/>
                <a:gd name="T24" fmla="*/ 2 w 107"/>
                <a:gd name="T25" fmla="*/ 43 h 185"/>
                <a:gd name="T26" fmla="*/ 10 w 107"/>
                <a:gd name="T27" fmla="*/ 29 h 185"/>
                <a:gd name="T28" fmla="*/ 25 w 107"/>
                <a:gd name="T29" fmla="*/ 18 h 185"/>
                <a:gd name="T30" fmla="*/ 40 w 107"/>
                <a:gd name="T31" fmla="*/ 14 h 185"/>
                <a:gd name="T32" fmla="*/ 39 w 107"/>
                <a:gd name="T33" fmla="*/ 1 h 185"/>
                <a:gd name="T34" fmla="*/ 49 w 107"/>
                <a:gd name="T35" fmla="*/ 0 h 185"/>
                <a:gd name="T36" fmla="*/ 50 w 107"/>
                <a:gd name="T37" fmla="*/ 13 h 185"/>
                <a:gd name="T38" fmla="*/ 76 w 107"/>
                <a:gd name="T39" fmla="*/ 19 h 185"/>
                <a:gd name="T40" fmla="*/ 97 w 107"/>
                <a:gd name="T41" fmla="*/ 53 h 185"/>
                <a:gd name="T42" fmla="*/ 71 w 107"/>
                <a:gd name="T43" fmla="*/ 55 h 185"/>
                <a:gd name="T44" fmla="*/ 66 w 107"/>
                <a:gd name="T45" fmla="*/ 42 h 185"/>
                <a:gd name="T46" fmla="*/ 52 w 107"/>
                <a:gd name="T47" fmla="*/ 36 h 185"/>
                <a:gd name="T48" fmla="*/ 55 w 107"/>
                <a:gd name="T49" fmla="*/ 74 h 185"/>
                <a:gd name="T50" fmla="*/ 89 w 107"/>
                <a:gd name="T51" fmla="*/ 86 h 185"/>
                <a:gd name="T52" fmla="*/ 105 w 107"/>
                <a:gd name="T53" fmla="*/ 114 h 185"/>
                <a:gd name="T54" fmla="*/ 90 w 107"/>
                <a:gd name="T55" fmla="*/ 153 h 185"/>
                <a:gd name="T56" fmla="*/ 64 w 107"/>
                <a:gd name="T57" fmla="*/ 164 h 185"/>
                <a:gd name="T58" fmla="*/ 65 w 107"/>
                <a:gd name="T59" fmla="*/ 184 h 185"/>
                <a:gd name="T60" fmla="*/ 42 w 107"/>
                <a:gd name="T61" fmla="*/ 37 h 185"/>
                <a:gd name="T62" fmla="*/ 30 w 107"/>
                <a:gd name="T63" fmla="*/ 42 h 185"/>
                <a:gd name="T64" fmla="*/ 27 w 107"/>
                <a:gd name="T65" fmla="*/ 55 h 185"/>
                <a:gd name="T66" fmla="*/ 34 w 107"/>
                <a:gd name="T67" fmla="*/ 68 h 185"/>
                <a:gd name="T68" fmla="*/ 45 w 107"/>
                <a:gd name="T69" fmla="*/ 72 h 185"/>
                <a:gd name="T70" fmla="*/ 42 w 107"/>
                <a:gd name="T71" fmla="*/ 37 h 185"/>
                <a:gd name="T72" fmla="*/ 62 w 107"/>
                <a:gd name="T73" fmla="*/ 141 h 185"/>
                <a:gd name="T74" fmla="*/ 73 w 107"/>
                <a:gd name="T75" fmla="*/ 136 h 185"/>
                <a:gd name="T76" fmla="*/ 78 w 107"/>
                <a:gd name="T77" fmla="*/ 120 h 185"/>
                <a:gd name="T78" fmla="*/ 70 w 107"/>
                <a:gd name="T79" fmla="*/ 107 h 185"/>
                <a:gd name="T80" fmla="*/ 58 w 107"/>
                <a:gd name="T81" fmla="*/ 102 h 185"/>
                <a:gd name="T82" fmla="*/ 62 w 107"/>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5">
                  <a:moveTo>
                    <a:pt x="65" y="184"/>
                  </a:moveTo>
                  <a:cubicBezTo>
                    <a:pt x="56" y="185"/>
                    <a:pt x="56" y="185"/>
                    <a:pt x="56" y="185"/>
                  </a:cubicBezTo>
                  <a:cubicBezTo>
                    <a:pt x="54" y="165"/>
                    <a:pt x="54" y="165"/>
                    <a:pt x="54" y="165"/>
                  </a:cubicBezTo>
                  <a:cubicBezTo>
                    <a:pt x="40" y="164"/>
                    <a:pt x="30" y="162"/>
                    <a:pt x="23" y="159"/>
                  </a:cubicBezTo>
                  <a:cubicBezTo>
                    <a:pt x="11" y="152"/>
                    <a:pt x="4" y="139"/>
                    <a:pt x="3" y="121"/>
                  </a:cubicBezTo>
                  <a:cubicBezTo>
                    <a:pt x="30" y="118"/>
                    <a:pt x="30" y="118"/>
                    <a:pt x="30" y="118"/>
                  </a:cubicBezTo>
                  <a:cubicBezTo>
                    <a:pt x="32" y="127"/>
                    <a:pt x="34" y="132"/>
                    <a:pt x="36" y="135"/>
                  </a:cubicBezTo>
                  <a:cubicBezTo>
                    <a:pt x="39" y="139"/>
                    <a:pt x="44" y="142"/>
                    <a:pt x="52" y="142"/>
                  </a:cubicBezTo>
                  <a:cubicBezTo>
                    <a:pt x="48" y="99"/>
                    <a:pt x="48" y="99"/>
                    <a:pt x="48" y="99"/>
                  </a:cubicBezTo>
                  <a:cubicBezTo>
                    <a:pt x="40" y="98"/>
                    <a:pt x="40" y="98"/>
                    <a:pt x="40" y="98"/>
                  </a:cubicBezTo>
                  <a:cubicBezTo>
                    <a:pt x="26" y="95"/>
                    <a:pt x="17" y="90"/>
                    <a:pt x="11" y="84"/>
                  </a:cubicBezTo>
                  <a:cubicBezTo>
                    <a:pt x="5" y="78"/>
                    <a:pt x="2" y="70"/>
                    <a:pt x="1" y="61"/>
                  </a:cubicBezTo>
                  <a:cubicBezTo>
                    <a:pt x="0" y="54"/>
                    <a:pt x="1" y="49"/>
                    <a:pt x="2" y="43"/>
                  </a:cubicBezTo>
                  <a:cubicBezTo>
                    <a:pt x="4" y="38"/>
                    <a:pt x="6" y="33"/>
                    <a:pt x="10" y="29"/>
                  </a:cubicBezTo>
                  <a:cubicBezTo>
                    <a:pt x="14" y="24"/>
                    <a:pt x="19" y="20"/>
                    <a:pt x="25" y="18"/>
                  </a:cubicBezTo>
                  <a:cubicBezTo>
                    <a:pt x="28" y="17"/>
                    <a:pt x="33" y="15"/>
                    <a:pt x="40" y="14"/>
                  </a:cubicBezTo>
                  <a:cubicBezTo>
                    <a:pt x="39" y="1"/>
                    <a:pt x="39" y="1"/>
                    <a:pt x="39" y="1"/>
                  </a:cubicBezTo>
                  <a:cubicBezTo>
                    <a:pt x="49" y="0"/>
                    <a:pt x="49" y="0"/>
                    <a:pt x="49" y="0"/>
                  </a:cubicBezTo>
                  <a:cubicBezTo>
                    <a:pt x="50" y="13"/>
                    <a:pt x="50" y="13"/>
                    <a:pt x="50" y="13"/>
                  </a:cubicBezTo>
                  <a:cubicBezTo>
                    <a:pt x="61" y="13"/>
                    <a:pt x="70" y="15"/>
                    <a:pt x="76" y="19"/>
                  </a:cubicBezTo>
                  <a:cubicBezTo>
                    <a:pt x="88" y="25"/>
                    <a:pt x="95" y="36"/>
                    <a:pt x="97" y="53"/>
                  </a:cubicBezTo>
                  <a:cubicBezTo>
                    <a:pt x="71" y="55"/>
                    <a:pt x="71" y="55"/>
                    <a:pt x="71" y="55"/>
                  </a:cubicBezTo>
                  <a:cubicBezTo>
                    <a:pt x="70" y="49"/>
                    <a:pt x="68" y="45"/>
                    <a:pt x="66" y="42"/>
                  </a:cubicBezTo>
                  <a:cubicBezTo>
                    <a:pt x="64" y="38"/>
                    <a:pt x="59" y="35"/>
                    <a:pt x="52" y="36"/>
                  </a:cubicBezTo>
                  <a:cubicBezTo>
                    <a:pt x="55" y="74"/>
                    <a:pt x="55" y="74"/>
                    <a:pt x="55" y="74"/>
                  </a:cubicBezTo>
                  <a:cubicBezTo>
                    <a:pt x="72" y="78"/>
                    <a:pt x="83" y="82"/>
                    <a:pt x="89" y="86"/>
                  </a:cubicBezTo>
                  <a:cubicBezTo>
                    <a:pt x="99" y="92"/>
                    <a:pt x="104" y="101"/>
                    <a:pt x="105" y="114"/>
                  </a:cubicBezTo>
                  <a:cubicBezTo>
                    <a:pt x="107" y="131"/>
                    <a:pt x="102" y="144"/>
                    <a:pt x="90" y="153"/>
                  </a:cubicBezTo>
                  <a:cubicBezTo>
                    <a:pt x="83" y="158"/>
                    <a:pt x="74" y="162"/>
                    <a:pt x="64" y="164"/>
                  </a:cubicBezTo>
                  <a:lnTo>
                    <a:pt x="65" y="184"/>
                  </a:lnTo>
                  <a:close/>
                  <a:moveTo>
                    <a:pt x="42" y="37"/>
                  </a:moveTo>
                  <a:cubicBezTo>
                    <a:pt x="36" y="37"/>
                    <a:pt x="32" y="39"/>
                    <a:pt x="30" y="42"/>
                  </a:cubicBezTo>
                  <a:cubicBezTo>
                    <a:pt x="27" y="46"/>
                    <a:pt x="26" y="50"/>
                    <a:pt x="27" y="55"/>
                  </a:cubicBezTo>
                  <a:cubicBezTo>
                    <a:pt x="27" y="61"/>
                    <a:pt x="30" y="65"/>
                    <a:pt x="34" y="68"/>
                  </a:cubicBezTo>
                  <a:cubicBezTo>
                    <a:pt x="37" y="70"/>
                    <a:pt x="40" y="71"/>
                    <a:pt x="45" y="72"/>
                  </a:cubicBezTo>
                  <a:lnTo>
                    <a:pt x="42" y="37"/>
                  </a:lnTo>
                  <a:close/>
                  <a:moveTo>
                    <a:pt x="62" y="141"/>
                  </a:moveTo>
                  <a:cubicBezTo>
                    <a:pt x="67" y="140"/>
                    <a:pt x="70" y="138"/>
                    <a:pt x="73" y="136"/>
                  </a:cubicBezTo>
                  <a:cubicBezTo>
                    <a:pt x="77" y="133"/>
                    <a:pt x="78" y="127"/>
                    <a:pt x="78" y="120"/>
                  </a:cubicBezTo>
                  <a:cubicBezTo>
                    <a:pt x="77" y="114"/>
                    <a:pt x="75" y="110"/>
                    <a:pt x="70" y="107"/>
                  </a:cubicBezTo>
                  <a:cubicBezTo>
                    <a:pt x="68" y="105"/>
                    <a:pt x="64" y="103"/>
                    <a:pt x="58" y="102"/>
                  </a:cubicBezTo>
                  <a:lnTo>
                    <a:pt x="62"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0" name="Freeform 154"/>
            <p:cNvSpPr>
              <a:spLocks noEditPoints="1"/>
            </p:cNvSpPr>
            <p:nvPr userDrawn="1"/>
          </p:nvSpPr>
          <p:spPr bwMode="auto">
            <a:xfrm>
              <a:off x="2974" y="1175"/>
              <a:ext cx="120" cy="209"/>
            </a:xfrm>
            <a:custGeom>
              <a:avLst/>
              <a:gdLst>
                <a:gd name="T0" fmla="*/ 65 w 106"/>
                <a:gd name="T1" fmla="*/ 184 h 185"/>
                <a:gd name="T2" fmla="*/ 55 w 106"/>
                <a:gd name="T3" fmla="*/ 185 h 185"/>
                <a:gd name="T4" fmla="*/ 53 w 106"/>
                <a:gd name="T5" fmla="*/ 164 h 185"/>
                <a:gd name="T6" fmla="*/ 23 w 106"/>
                <a:gd name="T7" fmla="*/ 158 h 185"/>
                <a:gd name="T8" fmla="*/ 2 w 106"/>
                <a:gd name="T9" fmla="*/ 121 h 185"/>
                <a:gd name="T10" fmla="*/ 30 w 106"/>
                <a:gd name="T11" fmla="*/ 118 h 185"/>
                <a:gd name="T12" fmla="*/ 35 w 106"/>
                <a:gd name="T13" fmla="*/ 135 h 185"/>
                <a:gd name="T14" fmla="*/ 51 w 106"/>
                <a:gd name="T15" fmla="*/ 142 h 185"/>
                <a:gd name="T16" fmla="*/ 47 w 106"/>
                <a:gd name="T17" fmla="*/ 99 h 185"/>
                <a:gd name="T18" fmla="*/ 39 w 106"/>
                <a:gd name="T19" fmla="*/ 97 h 185"/>
                <a:gd name="T20" fmla="*/ 10 w 106"/>
                <a:gd name="T21" fmla="*/ 84 h 185"/>
                <a:gd name="T22" fmla="*/ 0 w 106"/>
                <a:gd name="T23" fmla="*/ 61 h 185"/>
                <a:gd name="T24" fmla="*/ 2 w 106"/>
                <a:gd name="T25" fmla="*/ 43 h 185"/>
                <a:gd name="T26" fmla="*/ 9 w 106"/>
                <a:gd name="T27" fmla="*/ 29 h 185"/>
                <a:gd name="T28" fmla="*/ 24 w 106"/>
                <a:gd name="T29" fmla="*/ 18 h 185"/>
                <a:gd name="T30" fmla="*/ 40 w 106"/>
                <a:gd name="T31" fmla="*/ 14 h 185"/>
                <a:gd name="T32" fmla="*/ 38 w 106"/>
                <a:gd name="T33" fmla="*/ 1 h 185"/>
                <a:gd name="T34" fmla="*/ 48 w 106"/>
                <a:gd name="T35" fmla="*/ 0 h 185"/>
                <a:gd name="T36" fmla="*/ 49 w 106"/>
                <a:gd name="T37" fmla="*/ 13 h 185"/>
                <a:gd name="T38" fmla="*/ 76 w 106"/>
                <a:gd name="T39" fmla="*/ 19 h 185"/>
                <a:gd name="T40" fmla="*/ 97 w 106"/>
                <a:gd name="T41" fmla="*/ 52 h 185"/>
                <a:gd name="T42" fmla="*/ 70 w 106"/>
                <a:gd name="T43" fmla="*/ 55 h 185"/>
                <a:gd name="T44" fmla="*/ 66 w 106"/>
                <a:gd name="T45" fmla="*/ 42 h 185"/>
                <a:gd name="T46" fmla="*/ 51 w 106"/>
                <a:gd name="T47" fmla="*/ 35 h 185"/>
                <a:gd name="T48" fmla="*/ 55 w 106"/>
                <a:gd name="T49" fmla="*/ 74 h 185"/>
                <a:gd name="T50" fmla="*/ 88 w 106"/>
                <a:gd name="T51" fmla="*/ 85 h 185"/>
                <a:gd name="T52" fmla="*/ 105 w 106"/>
                <a:gd name="T53" fmla="*/ 114 h 185"/>
                <a:gd name="T54" fmla="*/ 89 w 106"/>
                <a:gd name="T55" fmla="*/ 153 h 185"/>
                <a:gd name="T56" fmla="*/ 63 w 106"/>
                <a:gd name="T57" fmla="*/ 163 h 185"/>
                <a:gd name="T58" fmla="*/ 65 w 106"/>
                <a:gd name="T59" fmla="*/ 184 h 185"/>
                <a:gd name="T60" fmla="*/ 42 w 106"/>
                <a:gd name="T61" fmla="*/ 36 h 185"/>
                <a:gd name="T62" fmla="*/ 29 w 106"/>
                <a:gd name="T63" fmla="*/ 42 h 185"/>
                <a:gd name="T64" fmla="*/ 26 w 106"/>
                <a:gd name="T65" fmla="*/ 55 h 185"/>
                <a:gd name="T66" fmla="*/ 34 w 106"/>
                <a:gd name="T67" fmla="*/ 68 h 185"/>
                <a:gd name="T68" fmla="*/ 45 w 106"/>
                <a:gd name="T69" fmla="*/ 72 h 185"/>
                <a:gd name="T70" fmla="*/ 42 w 106"/>
                <a:gd name="T71" fmla="*/ 36 h 185"/>
                <a:gd name="T72" fmla="*/ 61 w 106"/>
                <a:gd name="T73" fmla="*/ 141 h 185"/>
                <a:gd name="T74" fmla="*/ 72 w 106"/>
                <a:gd name="T75" fmla="*/ 136 h 185"/>
                <a:gd name="T76" fmla="*/ 77 w 106"/>
                <a:gd name="T77" fmla="*/ 120 h 185"/>
                <a:gd name="T78" fmla="*/ 70 w 106"/>
                <a:gd name="T79" fmla="*/ 106 h 185"/>
                <a:gd name="T80" fmla="*/ 57 w 106"/>
                <a:gd name="T81" fmla="*/ 101 h 185"/>
                <a:gd name="T82" fmla="*/ 61 w 106"/>
                <a:gd name="T83" fmla="*/ 14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 h="185">
                  <a:moveTo>
                    <a:pt x="65" y="184"/>
                  </a:moveTo>
                  <a:cubicBezTo>
                    <a:pt x="55" y="185"/>
                    <a:pt x="55" y="185"/>
                    <a:pt x="55" y="185"/>
                  </a:cubicBezTo>
                  <a:cubicBezTo>
                    <a:pt x="53" y="164"/>
                    <a:pt x="53" y="164"/>
                    <a:pt x="53" y="164"/>
                  </a:cubicBezTo>
                  <a:cubicBezTo>
                    <a:pt x="40" y="164"/>
                    <a:pt x="30" y="162"/>
                    <a:pt x="23" y="158"/>
                  </a:cubicBezTo>
                  <a:cubicBezTo>
                    <a:pt x="11" y="152"/>
                    <a:pt x="4" y="139"/>
                    <a:pt x="2" y="121"/>
                  </a:cubicBezTo>
                  <a:cubicBezTo>
                    <a:pt x="30" y="118"/>
                    <a:pt x="30" y="118"/>
                    <a:pt x="30" y="118"/>
                  </a:cubicBezTo>
                  <a:cubicBezTo>
                    <a:pt x="31" y="126"/>
                    <a:pt x="33" y="132"/>
                    <a:pt x="35" y="135"/>
                  </a:cubicBezTo>
                  <a:cubicBezTo>
                    <a:pt x="38" y="139"/>
                    <a:pt x="43" y="141"/>
                    <a:pt x="51" y="142"/>
                  </a:cubicBezTo>
                  <a:cubicBezTo>
                    <a:pt x="47" y="99"/>
                    <a:pt x="47" y="99"/>
                    <a:pt x="47" y="99"/>
                  </a:cubicBezTo>
                  <a:cubicBezTo>
                    <a:pt x="39" y="97"/>
                    <a:pt x="39" y="97"/>
                    <a:pt x="39" y="97"/>
                  </a:cubicBezTo>
                  <a:cubicBezTo>
                    <a:pt x="26" y="95"/>
                    <a:pt x="16" y="90"/>
                    <a:pt x="10" y="84"/>
                  </a:cubicBezTo>
                  <a:cubicBezTo>
                    <a:pt x="4" y="78"/>
                    <a:pt x="1" y="70"/>
                    <a:pt x="0" y="61"/>
                  </a:cubicBezTo>
                  <a:cubicBezTo>
                    <a:pt x="0" y="54"/>
                    <a:pt x="0" y="49"/>
                    <a:pt x="2" y="43"/>
                  </a:cubicBezTo>
                  <a:cubicBezTo>
                    <a:pt x="3" y="38"/>
                    <a:pt x="6" y="33"/>
                    <a:pt x="9" y="29"/>
                  </a:cubicBezTo>
                  <a:cubicBezTo>
                    <a:pt x="14" y="24"/>
                    <a:pt x="19" y="20"/>
                    <a:pt x="24" y="18"/>
                  </a:cubicBezTo>
                  <a:cubicBezTo>
                    <a:pt x="28" y="16"/>
                    <a:pt x="33" y="15"/>
                    <a:pt x="40" y="14"/>
                  </a:cubicBezTo>
                  <a:cubicBezTo>
                    <a:pt x="38" y="1"/>
                    <a:pt x="38" y="1"/>
                    <a:pt x="38" y="1"/>
                  </a:cubicBezTo>
                  <a:cubicBezTo>
                    <a:pt x="48" y="0"/>
                    <a:pt x="48" y="0"/>
                    <a:pt x="48" y="0"/>
                  </a:cubicBezTo>
                  <a:cubicBezTo>
                    <a:pt x="49" y="13"/>
                    <a:pt x="49" y="13"/>
                    <a:pt x="49" y="13"/>
                  </a:cubicBezTo>
                  <a:cubicBezTo>
                    <a:pt x="60" y="13"/>
                    <a:pt x="69" y="15"/>
                    <a:pt x="76" y="19"/>
                  </a:cubicBezTo>
                  <a:cubicBezTo>
                    <a:pt x="88" y="25"/>
                    <a:pt x="95" y="36"/>
                    <a:pt x="97" y="52"/>
                  </a:cubicBezTo>
                  <a:cubicBezTo>
                    <a:pt x="70" y="55"/>
                    <a:pt x="70" y="55"/>
                    <a:pt x="70" y="55"/>
                  </a:cubicBezTo>
                  <a:cubicBezTo>
                    <a:pt x="69" y="49"/>
                    <a:pt x="68" y="45"/>
                    <a:pt x="66" y="42"/>
                  </a:cubicBezTo>
                  <a:cubicBezTo>
                    <a:pt x="63" y="37"/>
                    <a:pt x="58" y="35"/>
                    <a:pt x="51" y="35"/>
                  </a:cubicBezTo>
                  <a:cubicBezTo>
                    <a:pt x="55" y="74"/>
                    <a:pt x="55" y="74"/>
                    <a:pt x="55" y="74"/>
                  </a:cubicBezTo>
                  <a:cubicBezTo>
                    <a:pt x="71" y="78"/>
                    <a:pt x="82" y="82"/>
                    <a:pt x="88" y="85"/>
                  </a:cubicBezTo>
                  <a:cubicBezTo>
                    <a:pt x="98" y="92"/>
                    <a:pt x="103" y="101"/>
                    <a:pt x="105" y="114"/>
                  </a:cubicBezTo>
                  <a:cubicBezTo>
                    <a:pt x="106" y="131"/>
                    <a:pt x="101" y="144"/>
                    <a:pt x="89" y="153"/>
                  </a:cubicBezTo>
                  <a:cubicBezTo>
                    <a:pt x="82" y="158"/>
                    <a:pt x="73" y="162"/>
                    <a:pt x="63" y="163"/>
                  </a:cubicBezTo>
                  <a:lnTo>
                    <a:pt x="65" y="184"/>
                  </a:lnTo>
                  <a:close/>
                  <a:moveTo>
                    <a:pt x="42" y="36"/>
                  </a:moveTo>
                  <a:cubicBezTo>
                    <a:pt x="36" y="37"/>
                    <a:pt x="32" y="39"/>
                    <a:pt x="29" y="42"/>
                  </a:cubicBezTo>
                  <a:cubicBezTo>
                    <a:pt x="27" y="46"/>
                    <a:pt x="25" y="50"/>
                    <a:pt x="26" y="55"/>
                  </a:cubicBezTo>
                  <a:cubicBezTo>
                    <a:pt x="26" y="61"/>
                    <a:pt x="29" y="65"/>
                    <a:pt x="34" y="68"/>
                  </a:cubicBezTo>
                  <a:cubicBezTo>
                    <a:pt x="36" y="69"/>
                    <a:pt x="40" y="71"/>
                    <a:pt x="45" y="72"/>
                  </a:cubicBezTo>
                  <a:lnTo>
                    <a:pt x="42" y="36"/>
                  </a:lnTo>
                  <a:close/>
                  <a:moveTo>
                    <a:pt x="61" y="141"/>
                  </a:moveTo>
                  <a:cubicBezTo>
                    <a:pt x="66" y="140"/>
                    <a:pt x="70" y="138"/>
                    <a:pt x="72" y="136"/>
                  </a:cubicBezTo>
                  <a:cubicBezTo>
                    <a:pt x="76" y="133"/>
                    <a:pt x="78" y="127"/>
                    <a:pt x="77" y="120"/>
                  </a:cubicBezTo>
                  <a:cubicBezTo>
                    <a:pt x="76" y="114"/>
                    <a:pt x="74" y="109"/>
                    <a:pt x="70" y="106"/>
                  </a:cubicBezTo>
                  <a:cubicBezTo>
                    <a:pt x="67" y="105"/>
                    <a:pt x="63" y="103"/>
                    <a:pt x="57"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1" name="Freeform 155"/>
            <p:cNvSpPr>
              <a:spLocks noEditPoints="1"/>
            </p:cNvSpPr>
            <p:nvPr userDrawn="1"/>
          </p:nvSpPr>
          <p:spPr bwMode="auto">
            <a:xfrm>
              <a:off x="3138" y="1160"/>
              <a:ext cx="121" cy="208"/>
            </a:xfrm>
            <a:custGeom>
              <a:avLst/>
              <a:gdLst>
                <a:gd name="T0" fmla="*/ 65 w 107"/>
                <a:gd name="T1" fmla="*/ 184 h 184"/>
                <a:gd name="T2" fmla="*/ 55 w 107"/>
                <a:gd name="T3" fmla="*/ 184 h 184"/>
                <a:gd name="T4" fmla="*/ 54 w 107"/>
                <a:gd name="T5" fmla="*/ 164 h 184"/>
                <a:gd name="T6" fmla="*/ 23 w 107"/>
                <a:gd name="T7" fmla="*/ 158 h 184"/>
                <a:gd name="T8" fmla="*/ 3 w 107"/>
                <a:gd name="T9" fmla="*/ 120 h 184"/>
                <a:gd name="T10" fmla="*/ 30 w 107"/>
                <a:gd name="T11" fmla="*/ 118 h 184"/>
                <a:gd name="T12" fmla="*/ 35 w 107"/>
                <a:gd name="T13" fmla="*/ 135 h 184"/>
                <a:gd name="T14" fmla="*/ 52 w 107"/>
                <a:gd name="T15" fmla="*/ 142 h 184"/>
                <a:gd name="T16" fmla="*/ 48 w 107"/>
                <a:gd name="T17" fmla="*/ 99 h 184"/>
                <a:gd name="T18" fmla="*/ 39 w 107"/>
                <a:gd name="T19" fmla="*/ 97 h 184"/>
                <a:gd name="T20" fmla="*/ 11 w 107"/>
                <a:gd name="T21" fmla="*/ 84 h 184"/>
                <a:gd name="T22" fmla="*/ 1 w 107"/>
                <a:gd name="T23" fmla="*/ 60 h 184"/>
                <a:gd name="T24" fmla="*/ 2 w 107"/>
                <a:gd name="T25" fmla="*/ 43 h 184"/>
                <a:gd name="T26" fmla="*/ 10 w 107"/>
                <a:gd name="T27" fmla="*/ 29 h 184"/>
                <a:gd name="T28" fmla="*/ 25 w 107"/>
                <a:gd name="T29" fmla="*/ 18 h 184"/>
                <a:gd name="T30" fmla="*/ 40 w 107"/>
                <a:gd name="T31" fmla="*/ 14 h 184"/>
                <a:gd name="T32" fmla="*/ 39 w 107"/>
                <a:gd name="T33" fmla="*/ 0 h 184"/>
                <a:gd name="T34" fmla="*/ 49 w 107"/>
                <a:gd name="T35" fmla="*/ 0 h 184"/>
                <a:gd name="T36" fmla="*/ 50 w 107"/>
                <a:gd name="T37" fmla="*/ 13 h 184"/>
                <a:gd name="T38" fmla="*/ 76 w 107"/>
                <a:gd name="T39" fmla="*/ 19 h 184"/>
                <a:gd name="T40" fmla="*/ 97 w 107"/>
                <a:gd name="T41" fmla="*/ 52 h 184"/>
                <a:gd name="T42" fmla="*/ 70 w 107"/>
                <a:gd name="T43" fmla="*/ 55 h 184"/>
                <a:gd name="T44" fmla="*/ 66 w 107"/>
                <a:gd name="T45" fmla="*/ 42 h 184"/>
                <a:gd name="T46" fmla="*/ 52 w 107"/>
                <a:gd name="T47" fmla="*/ 35 h 184"/>
                <a:gd name="T48" fmla="*/ 55 w 107"/>
                <a:gd name="T49" fmla="*/ 74 h 184"/>
                <a:gd name="T50" fmla="*/ 89 w 107"/>
                <a:gd name="T51" fmla="*/ 85 h 184"/>
                <a:gd name="T52" fmla="*/ 105 w 107"/>
                <a:gd name="T53" fmla="*/ 114 h 184"/>
                <a:gd name="T54" fmla="*/ 90 w 107"/>
                <a:gd name="T55" fmla="*/ 153 h 184"/>
                <a:gd name="T56" fmla="*/ 63 w 107"/>
                <a:gd name="T57" fmla="*/ 163 h 184"/>
                <a:gd name="T58" fmla="*/ 65 w 107"/>
                <a:gd name="T59" fmla="*/ 184 h 184"/>
                <a:gd name="T60" fmla="*/ 42 w 107"/>
                <a:gd name="T61" fmla="*/ 36 h 184"/>
                <a:gd name="T62" fmla="*/ 29 w 107"/>
                <a:gd name="T63" fmla="*/ 42 h 184"/>
                <a:gd name="T64" fmla="*/ 26 w 107"/>
                <a:gd name="T65" fmla="*/ 55 h 184"/>
                <a:gd name="T66" fmla="*/ 34 w 107"/>
                <a:gd name="T67" fmla="*/ 68 h 184"/>
                <a:gd name="T68" fmla="*/ 45 w 107"/>
                <a:gd name="T69" fmla="*/ 72 h 184"/>
                <a:gd name="T70" fmla="*/ 42 w 107"/>
                <a:gd name="T71" fmla="*/ 36 h 184"/>
                <a:gd name="T72" fmla="*/ 61 w 107"/>
                <a:gd name="T73" fmla="*/ 141 h 184"/>
                <a:gd name="T74" fmla="*/ 73 w 107"/>
                <a:gd name="T75" fmla="*/ 136 h 184"/>
                <a:gd name="T76" fmla="*/ 77 w 107"/>
                <a:gd name="T77" fmla="*/ 120 h 184"/>
                <a:gd name="T78" fmla="*/ 70 w 107"/>
                <a:gd name="T79" fmla="*/ 106 h 184"/>
                <a:gd name="T80" fmla="*/ 58 w 107"/>
                <a:gd name="T81" fmla="*/ 101 h 184"/>
                <a:gd name="T82" fmla="*/ 61 w 107"/>
                <a:gd name="T83" fmla="*/ 14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7" h="184">
                  <a:moveTo>
                    <a:pt x="65" y="184"/>
                  </a:moveTo>
                  <a:cubicBezTo>
                    <a:pt x="55" y="184"/>
                    <a:pt x="55" y="184"/>
                    <a:pt x="55" y="184"/>
                  </a:cubicBezTo>
                  <a:cubicBezTo>
                    <a:pt x="54" y="164"/>
                    <a:pt x="54" y="164"/>
                    <a:pt x="54" y="164"/>
                  </a:cubicBezTo>
                  <a:cubicBezTo>
                    <a:pt x="40" y="164"/>
                    <a:pt x="30" y="162"/>
                    <a:pt x="23" y="158"/>
                  </a:cubicBezTo>
                  <a:cubicBezTo>
                    <a:pt x="11" y="152"/>
                    <a:pt x="4" y="139"/>
                    <a:pt x="3" y="120"/>
                  </a:cubicBezTo>
                  <a:cubicBezTo>
                    <a:pt x="30" y="118"/>
                    <a:pt x="30" y="118"/>
                    <a:pt x="30" y="118"/>
                  </a:cubicBezTo>
                  <a:cubicBezTo>
                    <a:pt x="32" y="126"/>
                    <a:pt x="33" y="132"/>
                    <a:pt x="35" y="135"/>
                  </a:cubicBezTo>
                  <a:cubicBezTo>
                    <a:pt x="38" y="139"/>
                    <a:pt x="44" y="141"/>
                    <a:pt x="52" y="142"/>
                  </a:cubicBezTo>
                  <a:cubicBezTo>
                    <a:pt x="48" y="99"/>
                    <a:pt x="48" y="99"/>
                    <a:pt x="48" y="99"/>
                  </a:cubicBezTo>
                  <a:cubicBezTo>
                    <a:pt x="39" y="97"/>
                    <a:pt x="39" y="97"/>
                    <a:pt x="39" y="97"/>
                  </a:cubicBezTo>
                  <a:cubicBezTo>
                    <a:pt x="26" y="95"/>
                    <a:pt x="17" y="90"/>
                    <a:pt x="11" y="84"/>
                  </a:cubicBezTo>
                  <a:cubicBezTo>
                    <a:pt x="5" y="78"/>
                    <a:pt x="2" y="70"/>
                    <a:pt x="1" y="60"/>
                  </a:cubicBezTo>
                  <a:cubicBezTo>
                    <a:pt x="0" y="54"/>
                    <a:pt x="1" y="48"/>
                    <a:pt x="2" y="43"/>
                  </a:cubicBezTo>
                  <a:cubicBezTo>
                    <a:pt x="4" y="38"/>
                    <a:pt x="6" y="33"/>
                    <a:pt x="10" y="29"/>
                  </a:cubicBezTo>
                  <a:cubicBezTo>
                    <a:pt x="14" y="24"/>
                    <a:pt x="19" y="20"/>
                    <a:pt x="25" y="18"/>
                  </a:cubicBezTo>
                  <a:cubicBezTo>
                    <a:pt x="28" y="16"/>
                    <a:pt x="33" y="15"/>
                    <a:pt x="40" y="14"/>
                  </a:cubicBezTo>
                  <a:cubicBezTo>
                    <a:pt x="39" y="0"/>
                    <a:pt x="39" y="0"/>
                    <a:pt x="39" y="0"/>
                  </a:cubicBezTo>
                  <a:cubicBezTo>
                    <a:pt x="49" y="0"/>
                    <a:pt x="49" y="0"/>
                    <a:pt x="49" y="0"/>
                  </a:cubicBezTo>
                  <a:cubicBezTo>
                    <a:pt x="50" y="13"/>
                    <a:pt x="50" y="13"/>
                    <a:pt x="50" y="13"/>
                  </a:cubicBezTo>
                  <a:cubicBezTo>
                    <a:pt x="61" y="13"/>
                    <a:pt x="70" y="15"/>
                    <a:pt x="76" y="19"/>
                  </a:cubicBezTo>
                  <a:cubicBezTo>
                    <a:pt x="88" y="25"/>
                    <a:pt x="95" y="36"/>
                    <a:pt x="97" y="52"/>
                  </a:cubicBezTo>
                  <a:cubicBezTo>
                    <a:pt x="70" y="55"/>
                    <a:pt x="70" y="55"/>
                    <a:pt x="70" y="55"/>
                  </a:cubicBezTo>
                  <a:cubicBezTo>
                    <a:pt x="69" y="49"/>
                    <a:pt x="68" y="44"/>
                    <a:pt x="66" y="42"/>
                  </a:cubicBezTo>
                  <a:cubicBezTo>
                    <a:pt x="63" y="37"/>
                    <a:pt x="59" y="35"/>
                    <a:pt x="52" y="35"/>
                  </a:cubicBezTo>
                  <a:cubicBezTo>
                    <a:pt x="55" y="74"/>
                    <a:pt x="55" y="74"/>
                    <a:pt x="55" y="74"/>
                  </a:cubicBezTo>
                  <a:cubicBezTo>
                    <a:pt x="72" y="78"/>
                    <a:pt x="83" y="82"/>
                    <a:pt x="89" y="85"/>
                  </a:cubicBezTo>
                  <a:cubicBezTo>
                    <a:pt x="98" y="92"/>
                    <a:pt x="104" y="101"/>
                    <a:pt x="105" y="114"/>
                  </a:cubicBezTo>
                  <a:cubicBezTo>
                    <a:pt x="107" y="131"/>
                    <a:pt x="101" y="144"/>
                    <a:pt x="90" y="153"/>
                  </a:cubicBezTo>
                  <a:cubicBezTo>
                    <a:pt x="83" y="158"/>
                    <a:pt x="74" y="161"/>
                    <a:pt x="63" y="163"/>
                  </a:cubicBezTo>
                  <a:lnTo>
                    <a:pt x="65" y="184"/>
                  </a:lnTo>
                  <a:close/>
                  <a:moveTo>
                    <a:pt x="42" y="36"/>
                  </a:moveTo>
                  <a:cubicBezTo>
                    <a:pt x="36" y="37"/>
                    <a:pt x="32" y="39"/>
                    <a:pt x="29" y="42"/>
                  </a:cubicBezTo>
                  <a:cubicBezTo>
                    <a:pt x="27" y="45"/>
                    <a:pt x="26" y="50"/>
                    <a:pt x="26" y="55"/>
                  </a:cubicBezTo>
                  <a:cubicBezTo>
                    <a:pt x="27" y="60"/>
                    <a:pt x="29" y="65"/>
                    <a:pt x="34" y="68"/>
                  </a:cubicBezTo>
                  <a:cubicBezTo>
                    <a:pt x="36" y="69"/>
                    <a:pt x="40" y="71"/>
                    <a:pt x="45" y="72"/>
                  </a:cubicBezTo>
                  <a:lnTo>
                    <a:pt x="42" y="36"/>
                  </a:lnTo>
                  <a:close/>
                  <a:moveTo>
                    <a:pt x="61" y="141"/>
                  </a:moveTo>
                  <a:cubicBezTo>
                    <a:pt x="67" y="140"/>
                    <a:pt x="70" y="138"/>
                    <a:pt x="73" y="136"/>
                  </a:cubicBezTo>
                  <a:cubicBezTo>
                    <a:pt x="76" y="133"/>
                    <a:pt x="78" y="127"/>
                    <a:pt x="77" y="120"/>
                  </a:cubicBezTo>
                  <a:cubicBezTo>
                    <a:pt x="77" y="114"/>
                    <a:pt x="74" y="109"/>
                    <a:pt x="70" y="106"/>
                  </a:cubicBezTo>
                  <a:cubicBezTo>
                    <a:pt x="68" y="105"/>
                    <a:pt x="64" y="103"/>
                    <a:pt x="58" y="101"/>
                  </a:cubicBezTo>
                  <a:lnTo>
                    <a:pt x="61" y="1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63" name="Familie" hidden="1"/>
          <p:cNvGrpSpPr>
            <a:grpSpLocks noChangeAspect="1"/>
          </p:cNvGrpSpPr>
          <p:nvPr userDrawn="1"/>
        </p:nvGrpSpPr>
        <p:grpSpPr bwMode="auto">
          <a:xfrm>
            <a:off x="3744119" y="1870076"/>
            <a:ext cx="1657350" cy="1368425"/>
            <a:chOff x="2484" y="566"/>
            <a:chExt cx="1044" cy="862"/>
          </a:xfrm>
        </p:grpSpPr>
        <p:sp>
          <p:nvSpPr>
            <p:cNvPr id="1065" name="Freeform 159"/>
            <p:cNvSpPr>
              <a:spLocks/>
            </p:cNvSpPr>
            <p:nvPr userDrawn="1"/>
          </p:nvSpPr>
          <p:spPr bwMode="auto">
            <a:xfrm>
              <a:off x="2879" y="894"/>
              <a:ext cx="559" cy="427"/>
            </a:xfrm>
            <a:custGeom>
              <a:avLst/>
              <a:gdLst>
                <a:gd name="T0" fmla="*/ 0 w 852"/>
                <a:gd name="T1" fmla="*/ 457 h 650"/>
                <a:gd name="T2" fmla="*/ 426 w 852"/>
                <a:gd name="T3" fmla="*/ 650 h 650"/>
                <a:gd name="T4" fmla="*/ 852 w 852"/>
                <a:gd name="T5" fmla="*/ 457 h 650"/>
                <a:gd name="T6" fmla="*/ 426 w 852"/>
                <a:gd name="T7" fmla="*/ 0 h 650"/>
                <a:gd name="T8" fmla="*/ 0 w 852"/>
                <a:gd name="T9" fmla="*/ 457 h 650"/>
              </a:gdLst>
              <a:ahLst/>
              <a:cxnLst>
                <a:cxn ang="0">
                  <a:pos x="T0" y="T1"/>
                </a:cxn>
                <a:cxn ang="0">
                  <a:pos x="T2" y="T3"/>
                </a:cxn>
                <a:cxn ang="0">
                  <a:pos x="T4" y="T5"/>
                </a:cxn>
                <a:cxn ang="0">
                  <a:pos x="T6" y="T7"/>
                </a:cxn>
                <a:cxn ang="0">
                  <a:pos x="T8" y="T9"/>
                </a:cxn>
              </a:cxnLst>
              <a:rect l="0" t="0" r="r" b="b"/>
              <a:pathLst>
                <a:path w="852" h="650">
                  <a:moveTo>
                    <a:pt x="0" y="457"/>
                  </a:moveTo>
                  <a:cubicBezTo>
                    <a:pt x="109" y="576"/>
                    <a:pt x="259" y="650"/>
                    <a:pt x="426" y="650"/>
                  </a:cubicBezTo>
                  <a:cubicBezTo>
                    <a:pt x="593" y="650"/>
                    <a:pt x="744" y="576"/>
                    <a:pt x="852" y="457"/>
                  </a:cubicBezTo>
                  <a:cubicBezTo>
                    <a:pt x="852" y="165"/>
                    <a:pt x="661" y="0"/>
                    <a:pt x="426" y="0"/>
                  </a:cubicBezTo>
                  <a:cubicBezTo>
                    <a:pt x="192"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6" name="Oval 160"/>
            <p:cNvSpPr>
              <a:spLocks noChangeArrowheads="1"/>
            </p:cNvSpPr>
            <p:nvPr userDrawn="1"/>
          </p:nvSpPr>
          <p:spPr bwMode="auto">
            <a:xfrm>
              <a:off x="3011" y="566"/>
              <a:ext cx="295" cy="302"/>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67" name="Freeform 161"/>
            <p:cNvSpPr>
              <a:spLocks/>
            </p:cNvSpPr>
            <p:nvPr userDrawn="1"/>
          </p:nvSpPr>
          <p:spPr bwMode="auto">
            <a:xfrm>
              <a:off x="2484" y="894"/>
              <a:ext cx="558" cy="42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8" name="Oval 162"/>
            <p:cNvSpPr>
              <a:spLocks noChangeArrowheads="1"/>
            </p:cNvSpPr>
            <p:nvPr userDrawn="1"/>
          </p:nvSpPr>
          <p:spPr bwMode="auto">
            <a:xfrm>
              <a:off x="2615" y="566"/>
              <a:ext cx="296" cy="302"/>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69" name="Freeform 163"/>
            <p:cNvSpPr>
              <a:spLocks/>
            </p:cNvSpPr>
            <p:nvPr userDrawn="1"/>
          </p:nvSpPr>
          <p:spPr bwMode="auto">
            <a:xfrm>
              <a:off x="2709" y="1240"/>
              <a:ext cx="246" cy="188"/>
            </a:xfrm>
            <a:custGeom>
              <a:avLst/>
              <a:gdLst>
                <a:gd name="T0" fmla="*/ 0 w 374"/>
                <a:gd name="T1" fmla="*/ 201 h 285"/>
                <a:gd name="T2" fmla="*/ 187 w 374"/>
                <a:gd name="T3" fmla="*/ 285 h 285"/>
                <a:gd name="T4" fmla="*/ 374 w 374"/>
                <a:gd name="T5" fmla="*/ 201 h 285"/>
                <a:gd name="T6" fmla="*/ 187 w 374"/>
                <a:gd name="T7" fmla="*/ 0 h 285"/>
                <a:gd name="T8" fmla="*/ 0 w 374"/>
                <a:gd name="T9" fmla="*/ 201 h 285"/>
              </a:gdLst>
              <a:ahLst/>
              <a:cxnLst>
                <a:cxn ang="0">
                  <a:pos x="T0" y="T1"/>
                </a:cxn>
                <a:cxn ang="0">
                  <a:pos x="T2" y="T3"/>
                </a:cxn>
                <a:cxn ang="0">
                  <a:pos x="T4" y="T5"/>
                </a:cxn>
                <a:cxn ang="0">
                  <a:pos x="T6" y="T7"/>
                </a:cxn>
                <a:cxn ang="0">
                  <a:pos x="T8" y="T9"/>
                </a:cxn>
              </a:cxnLst>
              <a:rect l="0" t="0" r="r" b="b"/>
              <a:pathLst>
                <a:path w="374" h="285">
                  <a:moveTo>
                    <a:pt x="0" y="201"/>
                  </a:moveTo>
                  <a:cubicBezTo>
                    <a:pt x="47" y="253"/>
                    <a:pt x="114" y="285"/>
                    <a:pt x="187" y="285"/>
                  </a:cubicBezTo>
                  <a:cubicBezTo>
                    <a:pt x="260" y="285"/>
                    <a:pt x="326" y="253"/>
                    <a:pt x="374" y="201"/>
                  </a:cubicBezTo>
                  <a:cubicBezTo>
                    <a:pt x="374" y="73"/>
                    <a:pt x="290" y="0"/>
                    <a:pt x="187" y="0"/>
                  </a:cubicBezTo>
                  <a:cubicBezTo>
                    <a:pt x="84" y="0"/>
                    <a:pt x="0" y="73"/>
                    <a:pt x="0" y="201"/>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0" name="Oval 164"/>
            <p:cNvSpPr>
              <a:spLocks noChangeArrowheads="1"/>
            </p:cNvSpPr>
            <p:nvPr userDrawn="1"/>
          </p:nvSpPr>
          <p:spPr bwMode="auto">
            <a:xfrm>
              <a:off x="2752" y="1068"/>
              <a:ext cx="160" cy="164"/>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1" name="Freeform 165"/>
            <p:cNvSpPr>
              <a:spLocks/>
            </p:cNvSpPr>
            <p:nvPr userDrawn="1"/>
          </p:nvSpPr>
          <p:spPr bwMode="auto">
            <a:xfrm>
              <a:off x="3113" y="1145"/>
              <a:ext cx="371" cy="283"/>
            </a:xfrm>
            <a:custGeom>
              <a:avLst/>
              <a:gdLst>
                <a:gd name="T0" fmla="*/ 0 w 564"/>
                <a:gd name="T1" fmla="*/ 303 h 430"/>
                <a:gd name="T2" fmla="*/ 282 w 564"/>
                <a:gd name="T3" fmla="*/ 430 h 430"/>
                <a:gd name="T4" fmla="*/ 564 w 564"/>
                <a:gd name="T5" fmla="*/ 303 h 430"/>
                <a:gd name="T6" fmla="*/ 282 w 564"/>
                <a:gd name="T7" fmla="*/ 0 h 430"/>
                <a:gd name="T8" fmla="*/ 0 w 564"/>
                <a:gd name="T9" fmla="*/ 303 h 430"/>
              </a:gdLst>
              <a:ahLst/>
              <a:cxnLst>
                <a:cxn ang="0">
                  <a:pos x="T0" y="T1"/>
                </a:cxn>
                <a:cxn ang="0">
                  <a:pos x="T2" y="T3"/>
                </a:cxn>
                <a:cxn ang="0">
                  <a:pos x="T4" y="T5"/>
                </a:cxn>
                <a:cxn ang="0">
                  <a:pos x="T6" y="T7"/>
                </a:cxn>
                <a:cxn ang="0">
                  <a:pos x="T8" y="T9"/>
                </a:cxn>
              </a:cxnLst>
              <a:rect l="0" t="0" r="r" b="b"/>
              <a:pathLst>
                <a:path w="564" h="430">
                  <a:moveTo>
                    <a:pt x="0" y="303"/>
                  </a:moveTo>
                  <a:cubicBezTo>
                    <a:pt x="72" y="381"/>
                    <a:pt x="171" y="430"/>
                    <a:pt x="282" y="430"/>
                  </a:cubicBezTo>
                  <a:cubicBezTo>
                    <a:pt x="392" y="430"/>
                    <a:pt x="492" y="381"/>
                    <a:pt x="564" y="303"/>
                  </a:cubicBezTo>
                  <a:cubicBezTo>
                    <a:pt x="564" y="109"/>
                    <a:pt x="437" y="0"/>
                    <a:pt x="282" y="0"/>
                  </a:cubicBezTo>
                  <a:cubicBezTo>
                    <a:pt x="127" y="0"/>
                    <a:pt x="0" y="109"/>
                    <a:pt x="0" y="303"/>
                  </a:cubicBezTo>
                  <a:close/>
                </a:path>
              </a:pathLst>
            </a:cu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2" name="Oval 166"/>
            <p:cNvSpPr>
              <a:spLocks noChangeArrowheads="1"/>
            </p:cNvSpPr>
            <p:nvPr userDrawn="1"/>
          </p:nvSpPr>
          <p:spPr bwMode="auto">
            <a:xfrm>
              <a:off x="3178" y="885"/>
              <a:ext cx="241" cy="247"/>
            </a:xfrm>
            <a:prstGeom prst="ellipse">
              <a:avLst/>
            </a:prstGeom>
            <a:solidFill>
              <a:srgbClr val="FFFFFF"/>
            </a:solidFill>
            <a:ln w="23813"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3" name="Line 167"/>
            <p:cNvSpPr>
              <a:spLocks noChangeShapeType="1"/>
            </p:cNvSpPr>
            <p:nvPr userDrawn="1"/>
          </p:nvSpPr>
          <p:spPr bwMode="auto">
            <a:xfrm>
              <a:off x="2832" y="1030"/>
              <a:ext cx="0" cy="50"/>
            </a:xfrm>
            <a:prstGeom prst="line">
              <a:avLst/>
            </a:prstGeom>
            <a:noFill/>
            <a:ln w="23813"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4" name="Line 168"/>
            <p:cNvSpPr>
              <a:spLocks noChangeShapeType="1"/>
            </p:cNvSpPr>
            <p:nvPr userDrawn="1"/>
          </p:nvSpPr>
          <p:spPr bwMode="auto">
            <a:xfrm>
              <a:off x="3407" y="100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75" name="Line 169"/>
            <p:cNvSpPr>
              <a:spLocks noChangeShapeType="1"/>
            </p:cNvSpPr>
            <p:nvPr userDrawn="1"/>
          </p:nvSpPr>
          <p:spPr bwMode="auto">
            <a:xfrm>
              <a:off x="3407" y="1007"/>
              <a:ext cx="0" cy="0"/>
            </a:xfrm>
            <a:prstGeom prst="line">
              <a:avLst/>
            </a:prstGeom>
            <a:noFill/>
            <a:ln w="23813" cap="rnd">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6" name="Freeform 170"/>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7" name="Freeform 171"/>
            <p:cNvSpPr>
              <a:spLocks/>
            </p:cNvSpPr>
            <p:nvPr userDrawn="1"/>
          </p:nvSpPr>
          <p:spPr bwMode="auto">
            <a:xfrm>
              <a:off x="3400" y="939"/>
              <a:ext cx="128" cy="67"/>
            </a:xfrm>
            <a:custGeom>
              <a:avLst/>
              <a:gdLst>
                <a:gd name="T0" fmla="*/ 30 w 195"/>
                <a:gd name="T1" fmla="*/ 102 h 102"/>
                <a:gd name="T2" fmla="*/ 192 w 195"/>
                <a:gd name="T3" fmla="*/ 48 h 102"/>
                <a:gd name="T4" fmla="*/ 0 w 195"/>
                <a:gd name="T5" fmla="*/ 12 h 102"/>
              </a:gdLst>
              <a:ahLst/>
              <a:cxnLst>
                <a:cxn ang="0">
                  <a:pos x="T0" y="T1"/>
                </a:cxn>
                <a:cxn ang="0">
                  <a:pos x="T2" y="T3"/>
                </a:cxn>
                <a:cxn ang="0">
                  <a:pos x="T4" y="T5"/>
                </a:cxn>
              </a:cxnLst>
              <a:rect l="0" t="0" r="r" b="b"/>
              <a:pathLst>
                <a:path w="195" h="102">
                  <a:moveTo>
                    <a:pt x="30" y="102"/>
                  </a:moveTo>
                  <a:cubicBezTo>
                    <a:pt x="133" y="90"/>
                    <a:pt x="195" y="73"/>
                    <a:pt x="192" y="48"/>
                  </a:cubicBezTo>
                  <a:cubicBezTo>
                    <a:pt x="189" y="23"/>
                    <a:pt x="103" y="0"/>
                    <a:pt x="0" y="12"/>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078" name="Freeform 172"/>
            <p:cNvSpPr>
              <a:spLocks/>
            </p:cNvSpPr>
            <p:nvPr userDrawn="1"/>
          </p:nvSpPr>
          <p:spPr bwMode="auto">
            <a:xfrm>
              <a:off x="2797" y="1025"/>
              <a:ext cx="70" cy="35"/>
            </a:xfrm>
            <a:custGeom>
              <a:avLst/>
              <a:gdLst>
                <a:gd name="T0" fmla="*/ 53 w 106"/>
                <a:gd name="T1" fmla="*/ 21 h 54"/>
                <a:gd name="T2" fmla="*/ 102 w 106"/>
                <a:gd name="T3" fmla="*/ 0 h 54"/>
                <a:gd name="T4" fmla="*/ 106 w 106"/>
                <a:gd name="T5" fmla="*/ 1 h 54"/>
                <a:gd name="T6" fmla="*/ 106 w 106"/>
                <a:gd name="T7" fmla="*/ 52 h 54"/>
                <a:gd name="T8" fmla="*/ 102 w 106"/>
                <a:gd name="T9" fmla="*/ 53 h 54"/>
                <a:gd name="T10" fmla="*/ 53 w 106"/>
                <a:gd name="T11" fmla="*/ 32 h 54"/>
                <a:gd name="T12" fmla="*/ 4 w 106"/>
                <a:gd name="T13" fmla="*/ 53 h 54"/>
                <a:gd name="T14" fmla="*/ 0 w 106"/>
                <a:gd name="T15" fmla="*/ 52 h 54"/>
                <a:gd name="T16" fmla="*/ 0 w 106"/>
                <a:gd name="T17" fmla="*/ 1 h 54"/>
                <a:gd name="T18" fmla="*/ 4 w 106"/>
                <a:gd name="T19" fmla="*/ 0 h 54"/>
                <a:gd name="T20" fmla="*/ 53 w 106"/>
                <a:gd name="T21"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54">
                  <a:moveTo>
                    <a:pt x="53" y="21"/>
                  </a:moveTo>
                  <a:cubicBezTo>
                    <a:pt x="102" y="0"/>
                    <a:pt x="102" y="0"/>
                    <a:pt x="102" y="0"/>
                  </a:cubicBezTo>
                  <a:cubicBezTo>
                    <a:pt x="104" y="0"/>
                    <a:pt x="105" y="0"/>
                    <a:pt x="106" y="1"/>
                  </a:cubicBezTo>
                  <a:cubicBezTo>
                    <a:pt x="106" y="52"/>
                    <a:pt x="106" y="52"/>
                    <a:pt x="106" y="52"/>
                  </a:cubicBezTo>
                  <a:cubicBezTo>
                    <a:pt x="105" y="53"/>
                    <a:pt x="104" y="54"/>
                    <a:pt x="102" y="53"/>
                  </a:cubicBezTo>
                  <a:cubicBezTo>
                    <a:pt x="53" y="32"/>
                    <a:pt x="53" y="32"/>
                    <a:pt x="53" y="32"/>
                  </a:cubicBezTo>
                  <a:cubicBezTo>
                    <a:pt x="4" y="53"/>
                    <a:pt x="4" y="53"/>
                    <a:pt x="4" y="53"/>
                  </a:cubicBezTo>
                  <a:cubicBezTo>
                    <a:pt x="2" y="54"/>
                    <a:pt x="1" y="53"/>
                    <a:pt x="0" y="52"/>
                  </a:cubicBezTo>
                  <a:cubicBezTo>
                    <a:pt x="0" y="1"/>
                    <a:pt x="0" y="1"/>
                    <a:pt x="0" y="1"/>
                  </a:cubicBezTo>
                  <a:cubicBezTo>
                    <a:pt x="1" y="0"/>
                    <a:pt x="2" y="0"/>
                    <a:pt x="4" y="0"/>
                  </a:cubicBezTo>
                  <a:lnTo>
                    <a:pt x="53" y="21"/>
                  </a:lnTo>
                  <a:close/>
                </a:path>
              </a:pathLst>
            </a:custGeom>
            <a:solidFill>
              <a:srgbClr val="FFFFFF"/>
            </a:solidFill>
            <a:ln w="15875"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79" name="Freeform 173"/>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solidFill>
              <a:srgbClr val="FFFFFF"/>
            </a:solidFill>
            <a:ln w="23813" cap="rnd">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0" name="Freeform 174"/>
            <p:cNvSpPr>
              <a:spLocks/>
            </p:cNvSpPr>
            <p:nvPr userDrawn="1"/>
          </p:nvSpPr>
          <p:spPr bwMode="auto">
            <a:xfrm>
              <a:off x="3178" y="883"/>
              <a:ext cx="241" cy="123"/>
            </a:xfrm>
            <a:custGeom>
              <a:avLst/>
              <a:gdLst>
                <a:gd name="T0" fmla="*/ 368 w 368"/>
                <a:gd name="T1" fmla="*/ 188 h 188"/>
                <a:gd name="T2" fmla="*/ 184 w 368"/>
                <a:gd name="T3" fmla="*/ 0 h 188"/>
                <a:gd name="T4" fmla="*/ 0 w 368"/>
                <a:gd name="T5" fmla="*/ 188 h 188"/>
                <a:gd name="T6" fmla="*/ 368 w 368"/>
                <a:gd name="T7" fmla="*/ 188 h 188"/>
              </a:gdLst>
              <a:ahLst/>
              <a:cxnLst>
                <a:cxn ang="0">
                  <a:pos x="T0" y="T1"/>
                </a:cxn>
                <a:cxn ang="0">
                  <a:pos x="T2" y="T3"/>
                </a:cxn>
                <a:cxn ang="0">
                  <a:pos x="T4" y="T5"/>
                </a:cxn>
                <a:cxn ang="0">
                  <a:pos x="T6" y="T7"/>
                </a:cxn>
              </a:cxnLst>
              <a:rect l="0" t="0" r="r" b="b"/>
              <a:pathLst>
                <a:path w="368" h="188">
                  <a:moveTo>
                    <a:pt x="368" y="188"/>
                  </a:moveTo>
                  <a:cubicBezTo>
                    <a:pt x="368" y="84"/>
                    <a:pt x="286" y="0"/>
                    <a:pt x="184" y="0"/>
                  </a:cubicBezTo>
                  <a:cubicBezTo>
                    <a:pt x="82" y="0"/>
                    <a:pt x="0" y="84"/>
                    <a:pt x="0" y="188"/>
                  </a:cubicBezTo>
                  <a:cubicBezTo>
                    <a:pt x="368" y="188"/>
                    <a:pt x="368" y="188"/>
                    <a:pt x="368" y="188"/>
                  </a:cubicBezTo>
                </a:path>
              </a:pathLst>
            </a:custGeom>
            <a:noFill/>
            <a:ln w="23813" cap="rnd">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82" name="Ektepar" hidden="1"/>
          <p:cNvGrpSpPr>
            <a:grpSpLocks noChangeAspect="1"/>
          </p:cNvGrpSpPr>
          <p:nvPr userDrawn="1"/>
        </p:nvGrpSpPr>
        <p:grpSpPr bwMode="auto">
          <a:xfrm>
            <a:off x="3798094" y="1906587"/>
            <a:ext cx="1549400" cy="1295400"/>
            <a:chOff x="1152" y="582"/>
            <a:chExt cx="976" cy="816"/>
          </a:xfrm>
        </p:grpSpPr>
        <p:sp>
          <p:nvSpPr>
            <p:cNvPr id="1084" name="Freeform 178"/>
            <p:cNvSpPr>
              <a:spLocks/>
            </p:cNvSpPr>
            <p:nvPr userDrawn="1"/>
          </p:nvSpPr>
          <p:spPr bwMode="auto">
            <a:xfrm>
              <a:off x="1557" y="961"/>
              <a:ext cx="571" cy="437"/>
            </a:xfrm>
            <a:custGeom>
              <a:avLst/>
              <a:gdLst>
                <a:gd name="T0" fmla="*/ 0 w 851"/>
                <a:gd name="T1" fmla="*/ 457 h 650"/>
                <a:gd name="T2" fmla="*/ 425 w 851"/>
                <a:gd name="T3" fmla="*/ 650 h 650"/>
                <a:gd name="T4" fmla="*/ 851 w 851"/>
                <a:gd name="T5" fmla="*/ 457 h 650"/>
                <a:gd name="T6" fmla="*/ 425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5" y="650"/>
                  </a:cubicBezTo>
                  <a:cubicBezTo>
                    <a:pt x="592" y="650"/>
                    <a:pt x="743" y="576"/>
                    <a:pt x="851" y="457"/>
                  </a:cubicBezTo>
                  <a:cubicBezTo>
                    <a:pt x="851" y="165"/>
                    <a:pt x="660" y="0"/>
                    <a:pt x="425" y="0"/>
                  </a:cubicBezTo>
                  <a:cubicBezTo>
                    <a:pt x="191" y="0"/>
                    <a:pt x="0" y="165"/>
                    <a:pt x="0" y="457"/>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5" name="Oval 179"/>
            <p:cNvSpPr>
              <a:spLocks noChangeArrowheads="1"/>
            </p:cNvSpPr>
            <p:nvPr userDrawn="1"/>
          </p:nvSpPr>
          <p:spPr bwMode="auto">
            <a:xfrm>
              <a:off x="1691" y="625"/>
              <a:ext cx="302" cy="31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6" name="Freeform 180"/>
            <p:cNvSpPr>
              <a:spLocks/>
            </p:cNvSpPr>
            <p:nvPr userDrawn="1"/>
          </p:nvSpPr>
          <p:spPr bwMode="auto">
            <a:xfrm>
              <a:off x="1733" y="1016"/>
              <a:ext cx="219" cy="72"/>
            </a:xfrm>
            <a:custGeom>
              <a:avLst/>
              <a:gdLst>
                <a:gd name="T0" fmla="*/ 163 w 327"/>
                <a:gd name="T1" fmla="*/ 42 h 107"/>
                <a:gd name="T2" fmla="*/ 262 w 327"/>
                <a:gd name="T3" fmla="*/ 0 h 107"/>
                <a:gd name="T4" fmla="*/ 269 w 327"/>
                <a:gd name="T5" fmla="*/ 2 h 107"/>
                <a:gd name="T6" fmla="*/ 323 w 327"/>
                <a:gd name="T7" fmla="*/ 46 h 107"/>
                <a:gd name="T8" fmla="*/ 323 w 327"/>
                <a:gd name="T9" fmla="*/ 60 h 107"/>
                <a:gd name="T10" fmla="*/ 269 w 327"/>
                <a:gd name="T11" fmla="*/ 105 h 107"/>
                <a:gd name="T12" fmla="*/ 262 w 327"/>
                <a:gd name="T13" fmla="*/ 107 h 107"/>
                <a:gd name="T14" fmla="*/ 163 w 327"/>
                <a:gd name="T15" fmla="*/ 65 h 107"/>
                <a:gd name="T16" fmla="*/ 64 w 327"/>
                <a:gd name="T17" fmla="*/ 107 h 107"/>
                <a:gd name="T18" fmla="*/ 58 w 327"/>
                <a:gd name="T19" fmla="*/ 105 h 107"/>
                <a:gd name="T20" fmla="*/ 4 w 327"/>
                <a:gd name="T21" fmla="*/ 60 h 107"/>
                <a:gd name="T22" fmla="*/ 4 w 327"/>
                <a:gd name="T23" fmla="*/ 46 h 107"/>
                <a:gd name="T24" fmla="*/ 58 w 327"/>
                <a:gd name="T25" fmla="*/ 2 h 107"/>
                <a:gd name="T26" fmla="*/ 64 w 327"/>
                <a:gd name="T27" fmla="*/ 0 h 107"/>
                <a:gd name="T28" fmla="*/ 163 w 327"/>
                <a:gd name="T29" fmla="*/ 4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7" h="107">
                  <a:moveTo>
                    <a:pt x="163" y="42"/>
                  </a:moveTo>
                  <a:cubicBezTo>
                    <a:pt x="262" y="0"/>
                    <a:pt x="262" y="0"/>
                    <a:pt x="262" y="0"/>
                  </a:cubicBezTo>
                  <a:cubicBezTo>
                    <a:pt x="265" y="0"/>
                    <a:pt x="267" y="0"/>
                    <a:pt x="269" y="2"/>
                  </a:cubicBezTo>
                  <a:cubicBezTo>
                    <a:pt x="323" y="46"/>
                    <a:pt x="323" y="46"/>
                    <a:pt x="323" y="46"/>
                  </a:cubicBezTo>
                  <a:cubicBezTo>
                    <a:pt x="327" y="50"/>
                    <a:pt x="327" y="56"/>
                    <a:pt x="323" y="60"/>
                  </a:cubicBezTo>
                  <a:cubicBezTo>
                    <a:pt x="269" y="105"/>
                    <a:pt x="269" y="105"/>
                    <a:pt x="269" y="105"/>
                  </a:cubicBezTo>
                  <a:cubicBezTo>
                    <a:pt x="267" y="106"/>
                    <a:pt x="265" y="107"/>
                    <a:pt x="262" y="107"/>
                  </a:cubicBezTo>
                  <a:cubicBezTo>
                    <a:pt x="163" y="65"/>
                    <a:pt x="163" y="65"/>
                    <a:pt x="163" y="65"/>
                  </a:cubicBezTo>
                  <a:cubicBezTo>
                    <a:pt x="64" y="107"/>
                    <a:pt x="64" y="107"/>
                    <a:pt x="64" y="107"/>
                  </a:cubicBezTo>
                  <a:cubicBezTo>
                    <a:pt x="62" y="107"/>
                    <a:pt x="60" y="106"/>
                    <a:pt x="58" y="105"/>
                  </a:cubicBezTo>
                  <a:cubicBezTo>
                    <a:pt x="4" y="60"/>
                    <a:pt x="4" y="60"/>
                    <a:pt x="4" y="60"/>
                  </a:cubicBezTo>
                  <a:cubicBezTo>
                    <a:pt x="0" y="56"/>
                    <a:pt x="0" y="50"/>
                    <a:pt x="4" y="46"/>
                  </a:cubicBezTo>
                  <a:cubicBezTo>
                    <a:pt x="58" y="2"/>
                    <a:pt x="58" y="2"/>
                    <a:pt x="58" y="2"/>
                  </a:cubicBezTo>
                  <a:cubicBezTo>
                    <a:pt x="60" y="0"/>
                    <a:pt x="62" y="0"/>
                    <a:pt x="64" y="0"/>
                  </a:cubicBezTo>
                  <a:lnTo>
                    <a:pt x="163"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87" name="Freeform 181"/>
            <p:cNvSpPr>
              <a:spLocks/>
            </p:cNvSpPr>
            <p:nvPr userDrawn="1"/>
          </p:nvSpPr>
          <p:spPr bwMode="auto">
            <a:xfrm>
              <a:off x="1152" y="961"/>
              <a:ext cx="571" cy="437"/>
            </a:xfrm>
            <a:custGeom>
              <a:avLst/>
              <a:gdLst>
                <a:gd name="T0" fmla="*/ 0 w 851"/>
                <a:gd name="T1" fmla="*/ 457 h 650"/>
                <a:gd name="T2" fmla="*/ 426 w 851"/>
                <a:gd name="T3" fmla="*/ 650 h 650"/>
                <a:gd name="T4" fmla="*/ 851 w 851"/>
                <a:gd name="T5" fmla="*/ 457 h 650"/>
                <a:gd name="T6" fmla="*/ 426 w 851"/>
                <a:gd name="T7" fmla="*/ 0 h 650"/>
                <a:gd name="T8" fmla="*/ 0 w 851"/>
                <a:gd name="T9" fmla="*/ 457 h 650"/>
              </a:gdLst>
              <a:ahLst/>
              <a:cxnLst>
                <a:cxn ang="0">
                  <a:pos x="T0" y="T1"/>
                </a:cxn>
                <a:cxn ang="0">
                  <a:pos x="T2" y="T3"/>
                </a:cxn>
                <a:cxn ang="0">
                  <a:pos x="T4" y="T5"/>
                </a:cxn>
                <a:cxn ang="0">
                  <a:pos x="T6" y="T7"/>
                </a:cxn>
                <a:cxn ang="0">
                  <a:pos x="T8" y="T9"/>
                </a:cxn>
              </a:cxnLst>
              <a:rect l="0" t="0" r="r" b="b"/>
              <a:pathLst>
                <a:path w="851" h="650">
                  <a:moveTo>
                    <a:pt x="0" y="457"/>
                  </a:moveTo>
                  <a:cubicBezTo>
                    <a:pt x="108" y="576"/>
                    <a:pt x="259" y="650"/>
                    <a:pt x="426" y="650"/>
                  </a:cubicBezTo>
                  <a:cubicBezTo>
                    <a:pt x="593" y="650"/>
                    <a:pt x="743" y="576"/>
                    <a:pt x="851" y="457"/>
                  </a:cubicBezTo>
                  <a:cubicBezTo>
                    <a:pt x="851" y="165"/>
                    <a:pt x="660" y="0"/>
                    <a:pt x="426" y="0"/>
                  </a:cubicBezTo>
                  <a:cubicBezTo>
                    <a:pt x="191" y="0"/>
                    <a:pt x="0" y="165"/>
                    <a:pt x="0" y="457"/>
                  </a:cubicBezTo>
                  <a:close/>
                </a:path>
              </a:pathLst>
            </a:cu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8" name="Oval 182"/>
            <p:cNvSpPr>
              <a:spLocks noChangeArrowheads="1"/>
            </p:cNvSpPr>
            <p:nvPr userDrawn="1"/>
          </p:nvSpPr>
          <p:spPr bwMode="auto">
            <a:xfrm>
              <a:off x="1287" y="625"/>
              <a:ext cx="302" cy="310"/>
            </a:xfrm>
            <a:prstGeom prst="ellipse">
              <a:avLst/>
            </a:prstGeom>
            <a:solidFill>
              <a:srgbClr val="FFFFFF"/>
            </a:solidFill>
            <a:ln w="25400" cap="flat">
              <a:solidFill>
                <a:srgbClr val="010101"/>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089" name="Freeform 183"/>
            <p:cNvSpPr>
              <a:spLocks/>
            </p:cNvSpPr>
            <p:nvPr userDrawn="1"/>
          </p:nvSpPr>
          <p:spPr bwMode="auto">
            <a:xfrm>
              <a:off x="1244" y="582"/>
              <a:ext cx="388" cy="413"/>
            </a:xfrm>
            <a:custGeom>
              <a:avLst/>
              <a:gdLst>
                <a:gd name="T0" fmla="*/ 0 w 578"/>
                <a:gd name="T1" fmla="*/ 614 h 614"/>
                <a:gd name="T2" fmla="*/ 0 w 578"/>
                <a:gd name="T3" fmla="*/ 255 h 614"/>
                <a:gd name="T4" fmla="*/ 289 w 578"/>
                <a:gd name="T5" fmla="*/ 0 h 614"/>
                <a:gd name="T6" fmla="*/ 578 w 578"/>
                <a:gd name="T7" fmla="*/ 255 h 614"/>
                <a:gd name="T8" fmla="*/ 578 w 578"/>
                <a:gd name="T9" fmla="*/ 607 h 614"/>
              </a:gdLst>
              <a:ahLst/>
              <a:cxnLst>
                <a:cxn ang="0">
                  <a:pos x="T0" y="T1"/>
                </a:cxn>
                <a:cxn ang="0">
                  <a:pos x="T2" y="T3"/>
                </a:cxn>
                <a:cxn ang="0">
                  <a:pos x="T4" y="T5"/>
                </a:cxn>
                <a:cxn ang="0">
                  <a:pos x="T6" y="T7"/>
                </a:cxn>
                <a:cxn ang="0">
                  <a:pos x="T8" y="T9"/>
                </a:cxn>
              </a:cxnLst>
              <a:rect l="0" t="0" r="r" b="b"/>
              <a:pathLst>
                <a:path w="578" h="614">
                  <a:moveTo>
                    <a:pt x="0" y="614"/>
                  </a:moveTo>
                  <a:cubicBezTo>
                    <a:pt x="0" y="255"/>
                    <a:pt x="0" y="255"/>
                    <a:pt x="0" y="255"/>
                  </a:cubicBezTo>
                  <a:cubicBezTo>
                    <a:pt x="0" y="114"/>
                    <a:pt x="151" y="0"/>
                    <a:pt x="289" y="0"/>
                  </a:cubicBezTo>
                  <a:cubicBezTo>
                    <a:pt x="426" y="0"/>
                    <a:pt x="578" y="114"/>
                    <a:pt x="578" y="255"/>
                  </a:cubicBezTo>
                  <a:cubicBezTo>
                    <a:pt x="578" y="607"/>
                    <a:pt x="578" y="607"/>
                    <a:pt x="578" y="607"/>
                  </a:cubicBezTo>
                </a:path>
              </a:pathLst>
            </a:custGeom>
            <a:noFill/>
            <a:ln w="25400" cap="flat">
              <a:solidFill>
                <a:srgbClr val="0101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091" name="Byggekloss" hidden="1"/>
          <p:cNvGrpSpPr>
            <a:grpSpLocks noChangeAspect="1"/>
          </p:cNvGrpSpPr>
          <p:nvPr userDrawn="1"/>
        </p:nvGrpSpPr>
        <p:grpSpPr bwMode="auto">
          <a:xfrm>
            <a:off x="3734594" y="2005807"/>
            <a:ext cx="1676400" cy="1096962"/>
            <a:chOff x="2705" y="1748"/>
            <a:chExt cx="1056" cy="691"/>
          </a:xfrm>
        </p:grpSpPr>
        <p:sp>
          <p:nvSpPr>
            <p:cNvPr id="1093" name="Rectangle 187"/>
            <p:cNvSpPr>
              <a:spLocks noChangeArrowheads="1"/>
            </p:cNvSpPr>
            <p:nvPr userDrawn="1"/>
          </p:nvSpPr>
          <p:spPr bwMode="auto">
            <a:xfrm>
              <a:off x="2705"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4" name="Rectangle 188"/>
            <p:cNvSpPr>
              <a:spLocks noChangeArrowheads="1"/>
            </p:cNvSpPr>
            <p:nvPr userDrawn="1"/>
          </p:nvSpPr>
          <p:spPr bwMode="auto">
            <a:xfrm>
              <a:off x="3248" y="2189"/>
              <a:ext cx="513" cy="25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5" name="Rectangle 189"/>
            <p:cNvSpPr>
              <a:spLocks noChangeArrowheads="1"/>
            </p:cNvSpPr>
            <p:nvPr userDrawn="1"/>
          </p:nvSpPr>
          <p:spPr bwMode="auto">
            <a:xfrm>
              <a:off x="3311"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6" name="Rectangle 190"/>
            <p:cNvSpPr>
              <a:spLocks noChangeArrowheads="1"/>
            </p:cNvSpPr>
            <p:nvPr userDrawn="1"/>
          </p:nvSpPr>
          <p:spPr bwMode="auto">
            <a:xfrm>
              <a:off x="3466"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7" name="Rectangle 191"/>
            <p:cNvSpPr>
              <a:spLocks noChangeArrowheads="1"/>
            </p:cNvSpPr>
            <p:nvPr userDrawn="1"/>
          </p:nvSpPr>
          <p:spPr bwMode="auto">
            <a:xfrm>
              <a:off x="3621"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8" name="Freeform 192"/>
            <p:cNvSpPr>
              <a:spLocks/>
            </p:cNvSpPr>
            <p:nvPr userDrawn="1"/>
          </p:nvSpPr>
          <p:spPr bwMode="auto">
            <a:xfrm>
              <a:off x="2964" y="1768"/>
              <a:ext cx="542" cy="318"/>
            </a:xfrm>
            <a:custGeom>
              <a:avLst/>
              <a:gdLst>
                <a:gd name="T0" fmla="*/ 542 w 542"/>
                <a:gd name="T1" fmla="*/ 248 h 318"/>
                <a:gd name="T2" fmla="*/ 34 w 542"/>
                <a:gd name="T3" fmla="*/ 318 h 318"/>
                <a:gd name="T4" fmla="*/ 0 w 542"/>
                <a:gd name="T5" fmla="*/ 70 h 318"/>
                <a:gd name="T6" fmla="*/ 508 w 542"/>
                <a:gd name="T7" fmla="*/ 0 h 318"/>
                <a:gd name="T8" fmla="*/ 542 w 542"/>
                <a:gd name="T9" fmla="*/ 248 h 318"/>
              </a:gdLst>
              <a:ahLst/>
              <a:cxnLst>
                <a:cxn ang="0">
                  <a:pos x="T0" y="T1"/>
                </a:cxn>
                <a:cxn ang="0">
                  <a:pos x="T2" y="T3"/>
                </a:cxn>
                <a:cxn ang="0">
                  <a:pos x="T4" y="T5"/>
                </a:cxn>
                <a:cxn ang="0">
                  <a:pos x="T6" y="T7"/>
                </a:cxn>
                <a:cxn ang="0">
                  <a:pos x="T8" y="T9"/>
                </a:cxn>
              </a:cxnLst>
              <a:rect l="0" t="0" r="r" b="b"/>
              <a:pathLst>
                <a:path w="542" h="318">
                  <a:moveTo>
                    <a:pt x="542" y="248"/>
                  </a:moveTo>
                  <a:lnTo>
                    <a:pt x="34" y="318"/>
                  </a:lnTo>
                  <a:lnTo>
                    <a:pt x="0" y="70"/>
                  </a:lnTo>
                  <a:lnTo>
                    <a:pt x="508" y="0"/>
                  </a:lnTo>
                  <a:lnTo>
                    <a:pt x="542" y="2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099" name="Freeform 193"/>
            <p:cNvSpPr>
              <a:spLocks/>
            </p:cNvSpPr>
            <p:nvPr userDrawn="1"/>
          </p:nvSpPr>
          <p:spPr bwMode="auto">
            <a:xfrm>
              <a:off x="3023" y="1790"/>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0" name="Freeform 194"/>
            <p:cNvSpPr>
              <a:spLocks/>
            </p:cNvSpPr>
            <p:nvPr userDrawn="1"/>
          </p:nvSpPr>
          <p:spPr bwMode="auto">
            <a:xfrm>
              <a:off x="3176" y="1769"/>
              <a:ext cx="84" cy="69"/>
            </a:xfrm>
            <a:custGeom>
              <a:avLst/>
              <a:gdLst>
                <a:gd name="T0" fmla="*/ 84 w 84"/>
                <a:gd name="T1" fmla="*/ 58 h 69"/>
                <a:gd name="T2" fmla="*/ 8 w 84"/>
                <a:gd name="T3" fmla="*/ 69 h 69"/>
                <a:gd name="T4" fmla="*/ 0 w 84"/>
                <a:gd name="T5" fmla="*/ 10 h 69"/>
                <a:gd name="T6" fmla="*/ 76 w 84"/>
                <a:gd name="T7" fmla="*/ 0 h 69"/>
                <a:gd name="T8" fmla="*/ 84 w 84"/>
                <a:gd name="T9" fmla="*/ 58 h 69"/>
              </a:gdLst>
              <a:ahLst/>
              <a:cxnLst>
                <a:cxn ang="0">
                  <a:pos x="T0" y="T1"/>
                </a:cxn>
                <a:cxn ang="0">
                  <a:pos x="T2" y="T3"/>
                </a:cxn>
                <a:cxn ang="0">
                  <a:pos x="T4" y="T5"/>
                </a:cxn>
                <a:cxn ang="0">
                  <a:pos x="T6" y="T7"/>
                </a:cxn>
                <a:cxn ang="0">
                  <a:pos x="T8" y="T9"/>
                </a:cxn>
              </a:cxnLst>
              <a:rect l="0" t="0" r="r" b="b"/>
              <a:pathLst>
                <a:path w="84" h="69">
                  <a:moveTo>
                    <a:pt x="84" y="58"/>
                  </a:moveTo>
                  <a:lnTo>
                    <a:pt x="8" y="69"/>
                  </a:lnTo>
                  <a:lnTo>
                    <a:pt x="0" y="10"/>
                  </a:lnTo>
                  <a:lnTo>
                    <a:pt x="76" y="0"/>
                  </a:lnTo>
                  <a:lnTo>
                    <a:pt x="84"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1" name="Freeform 195"/>
            <p:cNvSpPr>
              <a:spLocks/>
            </p:cNvSpPr>
            <p:nvPr userDrawn="1"/>
          </p:nvSpPr>
          <p:spPr bwMode="auto">
            <a:xfrm>
              <a:off x="3329" y="1748"/>
              <a:ext cx="84" cy="69"/>
            </a:xfrm>
            <a:custGeom>
              <a:avLst/>
              <a:gdLst>
                <a:gd name="T0" fmla="*/ 84 w 84"/>
                <a:gd name="T1" fmla="*/ 59 h 69"/>
                <a:gd name="T2" fmla="*/ 8 w 84"/>
                <a:gd name="T3" fmla="*/ 69 h 69"/>
                <a:gd name="T4" fmla="*/ 0 w 84"/>
                <a:gd name="T5" fmla="*/ 10 h 69"/>
                <a:gd name="T6" fmla="*/ 76 w 84"/>
                <a:gd name="T7" fmla="*/ 0 h 69"/>
                <a:gd name="T8" fmla="*/ 84 w 84"/>
                <a:gd name="T9" fmla="*/ 59 h 69"/>
              </a:gdLst>
              <a:ahLst/>
              <a:cxnLst>
                <a:cxn ang="0">
                  <a:pos x="T0" y="T1"/>
                </a:cxn>
                <a:cxn ang="0">
                  <a:pos x="T2" y="T3"/>
                </a:cxn>
                <a:cxn ang="0">
                  <a:pos x="T4" y="T5"/>
                </a:cxn>
                <a:cxn ang="0">
                  <a:pos x="T6" y="T7"/>
                </a:cxn>
                <a:cxn ang="0">
                  <a:pos x="T8" y="T9"/>
                </a:cxn>
              </a:cxnLst>
              <a:rect l="0" t="0" r="r" b="b"/>
              <a:pathLst>
                <a:path w="84" h="69">
                  <a:moveTo>
                    <a:pt x="84" y="59"/>
                  </a:moveTo>
                  <a:lnTo>
                    <a:pt x="8" y="69"/>
                  </a:lnTo>
                  <a:lnTo>
                    <a:pt x="0" y="10"/>
                  </a:lnTo>
                  <a:lnTo>
                    <a:pt x="76" y="0"/>
                  </a:lnTo>
                  <a:lnTo>
                    <a:pt x="84" y="5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2" name="Rectangle 196"/>
            <p:cNvSpPr>
              <a:spLocks noChangeArrowheads="1"/>
            </p:cNvSpPr>
            <p:nvPr userDrawn="1"/>
          </p:nvSpPr>
          <p:spPr bwMode="auto">
            <a:xfrm>
              <a:off x="2769" y="2159"/>
              <a:ext cx="76"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3" name="Rectangle 197"/>
            <p:cNvSpPr>
              <a:spLocks noChangeArrowheads="1"/>
            </p:cNvSpPr>
            <p:nvPr userDrawn="1"/>
          </p:nvSpPr>
          <p:spPr bwMode="auto">
            <a:xfrm>
              <a:off x="2923" y="2159"/>
              <a:ext cx="77"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04" name="Rectangle 198"/>
            <p:cNvSpPr>
              <a:spLocks noChangeArrowheads="1"/>
            </p:cNvSpPr>
            <p:nvPr userDrawn="1"/>
          </p:nvSpPr>
          <p:spPr bwMode="auto">
            <a:xfrm>
              <a:off x="3077" y="2159"/>
              <a:ext cx="78" cy="6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06" name="Baby" hidden="1"/>
          <p:cNvGrpSpPr>
            <a:grpSpLocks noChangeAspect="1"/>
          </p:cNvGrpSpPr>
          <p:nvPr userDrawn="1"/>
        </p:nvGrpSpPr>
        <p:grpSpPr bwMode="auto">
          <a:xfrm>
            <a:off x="4132264" y="1843088"/>
            <a:ext cx="881063" cy="1422400"/>
            <a:chOff x="3889" y="1680"/>
            <a:chExt cx="555" cy="896"/>
          </a:xfrm>
        </p:grpSpPr>
        <p:sp>
          <p:nvSpPr>
            <p:cNvPr id="1108" name="Freeform 202"/>
            <p:cNvSpPr>
              <a:spLocks/>
            </p:cNvSpPr>
            <p:nvPr userDrawn="1"/>
          </p:nvSpPr>
          <p:spPr bwMode="auto">
            <a:xfrm>
              <a:off x="4088" y="1680"/>
              <a:ext cx="156" cy="78"/>
            </a:xfrm>
            <a:custGeom>
              <a:avLst/>
              <a:gdLst>
                <a:gd name="T0" fmla="*/ 88 w 175"/>
                <a:gd name="T1" fmla="*/ 35 h 88"/>
                <a:gd name="T2" fmla="*/ 170 w 175"/>
                <a:gd name="T3" fmla="*/ 0 h 88"/>
                <a:gd name="T4" fmla="*/ 175 w 175"/>
                <a:gd name="T5" fmla="*/ 1 h 88"/>
                <a:gd name="T6" fmla="*/ 175 w 175"/>
                <a:gd name="T7" fmla="*/ 87 h 88"/>
                <a:gd name="T8" fmla="*/ 170 w 175"/>
                <a:gd name="T9" fmla="*/ 88 h 88"/>
                <a:gd name="T10" fmla="*/ 88 w 175"/>
                <a:gd name="T11" fmla="*/ 54 h 88"/>
                <a:gd name="T12" fmla="*/ 6 w 175"/>
                <a:gd name="T13" fmla="*/ 88 h 88"/>
                <a:gd name="T14" fmla="*/ 0 w 175"/>
                <a:gd name="T15" fmla="*/ 87 h 88"/>
                <a:gd name="T16" fmla="*/ 0 w 175"/>
                <a:gd name="T17" fmla="*/ 1 h 88"/>
                <a:gd name="T18" fmla="*/ 6 w 175"/>
                <a:gd name="T19" fmla="*/ 0 h 88"/>
                <a:gd name="T20" fmla="*/ 88 w 175"/>
                <a:gd name="T21" fmla="*/ 3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88">
                  <a:moveTo>
                    <a:pt x="88" y="35"/>
                  </a:moveTo>
                  <a:cubicBezTo>
                    <a:pt x="170" y="0"/>
                    <a:pt x="170" y="0"/>
                    <a:pt x="170" y="0"/>
                  </a:cubicBezTo>
                  <a:cubicBezTo>
                    <a:pt x="172" y="0"/>
                    <a:pt x="174" y="0"/>
                    <a:pt x="175" y="1"/>
                  </a:cubicBezTo>
                  <a:cubicBezTo>
                    <a:pt x="175" y="87"/>
                    <a:pt x="175" y="87"/>
                    <a:pt x="175" y="87"/>
                  </a:cubicBezTo>
                  <a:cubicBezTo>
                    <a:pt x="174" y="88"/>
                    <a:pt x="172" y="88"/>
                    <a:pt x="170" y="88"/>
                  </a:cubicBezTo>
                  <a:cubicBezTo>
                    <a:pt x="88" y="54"/>
                    <a:pt x="88" y="54"/>
                    <a:pt x="88" y="54"/>
                  </a:cubicBezTo>
                  <a:cubicBezTo>
                    <a:pt x="6" y="88"/>
                    <a:pt x="6" y="88"/>
                    <a:pt x="6" y="88"/>
                  </a:cubicBezTo>
                  <a:cubicBezTo>
                    <a:pt x="4" y="88"/>
                    <a:pt x="2" y="88"/>
                    <a:pt x="0" y="87"/>
                  </a:cubicBezTo>
                  <a:cubicBezTo>
                    <a:pt x="0" y="1"/>
                    <a:pt x="0" y="1"/>
                    <a:pt x="0" y="1"/>
                  </a:cubicBezTo>
                  <a:cubicBezTo>
                    <a:pt x="2" y="0"/>
                    <a:pt x="4" y="0"/>
                    <a:pt x="6" y="0"/>
                  </a:cubicBezTo>
                  <a:lnTo>
                    <a:pt x="88" y="35"/>
                  </a:lnTo>
                  <a:close/>
                </a:path>
              </a:pathLst>
            </a:custGeom>
            <a:solidFill>
              <a:srgbClr val="FFFFFF"/>
            </a:solidFill>
            <a:ln w="33338"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nb-NO" sz="1788"/>
            </a:p>
          </p:txBody>
        </p:sp>
        <p:sp>
          <p:nvSpPr>
            <p:cNvPr id="1109" name="Line 203"/>
            <p:cNvSpPr>
              <a:spLocks noChangeShapeType="1"/>
            </p:cNvSpPr>
            <p:nvPr userDrawn="1"/>
          </p:nvSpPr>
          <p:spPr bwMode="auto">
            <a:xfrm>
              <a:off x="4166" y="1695"/>
              <a:ext cx="0" cy="96"/>
            </a:xfrm>
            <a:prstGeom prst="line">
              <a:avLst/>
            </a:prstGeom>
            <a:noFill/>
            <a:ln w="33338" cap="flat">
              <a:solidFill>
                <a:srgbClr val="01010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10" name="Freeform 204"/>
            <p:cNvSpPr>
              <a:spLocks/>
            </p:cNvSpPr>
            <p:nvPr userDrawn="1"/>
          </p:nvSpPr>
          <p:spPr bwMode="auto">
            <a:xfrm>
              <a:off x="3889" y="2152"/>
              <a:ext cx="555" cy="424"/>
            </a:xfrm>
            <a:custGeom>
              <a:avLst/>
              <a:gdLst>
                <a:gd name="T0" fmla="*/ 0 w 620"/>
                <a:gd name="T1" fmla="*/ 333 h 474"/>
                <a:gd name="T2" fmla="*/ 310 w 620"/>
                <a:gd name="T3" fmla="*/ 474 h 474"/>
                <a:gd name="T4" fmla="*/ 620 w 620"/>
                <a:gd name="T5" fmla="*/ 333 h 474"/>
                <a:gd name="T6" fmla="*/ 310 w 620"/>
                <a:gd name="T7" fmla="*/ 0 h 474"/>
                <a:gd name="T8" fmla="*/ 0 w 620"/>
                <a:gd name="T9" fmla="*/ 333 h 474"/>
              </a:gdLst>
              <a:ahLst/>
              <a:cxnLst>
                <a:cxn ang="0">
                  <a:pos x="T0" y="T1"/>
                </a:cxn>
                <a:cxn ang="0">
                  <a:pos x="T2" y="T3"/>
                </a:cxn>
                <a:cxn ang="0">
                  <a:pos x="T4" y="T5"/>
                </a:cxn>
                <a:cxn ang="0">
                  <a:pos x="T6" y="T7"/>
                </a:cxn>
                <a:cxn ang="0">
                  <a:pos x="T8" y="T9"/>
                </a:cxn>
              </a:cxnLst>
              <a:rect l="0" t="0" r="r" b="b"/>
              <a:pathLst>
                <a:path w="620" h="474">
                  <a:moveTo>
                    <a:pt x="0" y="333"/>
                  </a:moveTo>
                  <a:cubicBezTo>
                    <a:pt x="78" y="420"/>
                    <a:pt x="188" y="474"/>
                    <a:pt x="310" y="474"/>
                  </a:cubicBezTo>
                  <a:cubicBezTo>
                    <a:pt x="431" y="474"/>
                    <a:pt x="541" y="420"/>
                    <a:pt x="620" y="333"/>
                  </a:cubicBezTo>
                  <a:cubicBezTo>
                    <a:pt x="620" y="121"/>
                    <a:pt x="481" y="0"/>
                    <a:pt x="310" y="0"/>
                  </a:cubicBezTo>
                  <a:cubicBezTo>
                    <a:pt x="139" y="0"/>
                    <a:pt x="0" y="121"/>
                    <a:pt x="0" y="333"/>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1" name="Oval 205"/>
            <p:cNvSpPr>
              <a:spLocks noChangeArrowheads="1"/>
            </p:cNvSpPr>
            <p:nvPr userDrawn="1"/>
          </p:nvSpPr>
          <p:spPr bwMode="auto">
            <a:xfrm>
              <a:off x="3985" y="1764"/>
              <a:ext cx="362" cy="370"/>
            </a:xfrm>
            <a:prstGeom prst="ellipse">
              <a:avLst/>
            </a:pr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2" name="Oval 206"/>
            <p:cNvSpPr>
              <a:spLocks noChangeArrowheads="1"/>
            </p:cNvSpPr>
            <p:nvPr userDrawn="1"/>
          </p:nvSpPr>
          <p:spPr bwMode="auto">
            <a:xfrm>
              <a:off x="4103" y="1985"/>
              <a:ext cx="127" cy="6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3" name="Oval 207"/>
            <p:cNvSpPr>
              <a:spLocks noChangeArrowheads="1"/>
            </p:cNvSpPr>
            <p:nvPr userDrawn="1"/>
          </p:nvSpPr>
          <p:spPr bwMode="auto">
            <a:xfrm>
              <a:off x="4134" y="2034"/>
              <a:ext cx="65" cy="65"/>
            </a:xfrm>
            <a:prstGeom prst="ellipse">
              <a:avLst/>
            </a:prstGeom>
            <a:noFill/>
            <a:ln w="3333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15" name="Utropstegn" hidden="1"/>
          <p:cNvGrpSpPr>
            <a:grpSpLocks noChangeAspect="1"/>
          </p:cNvGrpSpPr>
          <p:nvPr userDrawn="1"/>
        </p:nvGrpSpPr>
        <p:grpSpPr bwMode="auto">
          <a:xfrm>
            <a:off x="4279902" y="1889125"/>
            <a:ext cx="280987" cy="1117600"/>
            <a:chOff x="2696" y="1190"/>
            <a:chExt cx="177" cy="704"/>
          </a:xfrm>
        </p:grpSpPr>
        <p:sp>
          <p:nvSpPr>
            <p:cNvPr id="1117" name="Freeform 211"/>
            <p:cNvSpPr>
              <a:spLocks/>
            </p:cNvSpPr>
            <p:nvPr userDrawn="1"/>
          </p:nvSpPr>
          <p:spPr bwMode="auto">
            <a:xfrm>
              <a:off x="2696" y="1190"/>
              <a:ext cx="177" cy="479"/>
            </a:xfrm>
            <a:custGeom>
              <a:avLst/>
              <a:gdLst>
                <a:gd name="T0" fmla="*/ 178 w 280"/>
                <a:gd name="T1" fmla="*/ 759 h 759"/>
                <a:gd name="T2" fmla="*/ 102 w 280"/>
                <a:gd name="T3" fmla="*/ 759 h 759"/>
                <a:gd name="T4" fmla="*/ 41 w 280"/>
                <a:gd name="T5" fmla="*/ 701 h 759"/>
                <a:gd name="T6" fmla="*/ 2 w 280"/>
                <a:gd name="T7" fmla="*/ 58 h 759"/>
                <a:gd name="T8" fmla="*/ 57 w 280"/>
                <a:gd name="T9" fmla="*/ 0 h 759"/>
                <a:gd name="T10" fmla="*/ 224 w 280"/>
                <a:gd name="T11" fmla="*/ 0 h 759"/>
                <a:gd name="T12" fmla="*/ 279 w 280"/>
                <a:gd name="T13" fmla="*/ 58 h 759"/>
                <a:gd name="T14" fmla="*/ 239 w 280"/>
                <a:gd name="T15" fmla="*/ 701 h 759"/>
                <a:gd name="T16" fmla="*/ 178 w 280"/>
                <a:gd name="T17"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0" h="759">
                  <a:moveTo>
                    <a:pt x="178" y="759"/>
                  </a:moveTo>
                  <a:cubicBezTo>
                    <a:pt x="102" y="759"/>
                    <a:pt x="102" y="759"/>
                    <a:pt x="102" y="759"/>
                  </a:cubicBezTo>
                  <a:cubicBezTo>
                    <a:pt x="70" y="759"/>
                    <a:pt x="43" y="733"/>
                    <a:pt x="41" y="701"/>
                  </a:cubicBezTo>
                  <a:cubicBezTo>
                    <a:pt x="2" y="58"/>
                    <a:pt x="2" y="58"/>
                    <a:pt x="2" y="58"/>
                  </a:cubicBezTo>
                  <a:cubicBezTo>
                    <a:pt x="0" y="26"/>
                    <a:pt x="25" y="0"/>
                    <a:pt x="57" y="0"/>
                  </a:cubicBezTo>
                  <a:cubicBezTo>
                    <a:pt x="224" y="0"/>
                    <a:pt x="224" y="0"/>
                    <a:pt x="224" y="0"/>
                  </a:cubicBezTo>
                  <a:cubicBezTo>
                    <a:pt x="256" y="0"/>
                    <a:pt x="280" y="26"/>
                    <a:pt x="279" y="58"/>
                  </a:cubicBezTo>
                  <a:cubicBezTo>
                    <a:pt x="239" y="701"/>
                    <a:pt x="239" y="701"/>
                    <a:pt x="239" y="701"/>
                  </a:cubicBezTo>
                  <a:cubicBezTo>
                    <a:pt x="238" y="733"/>
                    <a:pt x="210" y="759"/>
                    <a:pt x="178" y="75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18" name="Oval 212"/>
            <p:cNvSpPr>
              <a:spLocks noChangeArrowheads="1"/>
            </p:cNvSpPr>
            <p:nvPr userDrawn="1"/>
          </p:nvSpPr>
          <p:spPr bwMode="auto">
            <a:xfrm>
              <a:off x="2703" y="1734"/>
              <a:ext cx="161" cy="160"/>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grpSp>
      <p:grpSp>
        <p:nvGrpSpPr>
          <p:cNvPr id="1120" name="penger" hidden="1"/>
          <p:cNvGrpSpPr>
            <a:grpSpLocks noChangeAspect="1"/>
          </p:cNvGrpSpPr>
          <p:nvPr userDrawn="1"/>
        </p:nvGrpSpPr>
        <p:grpSpPr bwMode="auto">
          <a:xfrm>
            <a:off x="3976689" y="1817688"/>
            <a:ext cx="1150938" cy="995362"/>
            <a:chOff x="2505" y="1145"/>
            <a:chExt cx="725" cy="627"/>
          </a:xfrm>
        </p:grpSpPr>
        <p:sp>
          <p:nvSpPr>
            <p:cNvPr id="1122" name="Freeform 216"/>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3" name="Freeform 217"/>
            <p:cNvSpPr>
              <a:spLocks/>
            </p:cNvSpPr>
            <p:nvPr userDrawn="1"/>
          </p:nvSpPr>
          <p:spPr bwMode="auto">
            <a:xfrm>
              <a:off x="2505" y="1541"/>
              <a:ext cx="331" cy="144"/>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4" name="Freeform 218"/>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5" name="Freeform 219"/>
            <p:cNvSpPr>
              <a:spLocks/>
            </p:cNvSpPr>
            <p:nvPr userDrawn="1"/>
          </p:nvSpPr>
          <p:spPr bwMode="auto">
            <a:xfrm>
              <a:off x="2505" y="1458"/>
              <a:ext cx="331" cy="143"/>
            </a:xfrm>
            <a:custGeom>
              <a:avLst/>
              <a:gdLst>
                <a:gd name="T0" fmla="*/ 425 w 425"/>
                <a:gd name="T1" fmla="*/ 0 h 184"/>
                <a:gd name="T2" fmla="*/ 425 w 425"/>
                <a:gd name="T3" fmla="*/ 103 h 184"/>
                <a:gd name="T4" fmla="*/ 212 w 425"/>
                <a:gd name="T5" fmla="*/ 184 h 184"/>
                <a:gd name="T6" fmla="*/ 0 w 425"/>
                <a:gd name="T7" fmla="*/ 103 h 184"/>
                <a:gd name="T8" fmla="*/ 0 w 425"/>
                <a:gd name="T9" fmla="*/ 0 h 184"/>
                <a:gd name="T10" fmla="*/ 425 w 425"/>
                <a:gd name="T11" fmla="*/ 0 h 184"/>
              </a:gdLst>
              <a:ahLst/>
              <a:cxnLst>
                <a:cxn ang="0">
                  <a:pos x="T0" y="T1"/>
                </a:cxn>
                <a:cxn ang="0">
                  <a:pos x="T2" y="T3"/>
                </a:cxn>
                <a:cxn ang="0">
                  <a:pos x="T4" y="T5"/>
                </a:cxn>
                <a:cxn ang="0">
                  <a:pos x="T6" y="T7"/>
                </a:cxn>
                <a:cxn ang="0">
                  <a:pos x="T8" y="T9"/>
                </a:cxn>
                <a:cxn ang="0">
                  <a:pos x="T10" y="T11"/>
                </a:cxn>
              </a:cxnLst>
              <a:rect l="0" t="0" r="r" b="b"/>
              <a:pathLst>
                <a:path w="425" h="184">
                  <a:moveTo>
                    <a:pt x="425" y="0"/>
                  </a:moveTo>
                  <a:cubicBezTo>
                    <a:pt x="425" y="103"/>
                    <a:pt x="425" y="103"/>
                    <a:pt x="425" y="103"/>
                  </a:cubicBezTo>
                  <a:cubicBezTo>
                    <a:pt x="425" y="148"/>
                    <a:pt x="330" y="184"/>
                    <a:pt x="212" y="184"/>
                  </a:cubicBezTo>
                  <a:cubicBezTo>
                    <a:pt x="95" y="184"/>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6" name="Freeform 220"/>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7" name="Freeform 221"/>
            <p:cNvSpPr>
              <a:spLocks/>
            </p:cNvSpPr>
            <p:nvPr userDrawn="1"/>
          </p:nvSpPr>
          <p:spPr bwMode="auto">
            <a:xfrm>
              <a:off x="2505" y="1373"/>
              <a:ext cx="331" cy="145"/>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28" name="Freeform 222"/>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29" name="Freeform 223"/>
            <p:cNvSpPr>
              <a:spLocks/>
            </p:cNvSpPr>
            <p:nvPr userDrawn="1"/>
          </p:nvSpPr>
          <p:spPr bwMode="auto">
            <a:xfrm>
              <a:off x="2505" y="1294"/>
              <a:ext cx="331" cy="144"/>
            </a:xfrm>
            <a:custGeom>
              <a:avLst/>
              <a:gdLst>
                <a:gd name="T0" fmla="*/ 425 w 425"/>
                <a:gd name="T1" fmla="*/ 0 h 185"/>
                <a:gd name="T2" fmla="*/ 425 w 425"/>
                <a:gd name="T3" fmla="*/ 103 h 185"/>
                <a:gd name="T4" fmla="*/ 212 w 425"/>
                <a:gd name="T5" fmla="*/ 185 h 185"/>
                <a:gd name="T6" fmla="*/ 0 w 425"/>
                <a:gd name="T7" fmla="*/ 103 h 185"/>
                <a:gd name="T8" fmla="*/ 0 w 425"/>
                <a:gd name="T9" fmla="*/ 0 h 185"/>
                <a:gd name="T10" fmla="*/ 425 w 425"/>
                <a:gd name="T11" fmla="*/ 0 h 185"/>
              </a:gdLst>
              <a:ahLst/>
              <a:cxnLst>
                <a:cxn ang="0">
                  <a:pos x="T0" y="T1"/>
                </a:cxn>
                <a:cxn ang="0">
                  <a:pos x="T2" y="T3"/>
                </a:cxn>
                <a:cxn ang="0">
                  <a:pos x="T4" y="T5"/>
                </a:cxn>
                <a:cxn ang="0">
                  <a:pos x="T6" y="T7"/>
                </a:cxn>
                <a:cxn ang="0">
                  <a:pos x="T8" y="T9"/>
                </a:cxn>
                <a:cxn ang="0">
                  <a:pos x="T10" y="T11"/>
                </a:cxn>
              </a:cxnLst>
              <a:rect l="0" t="0" r="r" b="b"/>
              <a:pathLst>
                <a:path w="425" h="185">
                  <a:moveTo>
                    <a:pt x="425" y="0"/>
                  </a:moveTo>
                  <a:cubicBezTo>
                    <a:pt x="425" y="103"/>
                    <a:pt x="425" y="103"/>
                    <a:pt x="425" y="103"/>
                  </a:cubicBezTo>
                  <a:cubicBezTo>
                    <a:pt x="425" y="148"/>
                    <a:pt x="330" y="185"/>
                    <a:pt x="212" y="185"/>
                  </a:cubicBezTo>
                  <a:cubicBezTo>
                    <a:pt x="95" y="185"/>
                    <a:pt x="0" y="148"/>
                    <a:pt x="0" y="103"/>
                  </a:cubicBezTo>
                  <a:cubicBezTo>
                    <a:pt x="0" y="0"/>
                    <a:pt x="0" y="0"/>
                    <a:pt x="0" y="0"/>
                  </a:cubicBezTo>
                  <a:lnTo>
                    <a:pt x="425"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0" name="Oval 224"/>
            <p:cNvSpPr>
              <a:spLocks noChangeArrowheads="1"/>
            </p:cNvSpPr>
            <p:nvPr userDrawn="1"/>
          </p:nvSpPr>
          <p:spPr bwMode="auto">
            <a:xfrm>
              <a:off x="2505" y="1227"/>
              <a:ext cx="331"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1" name="Oval 225"/>
            <p:cNvSpPr>
              <a:spLocks noChangeArrowheads="1"/>
            </p:cNvSpPr>
            <p:nvPr userDrawn="1"/>
          </p:nvSpPr>
          <p:spPr bwMode="auto">
            <a:xfrm>
              <a:off x="2505" y="1227"/>
              <a:ext cx="331"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2" name="Freeform 226"/>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3" name="Freeform 227"/>
            <p:cNvSpPr>
              <a:spLocks/>
            </p:cNvSpPr>
            <p:nvPr userDrawn="1"/>
          </p:nvSpPr>
          <p:spPr bwMode="auto">
            <a:xfrm>
              <a:off x="2898" y="1566"/>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1" y="184"/>
                    <a:pt x="213" y="184"/>
                  </a:cubicBezTo>
                  <a:cubicBezTo>
                    <a:pt x="96"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4" name="Freeform 228"/>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5" name="Freeform 229"/>
            <p:cNvSpPr>
              <a:spLocks/>
            </p:cNvSpPr>
            <p:nvPr userDrawn="1"/>
          </p:nvSpPr>
          <p:spPr bwMode="auto">
            <a:xfrm>
              <a:off x="2898" y="1482"/>
              <a:ext cx="332" cy="144"/>
            </a:xfrm>
            <a:custGeom>
              <a:avLst/>
              <a:gdLst>
                <a:gd name="T0" fmla="*/ 426 w 426"/>
                <a:gd name="T1" fmla="*/ 0 h 185"/>
                <a:gd name="T2" fmla="*/ 426 w 426"/>
                <a:gd name="T3" fmla="*/ 104 h 185"/>
                <a:gd name="T4" fmla="*/ 213 w 426"/>
                <a:gd name="T5" fmla="*/ 185 h 185"/>
                <a:gd name="T6" fmla="*/ 0 w 426"/>
                <a:gd name="T7" fmla="*/ 104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4"/>
                    <a:pt x="426" y="104"/>
                    <a:pt x="426" y="104"/>
                  </a:cubicBezTo>
                  <a:cubicBezTo>
                    <a:pt x="426" y="149"/>
                    <a:pt x="331" y="185"/>
                    <a:pt x="213" y="185"/>
                  </a:cubicBezTo>
                  <a:cubicBezTo>
                    <a:pt x="96" y="185"/>
                    <a:pt x="0" y="149"/>
                    <a:pt x="0" y="104"/>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6" name="Freeform 230"/>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7" name="Freeform 231"/>
            <p:cNvSpPr>
              <a:spLocks/>
            </p:cNvSpPr>
            <p:nvPr userDrawn="1"/>
          </p:nvSpPr>
          <p:spPr bwMode="auto">
            <a:xfrm>
              <a:off x="2898" y="1398"/>
              <a:ext cx="332" cy="145"/>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1" y="185"/>
                    <a:pt x="213" y="185"/>
                  </a:cubicBezTo>
                  <a:cubicBezTo>
                    <a:pt x="96"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38" name="Oval 232"/>
            <p:cNvSpPr>
              <a:spLocks noChangeArrowheads="1"/>
            </p:cNvSpPr>
            <p:nvPr userDrawn="1"/>
          </p:nvSpPr>
          <p:spPr bwMode="auto">
            <a:xfrm>
              <a:off x="2898" y="1332"/>
              <a:ext cx="332" cy="126"/>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39" name="Oval 233"/>
            <p:cNvSpPr>
              <a:spLocks noChangeArrowheads="1"/>
            </p:cNvSpPr>
            <p:nvPr userDrawn="1"/>
          </p:nvSpPr>
          <p:spPr bwMode="auto">
            <a:xfrm>
              <a:off x="2898" y="1332"/>
              <a:ext cx="332" cy="126"/>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0" name="Freeform 234"/>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1" name="Freeform 235"/>
            <p:cNvSpPr>
              <a:spLocks/>
            </p:cNvSpPr>
            <p:nvPr userDrawn="1"/>
          </p:nvSpPr>
          <p:spPr bwMode="auto">
            <a:xfrm>
              <a:off x="2653" y="1628"/>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2" name="Freeform 236"/>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3" name="Freeform 237"/>
            <p:cNvSpPr>
              <a:spLocks/>
            </p:cNvSpPr>
            <p:nvPr userDrawn="1"/>
          </p:nvSpPr>
          <p:spPr bwMode="auto">
            <a:xfrm>
              <a:off x="2653" y="1544"/>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4" name="Freeform 238"/>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5" name="Freeform 239"/>
            <p:cNvSpPr>
              <a:spLocks/>
            </p:cNvSpPr>
            <p:nvPr userDrawn="1"/>
          </p:nvSpPr>
          <p:spPr bwMode="auto">
            <a:xfrm>
              <a:off x="2653" y="1461"/>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6" name="Freeform 240"/>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7" name="Freeform 241"/>
            <p:cNvSpPr>
              <a:spLocks/>
            </p:cNvSpPr>
            <p:nvPr userDrawn="1"/>
          </p:nvSpPr>
          <p:spPr bwMode="auto">
            <a:xfrm>
              <a:off x="2653" y="1379"/>
              <a:ext cx="332" cy="144"/>
            </a:xfrm>
            <a:custGeom>
              <a:avLst/>
              <a:gdLst>
                <a:gd name="T0" fmla="*/ 426 w 426"/>
                <a:gd name="T1" fmla="*/ 0 h 185"/>
                <a:gd name="T2" fmla="*/ 426 w 426"/>
                <a:gd name="T3" fmla="*/ 103 h 185"/>
                <a:gd name="T4" fmla="*/ 213 w 426"/>
                <a:gd name="T5" fmla="*/ 185 h 185"/>
                <a:gd name="T6" fmla="*/ 0 w 426"/>
                <a:gd name="T7" fmla="*/ 103 h 185"/>
                <a:gd name="T8" fmla="*/ 0 w 426"/>
                <a:gd name="T9" fmla="*/ 0 h 185"/>
                <a:gd name="T10" fmla="*/ 426 w 426"/>
                <a:gd name="T11" fmla="*/ 0 h 185"/>
              </a:gdLst>
              <a:ahLst/>
              <a:cxnLst>
                <a:cxn ang="0">
                  <a:pos x="T0" y="T1"/>
                </a:cxn>
                <a:cxn ang="0">
                  <a:pos x="T2" y="T3"/>
                </a:cxn>
                <a:cxn ang="0">
                  <a:pos x="T4" y="T5"/>
                </a:cxn>
                <a:cxn ang="0">
                  <a:pos x="T6" y="T7"/>
                </a:cxn>
                <a:cxn ang="0">
                  <a:pos x="T8" y="T9"/>
                </a:cxn>
                <a:cxn ang="0">
                  <a:pos x="T10" y="T11"/>
                </a:cxn>
              </a:cxnLst>
              <a:rect l="0" t="0" r="r" b="b"/>
              <a:pathLst>
                <a:path w="426" h="185">
                  <a:moveTo>
                    <a:pt x="426" y="0"/>
                  </a:moveTo>
                  <a:cubicBezTo>
                    <a:pt x="426" y="103"/>
                    <a:pt x="426" y="103"/>
                    <a:pt x="426" y="103"/>
                  </a:cubicBezTo>
                  <a:cubicBezTo>
                    <a:pt x="426" y="148"/>
                    <a:pt x="330" y="185"/>
                    <a:pt x="213" y="185"/>
                  </a:cubicBezTo>
                  <a:cubicBezTo>
                    <a:pt x="95" y="185"/>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48" name="Freeform 242"/>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49" name="Freeform 243"/>
            <p:cNvSpPr>
              <a:spLocks/>
            </p:cNvSpPr>
            <p:nvPr userDrawn="1"/>
          </p:nvSpPr>
          <p:spPr bwMode="auto">
            <a:xfrm>
              <a:off x="2653" y="1295"/>
              <a:ext cx="332" cy="144"/>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0" name="Freeform 244"/>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1" name="Freeform 245"/>
            <p:cNvSpPr>
              <a:spLocks/>
            </p:cNvSpPr>
            <p:nvPr userDrawn="1"/>
          </p:nvSpPr>
          <p:spPr bwMode="auto">
            <a:xfrm>
              <a:off x="2653" y="1212"/>
              <a:ext cx="332" cy="143"/>
            </a:xfrm>
            <a:custGeom>
              <a:avLst/>
              <a:gdLst>
                <a:gd name="T0" fmla="*/ 426 w 426"/>
                <a:gd name="T1" fmla="*/ 0 h 184"/>
                <a:gd name="T2" fmla="*/ 426 w 426"/>
                <a:gd name="T3" fmla="*/ 103 h 184"/>
                <a:gd name="T4" fmla="*/ 213 w 426"/>
                <a:gd name="T5" fmla="*/ 184 h 184"/>
                <a:gd name="T6" fmla="*/ 0 w 426"/>
                <a:gd name="T7" fmla="*/ 103 h 184"/>
                <a:gd name="T8" fmla="*/ 0 w 426"/>
                <a:gd name="T9" fmla="*/ 0 h 184"/>
                <a:gd name="T10" fmla="*/ 426 w 426"/>
                <a:gd name="T11" fmla="*/ 0 h 184"/>
              </a:gdLst>
              <a:ahLst/>
              <a:cxnLst>
                <a:cxn ang="0">
                  <a:pos x="T0" y="T1"/>
                </a:cxn>
                <a:cxn ang="0">
                  <a:pos x="T2" y="T3"/>
                </a:cxn>
                <a:cxn ang="0">
                  <a:pos x="T4" y="T5"/>
                </a:cxn>
                <a:cxn ang="0">
                  <a:pos x="T6" y="T7"/>
                </a:cxn>
                <a:cxn ang="0">
                  <a:pos x="T8" y="T9"/>
                </a:cxn>
                <a:cxn ang="0">
                  <a:pos x="T10" y="T11"/>
                </a:cxn>
              </a:cxnLst>
              <a:rect l="0" t="0" r="r" b="b"/>
              <a:pathLst>
                <a:path w="426" h="184">
                  <a:moveTo>
                    <a:pt x="426" y="0"/>
                  </a:moveTo>
                  <a:cubicBezTo>
                    <a:pt x="426" y="103"/>
                    <a:pt x="426" y="103"/>
                    <a:pt x="426" y="103"/>
                  </a:cubicBezTo>
                  <a:cubicBezTo>
                    <a:pt x="426" y="148"/>
                    <a:pt x="330" y="184"/>
                    <a:pt x="213" y="184"/>
                  </a:cubicBezTo>
                  <a:cubicBezTo>
                    <a:pt x="95" y="184"/>
                    <a:pt x="0" y="148"/>
                    <a:pt x="0" y="103"/>
                  </a:cubicBezTo>
                  <a:cubicBezTo>
                    <a:pt x="0" y="0"/>
                    <a:pt x="0" y="0"/>
                    <a:pt x="0" y="0"/>
                  </a:cubicBezTo>
                  <a:lnTo>
                    <a:pt x="426" y="0"/>
                  </a:lnTo>
                  <a:close/>
                </a:path>
              </a:pathLst>
            </a:cu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sp>
          <p:nvSpPr>
            <p:cNvPr id="1152" name="Oval 246"/>
            <p:cNvSpPr>
              <a:spLocks noChangeArrowheads="1"/>
            </p:cNvSpPr>
            <p:nvPr userDrawn="1"/>
          </p:nvSpPr>
          <p:spPr bwMode="auto">
            <a:xfrm>
              <a:off x="2653" y="1145"/>
              <a:ext cx="332" cy="1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sz="1788"/>
            </a:p>
          </p:txBody>
        </p:sp>
        <p:sp>
          <p:nvSpPr>
            <p:cNvPr id="1153" name="Oval 247"/>
            <p:cNvSpPr>
              <a:spLocks noChangeArrowheads="1"/>
            </p:cNvSpPr>
            <p:nvPr userDrawn="1"/>
          </p:nvSpPr>
          <p:spPr bwMode="auto">
            <a:xfrm>
              <a:off x="2653" y="1145"/>
              <a:ext cx="332" cy="127"/>
            </a:xfrm>
            <a:prstGeom prst="ellipse">
              <a:avLst/>
            </a:prstGeom>
            <a:noFill/>
            <a:ln w="349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sz="1788"/>
            </a:p>
          </p:txBody>
        </p:sp>
      </p:grpSp>
    </p:spTree>
    <p:extLst>
      <p:ext uri="{BB962C8B-B14F-4D97-AF65-F5344CB8AC3E}">
        <p14:creationId xmlns:p14="http://schemas.microsoft.com/office/powerpoint/2010/main" val="2373813906"/>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Lst>
  <p:hf sldNum="0" hdr="0" ftr="0" dt="0"/>
  <p:txStyles>
    <p:title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p:titleStyle>
    <p:bodyStyle>
      <a:lvl1pPr marL="169085" indent="-169085" algn="l" defTabSz="676341" rtl="0" eaLnBrk="1" latinLnBrk="0" hangingPunct="1">
        <a:lnSpc>
          <a:spcPct val="90000"/>
        </a:lnSpc>
        <a:spcBef>
          <a:spcPts val="740"/>
        </a:spcBef>
        <a:buFont typeface="Arial" panose="020B0604020202020204" pitchFamily="34" charset="0"/>
        <a:buChar char="•"/>
        <a:defRPr sz="1788" kern="1200">
          <a:solidFill>
            <a:schemeClr val="tx1"/>
          </a:solidFill>
          <a:latin typeface="+mn-lt"/>
          <a:ea typeface="+mn-ea"/>
          <a:cs typeface="+mn-cs"/>
        </a:defRPr>
      </a:lvl1pPr>
      <a:lvl2pPr marL="507257" indent="-169085" algn="l" defTabSz="676341" rtl="0" eaLnBrk="1" latinLnBrk="0" hangingPunct="1">
        <a:lnSpc>
          <a:spcPct val="90000"/>
        </a:lnSpc>
        <a:spcBef>
          <a:spcPts val="370"/>
        </a:spcBef>
        <a:buFont typeface="Arial" panose="020B0604020202020204" pitchFamily="34" charset="0"/>
        <a:buChar char="•"/>
        <a:defRPr sz="1589" kern="1200">
          <a:solidFill>
            <a:schemeClr val="tx1"/>
          </a:solidFill>
          <a:latin typeface="+mn-lt"/>
          <a:ea typeface="+mn-ea"/>
          <a:cs typeface="+mn-cs"/>
        </a:defRPr>
      </a:lvl2pPr>
      <a:lvl3pPr marL="845426" indent="-169085" algn="l" defTabSz="676341" rtl="0" eaLnBrk="1" latinLnBrk="0" hangingPunct="1">
        <a:lnSpc>
          <a:spcPct val="90000"/>
        </a:lnSpc>
        <a:spcBef>
          <a:spcPts val="370"/>
        </a:spcBef>
        <a:buFont typeface="Arial" panose="020B0604020202020204" pitchFamily="34" charset="0"/>
        <a:buChar char="•"/>
        <a:defRPr sz="1490" kern="1200">
          <a:solidFill>
            <a:schemeClr val="tx1"/>
          </a:solidFill>
          <a:latin typeface="+mn-lt"/>
          <a:ea typeface="+mn-ea"/>
          <a:cs typeface="+mn-cs"/>
        </a:defRPr>
      </a:lvl3pPr>
      <a:lvl4pPr marL="1183596"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4pPr>
      <a:lvl5pPr marL="1521767" indent="-169085" algn="l" defTabSz="676341" rtl="0" eaLnBrk="1" latinLnBrk="0" hangingPunct="1">
        <a:lnSpc>
          <a:spcPct val="90000"/>
        </a:lnSpc>
        <a:spcBef>
          <a:spcPts val="370"/>
        </a:spcBef>
        <a:buFont typeface="Arial" panose="020B0604020202020204" pitchFamily="34" charset="0"/>
        <a:buChar char="•"/>
        <a:defRPr sz="1192" kern="1200">
          <a:solidFill>
            <a:schemeClr val="tx1"/>
          </a:solidFill>
          <a:latin typeface="+mn-lt"/>
          <a:ea typeface="+mn-ea"/>
          <a:cs typeface="+mn-cs"/>
        </a:defRPr>
      </a:lvl5pPr>
      <a:lvl6pPr marL="1859938"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6pPr>
      <a:lvl7pPr marL="219810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7pPr>
      <a:lvl8pPr marL="253627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8pPr>
      <a:lvl9pPr marL="287444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9pPr>
    </p:bodyStyle>
    <p:otherStyle>
      <a:defPPr>
        <a:defRPr lang="en-US"/>
      </a:defPPr>
      <a:lvl1pPr marL="0" algn="l" defTabSz="676341" rtl="0" eaLnBrk="1" latinLnBrk="0" hangingPunct="1">
        <a:defRPr sz="1291" kern="1200">
          <a:solidFill>
            <a:schemeClr val="tx1"/>
          </a:solidFill>
          <a:latin typeface="+mn-lt"/>
          <a:ea typeface="+mn-ea"/>
          <a:cs typeface="+mn-cs"/>
        </a:defRPr>
      </a:lvl1pPr>
      <a:lvl2pPr marL="338170" algn="l" defTabSz="676341" rtl="0" eaLnBrk="1" latinLnBrk="0" hangingPunct="1">
        <a:defRPr sz="1291" kern="1200">
          <a:solidFill>
            <a:schemeClr val="tx1"/>
          </a:solidFill>
          <a:latin typeface="+mn-lt"/>
          <a:ea typeface="+mn-ea"/>
          <a:cs typeface="+mn-cs"/>
        </a:defRPr>
      </a:lvl2pPr>
      <a:lvl3pPr marL="676341" algn="l" defTabSz="676341" rtl="0" eaLnBrk="1" latinLnBrk="0" hangingPunct="1">
        <a:defRPr sz="1291" kern="1200">
          <a:solidFill>
            <a:schemeClr val="tx1"/>
          </a:solidFill>
          <a:latin typeface="+mn-lt"/>
          <a:ea typeface="+mn-ea"/>
          <a:cs typeface="+mn-cs"/>
        </a:defRPr>
      </a:lvl3pPr>
      <a:lvl4pPr marL="1014511" algn="l" defTabSz="676341" rtl="0" eaLnBrk="1" latinLnBrk="0" hangingPunct="1">
        <a:defRPr sz="1291" kern="1200">
          <a:solidFill>
            <a:schemeClr val="tx1"/>
          </a:solidFill>
          <a:latin typeface="+mn-lt"/>
          <a:ea typeface="+mn-ea"/>
          <a:cs typeface="+mn-cs"/>
        </a:defRPr>
      </a:lvl4pPr>
      <a:lvl5pPr marL="1352683" algn="l" defTabSz="676341" rtl="0" eaLnBrk="1" latinLnBrk="0" hangingPunct="1">
        <a:defRPr sz="1291" kern="1200">
          <a:solidFill>
            <a:schemeClr val="tx1"/>
          </a:solidFill>
          <a:latin typeface="+mn-lt"/>
          <a:ea typeface="+mn-ea"/>
          <a:cs typeface="+mn-cs"/>
        </a:defRPr>
      </a:lvl5pPr>
      <a:lvl6pPr marL="1690852" algn="l" defTabSz="676341" rtl="0" eaLnBrk="1" latinLnBrk="0" hangingPunct="1">
        <a:defRPr sz="1291" kern="1200">
          <a:solidFill>
            <a:schemeClr val="tx1"/>
          </a:solidFill>
          <a:latin typeface="+mn-lt"/>
          <a:ea typeface="+mn-ea"/>
          <a:cs typeface="+mn-cs"/>
        </a:defRPr>
      </a:lvl6pPr>
      <a:lvl7pPr marL="2029023" algn="l" defTabSz="676341" rtl="0" eaLnBrk="1" latinLnBrk="0" hangingPunct="1">
        <a:defRPr sz="1291" kern="1200">
          <a:solidFill>
            <a:schemeClr val="tx1"/>
          </a:solidFill>
          <a:latin typeface="+mn-lt"/>
          <a:ea typeface="+mn-ea"/>
          <a:cs typeface="+mn-cs"/>
        </a:defRPr>
      </a:lvl7pPr>
      <a:lvl8pPr marL="2367194" algn="l" defTabSz="676341" rtl="0" eaLnBrk="1" latinLnBrk="0" hangingPunct="1">
        <a:defRPr sz="1291" kern="1200">
          <a:solidFill>
            <a:schemeClr val="tx1"/>
          </a:solidFill>
          <a:latin typeface="+mn-lt"/>
          <a:ea typeface="+mn-ea"/>
          <a:cs typeface="+mn-cs"/>
        </a:defRPr>
      </a:lvl8pPr>
      <a:lvl9pPr marL="2705364" algn="l" defTabSz="676341" rtl="0" eaLnBrk="1" latinLnBrk="0" hangingPunct="1">
        <a:defRPr sz="1291"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1980" y="1296192"/>
            <a:ext cx="8515018" cy="987421"/>
          </a:xfrm>
          <a:prstGeom prst="rect">
            <a:avLst/>
          </a:prstGeom>
        </p:spPr>
        <p:txBody>
          <a:bodyPr vert="horz" lIns="0" tIns="0" rIns="0" bIns="0" rtlCol="0" anchor="t" anchorCtr="0">
            <a:normAutofit/>
          </a:bodyPr>
          <a:lstStyle/>
          <a:p>
            <a:r>
              <a:rPr lang="nb-NO" dirty="0"/>
              <a:t>Klikk for å redigere tittelstil</a:t>
            </a:r>
            <a:endParaRPr lang="en-US" dirty="0"/>
          </a:p>
        </p:txBody>
      </p:sp>
      <p:sp>
        <p:nvSpPr>
          <p:cNvPr id="3" name="Text Placeholder 2"/>
          <p:cNvSpPr>
            <a:spLocks noGrp="1"/>
          </p:cNvSpPr>
          <p:nvPr>
            <p:ph type="body" idx="1"/>
          </p:nvPr>
        </p:nvSpPr>
        <p:spPr>
          <a:xfrm>
            <a:off x="321980" y="2743688"/>
            <a:ext cx="8515018" cy="2093302"/>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endParaRPr lang="en-US" dirty="0"/>
          </a:p>
        </p:txBody>
      </p:sp>
      <p:sp>
        <p:nvSpPr>
          <p:cNvPr id="4" name="Date Placeholder 3"/>
          <p:cNvSpPr>
            <a:spLocks noGrp="1"/>
          </p:cNvSpPr>
          <p:nvPr>
            <p:ph type="dt" sz="half" idx="2"/>
          </p:nvPr>
        </p:nvSpPr>
        <p:spPr>
          <a:xfrm>
            <a:off x="7982414" y="268201"/>
            <a:ext cx="670791" cy="268200"/>
          </a:xfrm>
          <a:prstGeom prst="rect">
            <a:avLst/>
          </a:prstGeom>
        </p:spPr>
        <p:txBody>
          <a:bodyPr vert="horz" lIns="0" tIns="0" rIns="0" bIns="0" rtlCol="0" anchor="t" anchorCtr="0">
            <a:normAutofit/>
          </a:bodyPr>
          <a:lstStyle>
            <a:lvl1pPr algn="l">
              <a:defRPr sz="695" b="1">
                <a:solidFill>
                  <a:schemeClr val="tx1"/>
                </a:solidFill>
              </a:defRPr>
            </a:lvl1pPr>
          </a:lstStyle>
          <a:p>
            <a:fld id="{A925799E-84BC-4161-A2BE-305BF3CD3D33}" type="datetime4">
              <a:rPr lang="nb-NO" smtClean="0">
                <a:solidFill>
                  <a:prstClr val="black"/>
                </a:solidFill>
              </a:rPr>
              <a:pPr/>
              <a:t>19. oktober 2022</a:t>
            </a:fld>
            <a:endParaRPr lang="nb-NO">
              <a:solidFill>
                <a:prstClr val="black"/>
              </a:solidFill>
            </a:endParaRPr>
          </a:p>
        </p:txBody>
      </p:sp>
      <p:sp>
        <p:nvSpPr>
          <p:cNvPr id="5" name="Footer Placeholder 4"/>
          <p:cNvSpPr>
            <a:spLocks noGrp="1"/>
          </p:cNvSpPr>
          <p:nvPr>
            <p:ph type="ftr" sz="quarter" idx="3"/>
          </p:nvPr>
        </p:nvSpPr>
        <p:spPr>
          <a:xfrm>
            <a:off x="6144444" y="268201"/>
            <a:ext cx="1609898" cy="268200"/>
          </a:xfrm>
          <a:prstGeom prst="rect">
            <a:avLst/>
          </a:prstGeom>
        </p:spPr>
        <p:txBody>
          <a:bodyPr vert="horz" lIns="0" tIns="0" rIns="0" bIns="0" rtlCol="0" anchor="t" anchorCtr="0">
            <a:normAutofit/>
          </a:bodyPr>
          <a:lstStyle>
            <a:lvl1pPr algn="l">
              <a:defRPr sz="695" b="1">
                <a:solidFill>
                  <a:schemeClr val="tx1"/>
                </a:solidFill>
              </a:defRPr>
            </a:lvl1pPr>
          </a:lstStyle>
          <a:p>
            <a:endParaRPr lang="nb-NO" dirty="0">
              <a:solidFill>
                <a:prstClr val="black"/>
              </a:solidFill>
            </a:endParaRPr>
          </a:p>
        </p:txBody>
      </p:sp>
      <p:sp>
        <p:nvSpPr>
          <p:cNvPr id="6" name="Slide Number Placeholder 5"/>
          <p:cNvSpPr>
            <a:spLocks noGrp="1"/>
          </p:cNvSpPr>
          <p:nvPr>
            <p:ph type="sldNum" sz="quarter" idx="4"/>
          </p:nvPr>
        </p:nvSpPr>
        <p:spPr>
          <a:xfrm>
            <a:off x="5648058" y="268201"/>
            <a:ext cx="268316" cy="268200"/>
          </a:xfrm>
          <a:prstGeom prst="rect">
            <a:avLst/>
          </a:prstGeom>
        </p:spPr>
        <p:txBody>
          <a:bodyPr vert="horz" lIns="0" tIns="0" rIns="0" bIns="0" rtlCol="0" anchor="t" anchorCtr="0">
            <a:normAutofit/>
          </a:bodyPr>
          <a:lstStyle>
            <a:lvl1pPr algn="l">
              <a:defRPr sz="695" b="1">
                <a:solidFill>
                  <a:schemeClr val="tx1"/>
                </a:solidFill>
              </a:defRPr>
            </a:lvl1pPr>
          </a:lstStyle>
          <a:p>
            <a:fld id="{D8865200-363A-4A27-BFE2-9D2920C8E885}" type="slidenum">
              <a:rPr lang="nb-NO" smtClean="0">
                <a:solidFill>
                  <a:prstClr val="black"/>
                </a:solidFill>
              </a:rPr>
              <a:pPr/>
              <a:t>‹#›</a:t>
            </a:fld>
            <a:endParaRPr lang="nb-NO">
              <a:solidFill>
                <a:prstClr val="black"/>
              </a:solidFill>
            </a:endParaRPr>
          </a:p>
        </p:txBody>
      </p:sp>
      <p:pic>
        <p:nvPicPr>
          <p:cNvPr id="9" name="Bild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88036" y="288037"/>
            <a:ext cx="543600" cy="657234"/>
          </a:xfrm>
          <a:prstGeom prst="rect">
            <a:avLst/>
          </a:prstGeom>
        </p:spPr>
      </p:pic>
    </p:spTree>
    <p:extLst>
      <p:ext uri="{BB962C8B-B14F-4D97-AF65-F5344CB8AC3E}">
        <p14:creationId xmlns:p14="http://schemas.microsoft.com/office/powerpoint/2010/main" val="1785510837"/>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Lst>
  <p:hf sldNum="0" hdr="0" ftr="0"/>
  <p:txStyles>
    <p:title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p:titleStyle>
    <p:bodyStyle>
      <a:lvl1pPr marL="169085" indent="-169085" algn="l" defTabSz="676341" rtl="0" eaLnBrk="1" latinLnBrk="0" hangingPunct="1">
        <a:lnSpc>
          <a:spcPct val="100000"/>
        </a:lnSpc>
        <a:spcBef>
          <a:spcPts val="740"/>
        </a:spcBef>
        <a:buFont typeface="Arial" panose="020B0604020202020204" pitchFamily="34" charset="0"/>
        <a:buChar char="•"/>
        <a:defRPr sz="1788" kern="1200">
          <a:solidFill>
            <a:schemeClr val="tx1"/>
          </a:solidFill>
          <a:latin typeface="+mn-lt"/>
          <a:ea typeface="+mn-ea"/>
          <a:cs typeface="+mn-cs"/>
        </a:defRPr>
      </a:lvl1pPr>
      <a:lvl2pPr marL="507257" indent="-169085" algn="l" defTabSz="676341" rtl="0" eaLnBrk="1" latinLnBrk="0" hangingPunct="1">
        <a:lnSpc>
          <a:spcPct val="100000"/>
        </a:lnSpc>
        <a:spcBef>
          <a:spcPts val="370"/>
        </a:spcBef>
        <a:buFont typeface="Arial" panose="020B0604020202020204" pitchFamily="34" charset="0"/>
        <a:buChar char="•"/>
        <a:defRPr sz="1589" kern="1200">
          <a:solidFill>
            <a:schemeClr val="tx1"/>
          </a:solidFill>
          <a:latin typeface="+mn-lt"/>
          <a:ea typeface="+mn-ea"/>
          <a:cs typeface="+mn-cs"/>
        </a:defRPr>
      </a:lvl2pPr>
      <a:lvl3pPr marL="845426" indent="-169085" algn="l" defTabSz="676341" rtl="0" eaLnBrk="1" latinLnBrk="0" hangingPunct="1">
        <a:lnSpc>
          <a:spcPct val="100000"/>
        </a:lnSpc>
        <a:spcBef>
          <a:spcPts val="370"/>
        </a:spcBef>
        <a:buFont typeface="Arial" panose="020B0604020202020204" pitchFamily="34" charset="0"/>
        <a:buChar char="•"/>
        <a:defRPr sz="1490" kern="1200">
          <a:solidFill>
            <a:schemeClr val="tx1"/>
          </a:solidFill>
          <a:latin typeface="+mn-lt"/>
          <a:ea typeface="+mn-ea"/>
          <a:cs typeface="+mn-cs"/>
        </a:defRPr>
      </a:lvl3pPr>
      <a:lvl4pPr marL="1183596" indent="-169085" algn="l" defTabSz="676341" rtl="0" eaLnBrk="1" latinLnBrk="0" hangingPunct="1">
        <a:lnSpc>
          <a:spcPct val="100000"/>
        </a:lnSpc>
        <a:spcBef>
          <a:spcPts val="370"/>
        </a:spcBef>
        <a:buFont typeface="Arial" panose="020B0604020202020204" pitchFamily="34" charset="0"/>
        <a:buChar char="•"/>
        <a:defRPr sz="1291" kern="1200">
          <a:solidFill>
            <a:schemeClr val="tx1"/>
          </a:solidFill>
          <a:latin typeface="+mn-lt"/>
          <a:ea typeface="+mn-ea"/>
          <a:cs typeface="+mn-cs"/>
        </a:defRPr>
      </a:lvl4pPr>
      <a:lvl5pPr marL="1521767" indent="-169085" algn="l" defTabSz="676341" rtl="0" eaLnBrk="1" latinLnBrk="0" hangingPunct="1">
        <a:lnSpc>
          <a:spcPct val="100000"/>
        </a:lnSpc>
        <a:spcBef>
          <a:spcPts val="370"/>
        </a:spcBef>
        <a:buFont typeface="Arial" panose="020B0604020202020204" pitchFamily="34" charset="0"/>
        <a:buChar char="•"/>
        <a:defRPr sz="1192" kern="1200">
          <a:solidFill>
            <a:schemeClr val="tx1"/>
          </a:solidFill>
          <a:latin typeface="+mn-lt"/>
          <a:ea typeface="+mn-ea"/>
          <a:cs typeface="+mn-cs"/>
        </a:defRPr>
      </a:lvl5pPr>
      <a:lvl6pPr marL="1859938"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6pPr>
      <a:lvl7pPr marL="219810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7pPr>
      <a:lvl8pPr marL="253627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8pPr>
      <a:lvl9pPr marL="2874449" indent="-169085" algn="l" defTabSz="676341" rtl="0" eaLnBrk="1" latinLnBrk="0" hangingPunct="1">
        <a:lnSpc>
          <a:spcPct val="90000"/>
        </a:lnSpc>
        <a:spcBef>
          <a:spcPts val="370"/>
        </a:spcBef>
        <a:buFont typeface="Arial" panose="020B0604020202020204" pitchFamily="34" charset="0"/>
        <a:buChar char="•"/>
        <a:defRPr sz="1291" kern="1200">
          <a:solidFill>
            <a:schemeClr val="tx1"/>
          </a:solidFill>
          <a:latin typeface="+mn-lt"/>
          <a:ea typeface="+mn-ea"/>
          <a:cs typeface="+mn-cs"/>
        </a:defRPr>
      </a:lvl9pPr>
    </p:bodyStyle>
    <p:otherStyle>
      <a:defPPr>
        <a:defRPr lang="en-US"/>
      </a:defPPr>
      <a:lvl1pPr marL="0" algn="l" defTabSz="676341" rtl="0" eaLnBrk="1" latinLnBrk="0" hangingPunct="1">
        <a:defRPr sz="1291" kern="1200">
          <a:solidFill>
            <a:schemeClr val="tx1"/>
          </a:solidFill>
          <a:latin typeface="+mn-lt"/>
          <a:ea typeface="+mn-ea"/>
          <a:cs typeface="+mn-cs"/>
        </a:defRPr>
      </a:lvl1pPr>
      <a:lvl2pPr marL="338170" algn="l" defTabSz="676341" rtl="0" eaLnBrk="1" latinLnBrk="0" hangingPunct="1">
        <a:defRPr sz="1291" kern="1200">
          <a:solidFill>
            <a:schemeClr val="tx1"/>
          </a:solidFill>
          <a:latin typeface="+mn-lt"/>
          <a:ea typeface="+mn-ea"/>
          <a:cs typeface="+mn-cs"/>
        </a:defRPr>
      </a:lvl2pPr>
      <a:lvl3pPr marL="676341" algn="l" defTabSz="676341" rtl="0" eaLnBrk="1" latinLnBrk="0" hangingPunct="1">
        <a:defRPr sz="1291" kern="1200">
          <a:solidFill>
            <a:schemeClr val="tx1"/>
          </a:solidFill>
          <a:latin typeface="+mn-lt"/>
          <a:ea typeface="+mn-ea"/>
          <a:cs typeface="+mn-cs"/>
        </a:defRPr>
      </a:lvl3pPr>
      <a:lvl4pPr marL="1014511" algn="l" defTabSz="676341" rtl="0" eaLnBrk="1" latinLnBrk="0" hangingPunct="1">
        <a:defRPr sz="1291" kern="1200">
          <a:solidFill>
            <a:schemeClr val="tx1"/>
          </a:solidFill>
          <a:latin typeface="+mn-lt"/>
          <a:ea typeface="+mn-ea"/>
          <a:cs typeface="+mn-cs"/>
        </a:defRPr>
      </a:lvl4pPr>
      <a:lvl5pPr marL="1352683" algn="l" defTabSz="676341" rtl="0" eaLnBrk="1" latinLnBrk="0" hangingPunct="1">
        <a:defRPr sz="1291" kern="1200">
          <a:solidFill>
            <a:schemeClr val="tx1"/>
          </a:solidFill>
          <a:latin typeface="+mn-lt"/>
          <a:ea typeface="+mn-ea"/>
          <a:cs typeface="+mn-cs"/>
        </a:defRPr>
      </a:lvl5pPr>
      <a:lvl6pPr marL="1690852" algn="l" defTabSz="676341" rtl="0" eaLnBrk="1" latinLnBrk="0" hangingPunct="1">
        <a:defRPr sz="1291" kern="1200">
          <a:solidFill>
            <a:schemeClr val="tx1"/>
          </a:solidFill>
          <a:latin typeface="+mn-lt"/>
          <a:ea typeface="+mn-ea"/>
          <a:cs typeface="+mn-cs"/>
        </a:defRPr>
      </a:lvl6pPr>
      <a:lvl7pPr marL="2029023" algn="l" defTabSz="676341" rtl="0" eaLnBrk="1" latinLnBrk="0" hangingPunct="1">
        <a:defRPr sz="1291" kern="1200">
          <a:solidFill>
            <a:schemeClr val="tx1"/>
          </a:solidFill>
          <a:latin typeface="+mn-lt"/>
          <a:ea typeface="+mn-ea"/>
          <a:cs typeface="+mn-cs"/>
        </a:defRPr>
      </a:lvl7pPr>
      <a:lvl8pPr marL="2367194" algn="l" defTabSz="676341" rtl="0" eaLnBrk="1" latinLnBrk="0" hangingPunct="1">
        <a:defRPr sz="1291" kern="1200">
          <a:solidFill>
            <a:schemeClr val="tx1"/>
          </a:solidFill>
          <a:latin typeface="+mn-lt"/>
          <a:ea typeface="+mn-ea"/>
          <a:cs typeface="+mn-cs"/>
        </a:defRPr>
      </a:lvl8pPr>
      <a:lvl9pPr marL="2705364" algn="l" defTabSz="676341" rtl="0" eaLnBrk="1" latinLnBrk="0" hangingPunct="1">
        <a:defRPr sz="129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628759" y="271985"/>
            <a:ext cx="7888070" cy="987422"/>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628759" y="1359922"/>
            <a:ext cx="7888070" cy="3241344"/>
          </a:xfrm>
          <a:prstGeom prst="rect">
            <a:avLst/>
          </a:prstGeom>
        </p:spPr>
        <p:txBody>
          <a:bodyPr vert="horz" lIns="91440" tIns="45720" rIns="91440" bIns="4572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p:cNvSpPr>
            <a:spLocks noGrp="1"/>
          </p:cNvSpPr>
          <p:nvPr>
            <p:ph type="dt" sz="half" idx="2"/>
          </p:nvPr>
        </p:nvSpPr>
        <p:spPr>
          <a:xfrm>
            <a:off x="628759" y="4734893"/>
            <a:ext cx="2057757" cy="271984"/>
          </a:xfrm>
          <a:prstGeom prst="rect">
            <a:avLst/>
          </a:prstGeom>
        </p:spPr>
        <p:txBody>
          <a:bodyPr vert="horz" lIns="91440" tIns="45720" rIns="91440" bIns="45720" rtlCol="0" anchor="ctr"/>
          <a:lstStyle>
            <a:lvl1pPr algn="l">
              <a:defRPr sz="894">
                <a:solidFill>
                  <a:schemeClr val="tx1">
                    <a:tint val="75000"/>
                  </a:schemeClr>
                </a:solidFill>
              </a:defRPr>
            </a:lvl1pPr>
          </a:lstStyle>
          <a:p>
            <a:fld id="{03C899A0-9405-4D6E-A312-0C12ECFB2396}" type="datetimeFigureOut">
              <a:rPr lang="nb-NO" smtClean="0"/>
              <a:t>19.10.2022</a:t>
            </a:fld>
            <a:endParaRPr lang="nb-NO"/>
          </a:p>
        </p:txBody>
      </p:sp>
      <p:sp>
        <p:nvSpPr>
          <p:cNvPr id="5" name="Plassholder for bunntekst 4"/>
          <p:cNvSpPr>
            <a:spLocks noGrp="1"/>
          </p:cNvSpPr>
          <p:nvPr>
            <p:ph type="ftr" sz="quarter" idx="3"/>
          </p:nvPr>
        </p:nvSpPr>
        <p:spPr>
          <a:xfrm>
            <a:off x="3029476" y="4734893"/>
            <a:ext cx="3086636" cy="271984"/>
          </a:xfrm>
          <a:prstGeom prst="rect">
            <a:avLst/>
          </a:prstGeom>
        </p:spPr>
        <p:txBody>
          <a:bodyPr vert="horz" lIns="91440" tIns="45720" rIns="91440" bIns="45720" rtlCol="0" anchor="ctr"/>
          <a:lstStyle>
            <a:lvl1pPr algn="ctr">
              <a:defRPr sz="894">
                <a:solidFill>
                  <a:schemeClr val="tx1">
                    <a:tint val="75000"/>
                  </a:schemeClr>
                </a:solidFill>
              </a:defRPr>
            </a:lvl1pPr>
          </a:lstStyle>
          <a:p>
            <a:endParaRPr lang="nb-NO"/>
          </a:p>
        </p:txBody>
      </p:sp>
      <p:sp>
        <p:nvSpPr>
          <p:cNvPr id="6" name="Plassholder for lysbildenummer 5"/>
          <p:cNvSpPr>
            <a:spLocks noGrp="1"/>
          </p:cNvSpPr>
          <p:nvPr>
            <p:ph type="sldNum" sz="quarter" idx="4"/>
          </p:nvPr>
        </p:nvSpPr>
        <p:spPr>
          <a:xfrm>
            <a:off x="6459072" y="4734893"/>
            <a:ext cx="2057757" cy="271984"/>
          </a:xfrm>
          <a:prstGeom prst="rect">
            <a:avLst/>
          </a:prstGeom>
        </p:spPr>
        <p:txBody>
          <a:bodyPr vert="horz" lIns="91440" tIns="45720" rIns="91440" bIns="45720" rtlCol="0" anchor="ctr"/>
          <a:lstStyle>
            <a:lvl1pPr algn="r">
              <a:defRPr sz="894">
                <a:solidFill>
                  <a:schemeClr val="tx1">
                    <a:tint val="75000"/>
                  </a:schemeClr>
                </a:solidFill>
              </a:defRPr>
            </a:lvl1pPr>
          </a:lstStyle>
          <a:p>
            <a:fld id="{517487A3-BC12-4C61-8879-C71838E06A57}" type="slidenum">
              <a:rPr lang="nb-NO" smtClean="0"/>
              <a:t>‹#›</a:t>
            </a:fld>
            <a:endParaRPr lang="nb-NO"/>
          </a:p>
        </p:txBody>
      </p:sp>
    </p:spTree>
    <p:extLst>
      <p:ext uri="{BB962C8B-B14F-4D97-AF65-F5344CB8AC3E}">
        <p14:creationId xmlns:p14="http://schemas.microsoft.com/office/powerpoint/2010/main" val="2258107314"/>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Lst>
  <p:txStyles>
    <p:titleStyle>
      <a:lvl1pPr algn="l" defTabSz="681137" rtl="0" eaLnBrk="1" latinLnBrk="0" hangingPunct="1">
        <a:lnSpc>
          <a:spcPct val="90000"/>
        </a:lnSpc>
        <a:spcBef>
          <a:spcPct val="0"/>
        </a:spcBef>
        <a:buNone/>
        <a:defRPr sz="3278" kern="1200">
          <a:solidFill>
            <a:schemeClr val="tx1"/>
          </a:solidFill>
          <a:latin typeface="+mj-lt"/>
          <a:ea typeface="+mj-ea"/>
          <a:cs typeface="+mj-cs"/>
        </a:defRPr>
      </a:lvl1pPr>
    </p:titleStyle>
    <p:bodyStyle>
      <a:lvl1pPr marL="170284" indent="-170284" algn="l" defTabSz="681137" rtl="0" eaLnBrk="1" latinLnBrk="0" hangingPunct="1">
        <a:lnSpc>
          <a:spcPct val="90000"/>
        </a:lnSpc>
        <a:spcBef>
          <a:spcPts val="745"/>
        </a:spcBef>
        <a:buFont typeface="Arial" panose="020B0604020202020204" pitchFamily="34" charset="0"/>
        <a:buChar char="•"/>
        <a:defRPr sz="2086" kern="1200">
          <a:solidFill>
            <a:schemeClr val="tx1"/>
          </a:solidFill>
          <a:latin typeface="+mn-lt"/>
          <a:ea typeface="+mn-ea"/>
          <a:cs typeface="+mn-cs"/>
        </a:defRPr>
      </a:lvl1pPr>
      <a:lvl2pPr marL="510852" indent="-170284" algn="l" defTabSz="681137" rtl="0" eaLnBrk="1" latinLnBrk="0" hangingPunct="1">
        <a:lnSpc>
          <a:spcPct val="90000"/>
        </a:lnSpc>
        <a:spcBef>
          <a:spcPts val="372"/>
        </a:spcBef>
        <a:buFont typeface="Arial" panose="020B0604020202020204" pitchFamily="34" charset="0"/>
        <a:buChar char="•"/>
        <a:defRPr sz="1788" kern="1200">
          <a:solidFill>
            <a:schemeClr val="tx1"/>
          </a:solidFill>
          <a:latin typeface="+mn-lt"/>
          <a:ea typeface="+mn-ea"/>
          <a:cs typeface="+mn-cs"/>
        </a:defRPr>
      </a:lvl2pPr>
      <a:lvl3pPr marL="851421" indent="-170284" algn="l" defTabSz="681137" rtl="0" eaLnBrk="1" latinLnBrk="0" hangingPunct="1">
        <a:lnSpc>
          <a:spcPct val="90000"/>
        </a:lnSpc>
        <a:spcBef>
          <a:spcPts val="372"/>
        </a:spcBef>
        <a:buFont typeface="Arial" panose="020B0604020202020204" pitchFamily="34" charset="0"/>
        <a:buChar char="•"/>
        <a:defRPr sz="1490" kern="1200">
          <a:solidFill>
            <a:schemeClr val="tx1"/>
          </a:solidFill>
          <a:latin typeface="+mn-lt"/>
          <a:ea typeface="+mn-ea"/>
          <a:cs typeface="+mn-cs"/>
        </a:defRPr>
      </a:lvl3pPr>
      <a:lvl4pPr marL="1191989"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4pPr>
      <a:lvl5pPr marL="1532557"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5pPr>
      <a:lvl6pPr marL="1873126"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6pPr>
      <a:lvl7pPr marL="2213694"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7pPr>
      <a:lvl8pPr marL="2554262"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8pPr>
      <a:lvl9pPr marL="2894830" indent="-170284" algn="l" defTabSz="681137" rtl="0" eaLnBrk="1" latinLnBrk="0" hangingPunct="1">
        <a:lnSpc>
          <a:spcPct val="90000"/>
        </a:lnSpc>
        <a:spcBef>
          <a:spcPts val="372"/>
        </a:spcBef>
        <a:buFont typeface="Arial" panose="020B0604020202020204" pitchFamily="34" charset="0"/>
        <a:buChar char="•"/>
        <a:defRPr sz="1341" kern="1200">
          <a:solidFill>
            <a:schemeClr val="tx1"/>
          </a:solidFill>
          <a:latin typeface="+mn-lt"/>
          <a:ea typeface="+mn-ea"/>
          <a:cs typeface="+mn-cs"/>
        </a:defRPr>
      </a:lvl9pPr>
    </p:bodyStyle>
    <p:otherStyle>
      <a:defPPr>
        <a:defRPr lang="nb-NO"/>
      </a:defPPr>
      <a:lvl1pPr marL="0" algn="l" defTabSz="681137" rtl="0" eaLnBrk="1" latinLnBrk="0" hangingPunct="1">
        <a:defRPr sz="1341" kern="1200">
          <a:solidFill>
            <a:schemeClr val="tx1"/>
          </a:solidFill>
          <a:latin typeface="+mn-lt"/>
          <a:ea typeface="+mn-ea"/>
          <a:cs typeface="+mn-cs"/>
        </a:defRPr>
      </a:lvl1pPr>
      <a:lvl2pPr marL="340568" algn="l" defTabSz="681137" rtl="0" eaLnBrk="1" latinLnBrk="0" hangingPunct="1">
        <a:defRPr sz="1341" kern="1200">
          <a:solidFill>
            <a:schemeClr val="tx1"/>
          </a:solidFill>
          <a:latin typeface="+mn-lt"/>
          <a:ea typeface="+mn-ea"/>
          <a:cs typeface="+mn-cs"/>
        </a:defRPr>
      </a:lvl2pPr>
      <a:lvl3pPr marL="681137" algn="l" defTabSz="681137" rtl="0" eaLnBrk="1" latinLnBrk="0" hangingPunct="1">
        <a:defRPr sz="1341" kern="1200">
          <a:solidFill>
            <a:schemeClr val="tx1"/>
          </a:solidFill>
          <a:latin typeface="+mn-lt"/>
          <a:ea typeface="+mn-ea"/>
          <a:cs typeface="+mn-cs"/>
        </a:defRPr>
      </a:lvl3pPr>
      <a:lvl4pPr marL="1021705" algn="l" defTabSz="681137" rtl="0" eaLnBrk="1" latinLnBrk="0" hangingPunct="1">
        <a:defRPr sz="1341" kern="1200">
          <a:solidFill>
            <a:schemeClr val="tx1"/>
          </a:solidFill>
          <a:latin typeface="+mn-lt"/>
          <a:ea typeface="+mn-ea"/>
          <a:cs typeface="+mn-cs"/>
        </a:defRPr>
      </a:lvl4pPr>
      <a:lvl5pPr marL="1362273" algn="l" defTabSz="681137" rtl="0" eaLnBrk="1" latinLnBrk="0" hangingPunct="1">
        <a:defRPr sz="1341" kern="1200">
          <a:solidFill>
            <a:schemeClr val="tx1"/>
          </a:solidFill>
          <a:latin typeface="+mn-lt"/>
          <a:ea typeface="+mn-ea"/>
          <a:cs typeface="+mn-cs"/>
        </a:defRPr>
      </a:lvl5pPr>
      <a:lvl6pPr marL="1702841" algn="l" defTabSz="681137" rtl="0" eaLnBrk="1" latinLnBrk="0" hangingPunct="1">
        <a:defRPr sz="1341" kern="1200">
          <a:solidFill>
            <a:schemeClr val="tx1"/>
          </a:solidFill>
          <a:latin typeface="+mn-lt"/>
          <a:ea typeface="+mn-ea"/>
          <a:cs typeface="+mn-cs"/>
        </a:defRPr>
      </a:lvl6pPr>
      <a:lvl7pPr marL="2043410" algn="l" defTabSz="681137" rtl="0" eaLnBrk="1" latinLnBrk="0" hangingPunct="1">
        <a:defRPr sz="1341" kern="1200">
          <a:solidFill>
            <a:schemeClr val="tx1"/>
          </a:solidFill>
          <a:latin typeface="+mn-lt"/>
          <a:ea typeface="+mn-ea"/>
          <a:cs typeface="+mn-cs"/>
        </a:defRPr>
      </a:lvl7pPr>
      <a:lvl8pPr marL="2383978" algn="l" defTabSz="681137" rtl="0" eaLnBrk="1" latinLnBrk="0" hangingPunct="1">
        <a:defRPr sz="1341" kern="1200">
          <a:solidFill>
            <a:schemeClr val="tx1"/>
          </a:solidFill>
          <a:latin typeface="+mn-lt"/>
          <a:ea typeface="+mn-ea"/>
          <a:cs typeface="+mn-cs"/>
        </a:defRPr>
      </a:lvl8pPr>
      <a:lvl9pPr marL="2724546" algn="l" defTabSz="681137" rtl="0" eaLnBrk="1" latinLnBrk="0" hangingPunct="1">
        <a:defRPr sz="134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microsoft.com/office/2007/relationships/media" Target="../media/media1.mp4"/><Relationship Id="rId1" Type="http://schemas.openxmlformats.org/officeDocument/2006/relationships/video" Target="NULL" TargetMode="External"/><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gif"/><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36.jpe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hyperlink" Target="https://www.difi.no/fagomrader-og-tjenester/digitalisering-og-samordning/nasjonal-arkitektur/informasjonsforvaltning" TargetMode="External"/><Relationship Id="rId2" Type="http://schemas.openxmlformats.org/officeDocument/2006/relationships/image" Target="../media/image57.png"/><Relationship Id="rId1" Type="http://schemas.openxmlformats.org/officeDocument/2006/relationships/slideLayout" Target="../slideLayouts/slideLayout74.xml"/><Relationship Id="rId5" Type="http://schemas.openxmlformats.org/officeDocument/2006/relationships/image" Target="../media/image58.png"/><Relationship Id="rId4" Type="http://schemas.openxmlformats.org/officeDocument/2006/relationships/hyperlink" Target="file:///C:\Users\KMD5160\AppData\Local\Microsoft\Windows\Temporary%20Internet%20Files\Content.Outlook\VFKY5NJ0\Digitaliseringsrundskrivet%202016.docx#_ftn9"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15.xml"/><Relationship Id="rId4" Type="http://schemas.openxmlformats.org/officeDocument/2006/relationships/image" Target="../media/image60.png"/></Relationships>
</file>

<file path=ppt/slides/_rels/slide2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65.png"/><Relationship Id="rId7" Type="http://schemas.openxmlformats.org/officeDocument/2006/relationships/diagramColors" Target="../diagrams/colors2.xml"/><Relationship Id="rId2" Type="http://schemas.openxmlformats.org/officeDocument/2006/relationships/image" Target="../media/image64.png"/><Relationship Id="rId1" Type="http://schemas.openxmlformats.org/officeDocument/2006/relationships/slideLayout" Target="../slideLayouts/slideLayout53.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66.png"/></Relationships>
</file>

<file path=ppt/slides/_rels/slide2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4.xml"/></Relationships>
</file>

<file path=ppt/slides/_rels/slide3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75.xml"/></Relationships>
</file>

<file path=ppt/slides/_rels/slide3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5.xml"/></Relationships>
</file>

<file path=ppt/slides/_rels/slide3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75.xml"/></Relationships>
</file>

<file path=ppt/slides/_rels/slide36.xml.rels><?xml version="1.0" encoding="UTF-8" standalone="yes"?>
<Relationships xmlns="http://schemas.openxmlformats.org/package/2006/relationships"><Relationship Id="rId3" Type="http://schemas.openxmlformats.org/officeDocument/2006/relationships/hyperlink" Target="https://begrepskatalog/lexaurus/pendingchanges" TargetMode="External"/><Relationship Id="rId2" Type="http://schemas.openxmlformats.org/officeDocument/2006/relationships/image" Target="../media/image77.png"/><Relationship Id="rId1" Type="http://schemas.openxmlformats.org/officeDocument/2006/relationships/slideLayout" Target="../slideLayouts/slideLayout74.xml"/><Relationship Id="rId4" Type="http://schemas.openxmlformats.org/officeDocument/2006/relationships/hyperlink" Target="http://begrepskatalog/begrep/6b41c6c7-50cd-11e7-b7c5-005056821322" TargetMode="External"/></Relationships>
</file>

<file path=ppt/slides/_rels/slide3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75.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2.xml"/><Relationship Id="rId1" Type="http://schemas.openxmlformats.org/officeDocument/2006/relationships/tags" Target="../tags/tag2.xml"/><Relationship Id="rId5" Type="http://schemas.openxmlformats.org/officeDocument/2006/relationships/image" Target="../media/image79.emf"/><Relationship Id="rId4" Type="http://schemas.openxmlformats.org/officeDocument/2006/relationships/oleObject" Target="../embeddings/oleObject2.bin"/></Relationships>
</file>

<file path=ppt/slides/_rels/slide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7.xml"/><Relationship Id="rId1" Type="http://schemas.openxmlformats.org/officeDocument/2006/relationships/slideLayout" Target="../slideLayouts/slideLayout42.xml"/><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png"/></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103.xml"/></Relationships>
</file>

<file path=ppt/slides/_rels/slide4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7.xml"/></Relationships>
</file>

<file path=ppt/slides/_rels/slide41.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62.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4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9.xml"/><Relationship Id="rId1" Type="http://schemas.openxmlformats.org/officeDocument/2006/relationships/slideLayout" Target="../slideLayouts/slideLayout55.xml"/></Relationships>
</file>

<file path=ppt/slides/_rels/slide4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hyperlink" Target="https://martinfowler.com/articles/data-monolith-to-mesh.html" TargetMode="Externa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svg"/><Relationship Id="rId7" Type="http://schemas.openxmlformats.org/officeDocument/2006/relationships/image" Target="../media/image101.svg"/><Relationship Id="rId2" Type="http://schemas.openxmlformats.org/officeDocument/2006/relationships/image" Target="../media/image96.png"/><Relationship Id="rId1" Type="http://schemas.openxmlformats.org/officeDocument/2006/relationships/slideLayout" Target="../slideLayouts/slideLayout2.xml"/><Relationship Id="rId6" Type="http://schemas.openxmlformats.org/officeDocument/2006/relationships/image" Target="../media/image100.png"/><Relationship Id="rId5" Type="http://schemas.openxmlformats.org/officeDocument/2006/relationships/image" Target="../media/image99.svg"/><Relationship Id="rId4" Type="http://schemas.openxmlformats.org/officeDocument/2006/relationships/image" Target="../media/image98.png"/><Relationship Id="rId9" Type="http://schemas.openxmlformats.org/officeDocument/2006/relationships/image" Target="../media/image103.svg"/></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1.xml"/><Relationship Id="rId1" Type="http://schemas.openxmlformats.org/officeDocument/2006/relationships/slideLayout" Target="../slideLayouts/slideLayout1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image" Target="../media/image104.png"/><Relationship Id="rId1" Type="http://schemas.openxmlformats.org/officeDocument/2006/relationships/slideLayout" Target="../slideLayouts/slideLayout2.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53.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svg"/><Relationship Id="rId7" Type="http://schemas.openxmlformats.org/officeDocument/2006/relationships/image" Target="../media/image115.svg"/><Relationship Id="rId12" Type="http://schemas.openxmlformats.org/officeDocument/2006/relationships/image" Target="../media/image120.svg"/><Relationship Id="rId2" Type="http://schemas.openxmlformats.org/officeDocument/2006/relationships/image" Target="../media/image110.png"/><Relationship Id="rId1" Type="http://schemas.openxmlformats.org/officeDocument/2006/relationships/slideLayout" Target="../slideLayouts/slideLayout17.xml"/><Relationship Id="rId6" Type="http://schemas.openxmlformats.org/officeDocument/2006/relationships/image" Target="../media/image114.png"/><Relationship Id="rId11" Type="http://schemas.openxmlformats.org/officeDocument/2006/relationships/image" Target="../media/image119.svg"/><Relationship Id="rId5" Type="http://schemas.openxmlformats.org/officeDocument/2006/relationships/image" Target="../media/image113.svg"/><Relationship Id="rId10" Type="http://schemas.openxmlformats.org/officeDocument/2006/relationships/image" Target="../media/image118.png"/><Relationship Id="rId4" Type="http://schemas.openxmlformats.org/officeDocument/2006/relationships/image" Target="../media/image112.png"/><Relationship Id="rId9" Type="http://schemas.openxmlformats.org/officeDocument/2006/relationships/image" Target="../media/image117.sv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45.xml"/></Relationships>
</file>

<file path=ppt/slides/_rels/slide5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47.xml"/><Relationship Id="rId4" Type="http://schemas.openxmlformats.org/officeDocument/2006/relationships/image" Target="../media/image125.svg"/></Relationships>
</file>

<file path=ppt/slides/_rels/slide5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2.xml"/><Relationship Id="rId1" Type="http://schemas.openxmlformats.org/officeDocument/2006/relationships/slideLayout" Target="../slideLayouts/slideLayout52.xml"/></Relationships>
</file>

<file path=ppt/slides/_rels/slide59.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74.xml"/></Relationships>
</file>

<file path=ppt/slides/_rels/slide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23.xml"/><Relationship Id="rId1" Type="http://schemas.openxmlformats.org/officeDocument/2006/relationships/slideLayout" Target="../slideLayouts/slideLayout74.xml"/></Relationships>
</file>

<file path=ppt/slides/_rels/slide61.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24.xml"/><Relationship Id="rId1" Type="http://schemas.openxmlformats.org/officeDocument/2006/relationships/slideLayout" Target="../slideLayouts/slideLayout74.xml"/></Relationships>
</file>

<file path=ppt/slides/_rels/slide62.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7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5.xml"/></Relationships>
</file>

<file path=ppt/slides/_rels/slide6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hyperlink" Target="mailto:geir.myrind@skatteetaten.no" TargetMode="External"/><Relationship Id="rId1" Type="http://schemas.openxmlformats.org/officeDocument/2006/relationships/slideLayout" Target="../slideLayouts/slideLayout75.xml"/></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image" Target="../media/image32.jpeg"/></Relationships>
</file>

<file path=ppt/slides/_rels/slide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4.jpeg"/></Relationships>
</file>

<file path=ppt/slides/_rels/slide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C331A9-B59F-4169-852C-66E561DEC7FF}"/>
              </a:ext>
            </a:extLst>
          </p:cNvPr>
          <p:cNvSpPr>
            <a:spLocks noGrp="1"/>
          </p:cNvSpPr>
          <p:nvPr>
            <p:ph type="title"/>
          </p:nvPr>
        </p:nvSpPr>
        <p:spPr>
          <a:xfrm>
            <a:off x="298379" y="2798604"/>
            <a:ext cx="8456821" cy="1869743"/>
          </a:xfrm>
        </p:spPr>
        <p:txBody>
          <a:bodyPr wrap="square" anchor="t">
            <a:noAutofit/>
          </a:bodyPr>
          <a:lstStyle/>
          <a:p>
            <a:r>
              <a:rPr lang="nb-NO" sz="3600" dirty="0">
                <a:cs typeface="Arial"/>
              </a:rPr>
              <a:t>Statlig IT - </a:t>
            </a:r>
            <a:r>
              <a:rPr lang="nb-NO" sz="3600" dirty="0">
                <a:solidFill>
                  <a:srgbClr val="000000"/>
                </a:solidFill>
              </a:rPr>
              <a:t>S</a:t>
            </a:r>
            <a:r>
              <a:rPr lang="nb-NO" sz="3600" dirty="0">
                <a:solidFill>
                  <a:srgbClr val="000000"/>
                </a:solidFill>
                <a:ea typeface="Calibri" panose="020F0502020204030204" pitchFamily="34" charset="0"/>
              </a:rPr>
              <a:t>tatus, styring og viktige utfordringer</a:t>
            </a:r>
            <a:r>
              <a:rPr lang="nb-NO" sz="3600" dirty="0">
                <a:solidFill>
                  <a:srgbClr val="212121"/>
                </a:solidFill>
                <a:ea typeface="Calibri" panose="020F0502020204030204" pitchFamily="34" charset="0"/>
              </a:rPr>
              <a:t> </a:t>
            </a:r>
            <a:r>
              <a:rPr lang="nb-NO" sz="3600" dirty="0">
                <a:solidFill>
                  <a:srgbClr val="000000"/>
                </a:solidFill>
                <a:ea typeface="Calibri" panose="020F0502020204030204" pitchFamily="34" charset="0"/>
              </a:rPr>
              <a:t>sett fra Skatteetaten</a:t>
            </a:r>
            <a:br>
              <a:rPr lang="nb-NO" sz="3600" dirty="0">
                <a:solidFill>
                  <a:srgbClr val="000000"/>
                </a:solidFill>
                <a:ea typeface="Calibri" panose="020F0502020204030204" pitchFamily="34" charset="0"/>
              </a:rPr>
            </a:br>
            <a:br>
              <a:rPr lang="nb-NO" sz="3600" dirty="0">
                <a:solidFill>
                  <a:srgbClr val="000000"/>
                </a:solidFill>
                <a:ea typeface="Calibri" panose="020F0502020204030204" pitchFamily="34" charset="0"/>
              </a:rPr>
            </a:br>
            <a:r>
              <a:rPr lang="nb-NO" sz="2000" dirty="0">
                <a:solidFill>
                  <a:srgbClr val="000000"/>
                </a:solidFill>
                <a:ea typeface="Calibri" panose="020F0502020204030204" pitchFamily="34" charset="0"/>
              </a:rPr>
              <a:t>Geir Myrind, Sjefsinformasjonsarkitekt</a:t>
            </a:r>
            <a:endParaRPr lang="nb-NO" sz="3200" dirty="0">
              <a:cs typeface="Arial"/>
            </a:endParaRPr>
          </a:p>
        </p:txBody>
      </p:sp>
      <p:pic>
        <p:nvPicPr>
          <p:cNvPr id="4" name="Bilde 3" descr="Personer som deltar på et møte">
            <a:extLst>
              <a:ext uri="{FF2B5EF4-FFF2-40B4-BE49-F238E27FC236}">
                <a16:creationId xmlns:a16="http://schemas.microsoft.com/office/drawing/2014/main" id="{97FE2B71-CD56-4343-B4F1-4763838896FC}"/>
              </a:ext>
            </a:extLst>
          </p:cNvPr>
          <p:cNvPicPr>
            <a:picLocks noChangeAspect="1"/>
          </p:cNvPicPr>
          <p:nvPr/>
        </p:nvPicPr>
        <p:blipFill rotWithShape="1">
          <a:blip r:embed="rId2"/>
          <a:srcRect l="8947" r="2226"/>
          <a:stretch/>
        </p:blipFill>
        <p:spPr>
          <a:xfrm>
            <a:off x="6051898" y="177306"/>
            <a:ext cx="2920358" cy="2199847"/>
          </a:xfrm>
          <a:prstGeom prst="rect">
            <a:avLst/>
          </a:prstGeom>
          <a:noFill/>
        </p:spPr>
      </p:pic>
    </p:spTree>
    <p:extLst>
      <p:ext uri="{BB962C8B-B14F-4D97-AF65-F5344CB8AC3E}">
        <p14:creationId xmlns:p14="http://schemas.microsoft.com/office/powerpoint/2010/main" val="27832383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Image result for internationaliz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03586"/>
            <a:ext cx="9145588" cy="4004988"/>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1052664" y="440087"/>
            <a:ext cx="8371046" cy="512448"/>
          </a:xfrm>
        </p:spPr>
        <p:txBody>
          <a:bodyPr/>
          <a:lstStyle/>
          <a:p>
            <a:r>
              <a:rPr lang="nb-NO" dirty="0"/>
              <a:t>Internasjonalisering er </a:t>
            </a:r>
            <a:r>
              <a:rPr lang="nb-NO" dirty="0" err="1"/>
              <a:t>disruptivt</a:t>
            </a:r>
            <a:r>
              <a:rPr lang="nb-NO" dirty="0"/>
              <a:t>!</a:t>
            </a:r>
          </a:p>
        </p:txBody>
      </p:sp>
      <p:sp>
        <p:nvSpPr>
          <p:cNvPr id="3" name="Plassholder for innhold 2"/>
          <p:cNvSpPr>
            <a:spLocks noGrp="1"/>
          </p:cNvSpPr>
          <p:nvPr>
            <p:ph idx="1"/>
          </p:nvPr>
        </p:nvSpPr>
        <p:spPr/>
        <p:txBody>
          <a:bodyPr/>
          <a:lstStyle/>
          <a:p>
            <a:endParaRPr lang="nb-NO"/>
          </a:p>
        </p:txBody>
      </p:sp>
    </p:spTree>
    <p:extLst>
      <p:ext uri="{BB962C8B-B14F-4D97-AF65-F5344CB8AC3E}">
        <p14:creationId xmlns:p14="http://schemas.microsoft.com/office/powerpoint/2010/main" val="30760810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Image result for secret net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5588" cy="5152444"/>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288035" y="268201"/>
            <a:ext cx="8686999" cy="346249"/>
          </a:xfrm>
        </p:spPr>
        <p:txBody>
          <a:bodyPr/>
          <a:lstStyle/>
          <a:p>
            <a:r>
              <a:rPr lang="nb-NO" dirty="0">
                <a:solidFill>
                  <a:schemeClr val="bg1"/>
                </a:solidFill>
              </a:rPr>
              <a:t>Transaksjoner flyttes til lukkede nettverk utenfor Norge</a:t>
            </a:r>
          </a:p>
        </p:txBody>
      </p:sp>
      <p:sp>
        <p:nvSpPr>
          <p:cNvPr id="3" name="Plassholder for innhold 2"/>
          <p:cNvSpPr>
            <a:spLocks noGrp="1"/>
          </p:cNvSpPr>
          <p:nvPr>
            <p:ph idx="1"/>
          </p:nvPr>
        </p:nvSpPr>
        <p:spPr/>
        <p:txBody>
          <a:bodyPr/>
          <a:lstStyle/>
          <a:p>
            <a:endParaRPr lang="nb-NO"/>
          </a:p>
        </p:txBody>
      </p:sp>
    </p:spTree>
    <p:extLst>
      <p:ext uri="{BB962C8B-B14F-4D97-AF65-F5344CB8AC3E}">
        <p14:creationId xmlns:p14="http://schemas.microsoft.com/office/powerpoint/2010/main" val="13018034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tel 5"/>
          <p:cNvSpPr>
            <a:spLocks noGrp="1"/>
          </p:cNvSpPr>
          <p:nvPr>
            <p:ph type="title"/>
          </p:nvPr>
        </p:nvSpPr>
        <p:spPr/>
        <p:txBody>
          <a:bodyPr/>
          <a:lstStyle/>
          <a:p>
            <a:endParaRPr lang="nb-NO"/>
          </a:p>
        </p:txBody>
      </p:sp>
      <p:pic>
        <p:nvPicPr>
          <p:cNvPr id="5" name="HOLD KÆFT, hvor det sejler inde hos SKAT">
            <a:hlinkClick r:id="" action="ppaction://media"/>
          </p:cNvPr>
          <p:cNvPicPr>
            <a:picLocks noGrp="1" noChangeAspect="1"/>
          </p:cNvPicPr>
          <p:nvPr>
            <p:ph idx="1"/>
            <a:videoFile r:link="rId1"/>
            <p:extLst>
              <p:ext uri="{DAA4B4D4-6D71-4841-9C94-3DE7FCFB9230}">
                <p14:media xmlns:p14="http://schemas.microsoft.com/office/powerpoint/2010/main" r:embed="rId2">
                  <p14:trim end="2784"/>
                </p14:media>
              </p:ext>
            </p:extLst>
          </p:nvPr>
        </p:nvPicPr>
        <p:blipFill>
          <a:blip r:embed="rId4"/>
          <a:stretch>
            <a:fillRect/>
          </a:stretch>
        </p:blipFill>
        <p:spPr>
          <a:xfrm>
            <a:off x="922370" y="595360"/>
            <a:ext cx="5802280" cy="3249107"/>
          </a:xfrm>
        </p:spPr>
      </p:pic>
    </p:spTree>
    <p:extLst>
      <p:ext uri="{BB962C8B-B14F-4D97-AF65-F5344CB8AC3E}">
        <p14:creationId xmlns:p14="http://schemas.microsoft.com/office/powerpoint/2010/main" val="168774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386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a:xfrm>
            <a:off x="288036" y="1264108"/>
            <a:ext cx="8371046" cy="1024896"/>
          </a:xfrm>
        </p:spPr>
        <p:txBody>
          <a:bodyPr/>
          <a:lstStyle/>
          <a:p>
            <a:r>
              <a:rPr lang="nb-NO" dirty="0"/>
              <a:t>Svindel og sikkerhetsbrudd med konsekvenser</a:t>
            </a:r>
          </a:p>
        </p:txBody>
      </p:sp>
      <p:sp>
        <p:nvSpPr>
          <p:cNvPr id="6" name="Plassholder for innhold 5"/>
          <p:cNvSpPr>
            <a:spLocks noGrp="1"/>
          </p:cNvSpPr>
          <p:nvPr>
            <p:ph idx="1"/>
          </p:nvPr>
        </p:nvSpPr>
        <p:spPr>
          <a:xfrm>
            <a:off x="288036" y="2405270"/>
            <a:ext cx="6291668" cy="2514600"/>
          </a:xfrm>
        </p:spPr>
        <p:txBody>
          <a:bodyPr>
            <a:normAutofit fontScale="85000" lnSpcReduction="20000"/>
          </a:bodyPr>
          <a:lstStyle/>
          <a:p>
            <a:r>
              <a:rPr lang="nb-NO" sz="2400" dirty="0"/>
              <a:t>Danske Skat svindlet for 12,3 MRD DKK</a:t>
            </a:r>
          </a:p>
          <a:p>
            <a:r>
              <a:rPr lang="nb-NO" sz="2400" dirty="0"/>
              <a:t>Nytt IT-system for innkreving vraket etter 8 uker</a:t>
            </a:r>
          </a:p>
          <a:p>
            <a:r>
              <a:rPr lang="nb-NO" sz="2400" dirty="0"/>
              <a:t>Stadige saker i media om sikkerhetsbrudd</a:t>
            </a:r>
          </a:p>
          <a:p>
            <a:pPr lvl="1"/>
            <a:r>
              <a:rPr lang="nb-NO" sz="2000" dirty="0"/>
              <a:t>Vesentlig bortfall av tillit i befolkningen og politisk ledelse</a:t>
            </a:r>
          </a:p>
          <a:p>
            <a:r>
              <a:rPr lang="nb-NO" sz="2400" dirty="0"/>
              <a:t>Danske Skat ble nedlagt 1. juli 2018</a:t>
            </a:r>
          </a:p>
          <a:p>
            <a:pPr lvl="1"/>
            <a:r>
              <a:rPr lang="nb-NO" sz="2000" dirty="0"/>
              <a:t>Statsminister og Finansminister hadde ingen tillit til ledelsen og organisasjonen</a:t>
            </a:r>
          </a:p>
          <a:p>
            <a:pPr lvl="1"/>
            <a:r>
              <a:rPr lang="nb-NO" sz="2000" dirty="0"/>
              <a:t>Tre av fire siste skattedirektører fått sparken</a:t>
            </a:r>
          </a:p>
          <a:p>
            <a:r>
              <a:rPr lang="nb-NO" sz="2200" dirty="0"/>
              <a:t>Ny skandale på vei om eiendomsskatt i disse dager…</a:t>
            </a:r>
          </a:p>
        </p:txBody>
      </p:sp>
      <p:sp>
        <p:nvSpPr>
          <p:cNvPr id="4" name="Plassholder for dato 3"/>
          <p:cNvSpPr>
            <a:spLocks noGrp="1"/>
          </p:cNvSpPr>
          <p:nvPr>
            <p:ph type="dt" sz="half" idx="10"/>
          </p:nvPr>
        </p:nvSpPr>
        <p:spPr/>
        <p:txBody>
          <a:bodyPr/>
          <a:lstStyle/>
          <a:p>
            <a:fld id="{587A696B-9A70-43E3-B282-79930C633F78}" type="datetime4">
              <a:rPr lang="nb-NO" smtClean="0"/>
              <a:t>19. oktober 2022</a:t>
            </a:fld>
            <a:endParaRPr lang="nb-NO" dirty="0"/>
          </a:p>
        </p:txBody>
      </p:sp>
      <p:pic>
        <p:nvPicPr>
          <p:cNvPr id="7" name="Picture 8" descr="Image result for skat danmar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3413" y="2289004"/>
            <a:ext cx="2397135" cy="13487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91933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88036" y="1264108"/>
            <a:ext cx="8371046" cy="512448"/>
          </a:xfrm>
        </p:spPr>
        <p:txBody>
          <a:bodyPr/>
          <a:lstStyle/>
          <a:p>
            <a:r>
              <a:rPr lang="nb-NO" dirty="0"/>
              <a:t>Nesten ingen betalt skatt til Norge</a:t>
            </a:r>
          </a:p>
        </p:txBody>
      </p:sp>
      <p:sp>
        <p:nvSpPr>
          <p:cNvPr id="3" name="Plassholder for innhold 2"/>
          <p:cNvSpPr>
            <a:spLocks noGrp="1"/>
          </p:cNvSpPr>
          <p:nvPr>
            <p:ph idx="1"/>
          </p:nvPr>
        </p:nvSpPr>
        <p:spPr/>
        <p:txBody>
          <a:bodyPr/>
          <a:lstStyle/>
          <a:p>
            <a:endParaRPr lang="nb-NO"/>
          </a:p>
        </p:txBody>
      </p:sp>
      <p:sp>
        <p:nvSpPr>
          <p:cNvPr id="4" name="Plassholder for dato 3"/>
          <p:cNvSpPr>
            <a:spLocks noGrp="1"/>
          </p:cNvSpPr>
          <p:nvPr>
            <p:ph type="dt" sz="half" idx="10"/>
          </p:nvPr>
        </p:nvSpPr>
        <p:spPr/>
        <p:txBody>
          <a:bodyPr/>
          <a:lstStyle/>
          <a:p>
            <a:fld id="{9ACEDFA6-BCD5-4232-A6E1-61270AF02151}" type="datetime4">
              <a:rPr lang="nb-NO" smtClean="0"/>
              <a:t>19. oktober 2022</a:t>
            </a:fld>
            <a:endParaRPr lang="nb-NO" dirty="0"/>
          </a:p>
        </p:txBody>
      </p:sp>
      <p:pic>
        <p:nvPicPr>
          <p:cNvPr id="3074" name="Picture 2" descr="Image result for google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036" y="2624459"/>
            <a:ext cx="2128135" cy="2128135"/>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facebook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9175" y="1882986"/>
            <a:ext cx="2533438" cy="227160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Image result for appl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01099" y="2366512"/>
            <a:ext cx="2386081" cy="23860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Image result for starbuck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85009" y="2050003"/>
            <a:ext cx="1937571" cy="19375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081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Plassholder for lysbildenummer 1"/>
          <p:cNvSpPr>
            <a:spLocks noGrp="1"/>
          </p:cNvSpPr>
          <p:nvPr>
            <p:ph type="sldNum" sz="quarter" idx="10"/>
          </p:nvPr>
        </p:nvSpPr>
        <p:spPr bwMode="auto">
          <a:xfrm>
            <a:off x="0" y="3900808"/>
            <a:ext cx="9145588" cy="35633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eaLnBrk="1" hangingPunct="1">
              <a:lnSpc>
                <a:spcPct val="100000"/>
              </a:lnSpc>
              <a:spcBef>
                <a:spcPct val="0"/>
              </a:spcBef>
              <a:buFontTx/>
              <a:buNone/>
            </a:pPr>
            <a:fld id="{08A05240-F087-442B-B113-1F2DBF526EB6}" type="slidenum">
              <a:rPr lang="en-US" altLang="nb-NO" sz="1200" smtClean="0">
                <a:solidFill>
                  <a:srgbClr val="FFFFFF"/>
                </a:solidFill>
                <a:latin typeface="Verdana" pitchFamily="34" charset="0"/>
              </a:rPr>
              <a:pPr eaLnBrk="1" hangingPunct="1">
                <a:lnSpc>
                  <a:spcPct val="100000"/>
                </a:lnSpc>
                <a:spcBef>
                  <a:spcPct val="0"/>
                </a:spcBef>
                <a:buFontTx/>
                <a:buNone/>
              </a:pPr>
              <a:t>15</a:t>
            </a:fld>
            <a:endParaRPr lang="en-US" altLang="nb-NO" sz="1200">
              <a:solidFill>
                <a:srgbClr val="FFFFFF"/>
              </a:solidFill>
              <a:latin typeface="Verdana" pitchFamily="34" charset="0"/>
            </a:endParaRPr>
          </a:p>
        </p:txBody>
      </p:sp>
      <p:sp>
        <p:nvSpPr>
          <p:cNvPr id="55299" name="Rektangel 2"/>
          <p:cNvSpPr>
            <a:spLocks noChangeArrowheads="1"/>
          </p:cNvSpPr>
          <p:nvPr/>
        </p:nvSpPr>
        <p:spPr bwMode="auto">
          <a:xfrm>
            <a:off x="5781093" y="266466"/>
            <a:ext cx="2951675" cy="368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endParaRPr lang="nb-NO" altLang="nb-NO" sz="2400">
              <a:solidFill>
                <a:srgbClr val="000000"/>
              </a:solidFill>
              <a:latin typeface="Calibri" pitchFamily="34" charset="0"/>
            </a:endParaRPr>
          </a:p>
        </p:txBody>
      </p:sp>
      <p:sp>
        <p:nvSpPr>
          <p:cNvPr id="55300" name="Rektangel 3"/>
          <p:cNvSpPr>
            <a:spLocks noChangeArrowheads="1"/>
          </p:cNvSpPr>
          <p:nvPr/>
        </p:nvSpPr>
        <p:spPr bwMode="auto">
          <a:xfrm>
            <a:off x="458869" y="408373"/>
            <a:ext cx="2953263" cy="36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endParaRPr lang="nb-NO" altLang="nb-NO" sz="2400">
              <a:solidFill>
                <a:srgbClr val="000000"/>
              </a:solidFill>
              <a:latin typeface="Calibri" pitchFamily="34" charset="0"/>
            </a:endParaRPr>
          </a:p>
        </p:txBody>
      </p:sp>
      <p:pic>
        <p:nvPicPr>
          <p:cNvPr id="5" name="Bilde 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983906" y="1541652"/>
            <a:ext cx="1602546" cy="1994379"/>
          </a:xfrm>
          <a:prstGeom prst="rect">
            <a:avLst/>
          </a:prstGeom>
          <a:effectLst>
            <a:reflection stA="0" endPos="65000" dist="50800" dir="5400000" sy="-100000" algn="bl" rotWithShape="0"/>
          </a:effectLst>
        </p:spPr>
      </p:pic>
      <p:pic>
        <p:nvPicPr>
          <p:cNvPr id="55302" name="Bild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44440" y="951393"/>
            <a:ext cx="1476631" cy="1676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3" name="TekstSylinder 6"/>
          <p:cNvSpPr txBox="1">
            <a:spLocks noChangeArrowheads="1"/>
          </p:cNvSpPr>
          <p:nvPr/>
        </p:nvSpPr>
        <p:spPr bwMode="auto">
          <a:xfrm>
            <a:off x="878603" y="1238129"/>
            <a:ext cx="1143199" cy="36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r>
              <a:rPr lang="nb-NO" altLang="nb-NO" sz="1800" b="1">
                <a:solidFill>
                  <a:srgbClr val="28458D"/>
                </a:solidFill>
                <a:latin typeface="Arial" pitchFamily="34" charset="0"/>
              </a:rPr>
              <a:t>Tidligere</a:t>
            </a:r>
          </a:p>
        </p:txBody>
      </p:sp>
      <p:sp>
        <p:nvSpPr>
          <p:cNvPr id="55304" name="TekstSylinder 7"/>
          <p:cNvSpPr txBox="1">
            <a:spLocks noChangeArrowheads="1"/>
          </p:cNvSpPr>
          <p:nvPr/>
        </p:nvSpPr>
        <p:spPr bwMode="auto">
          <a:xfrm>
            <a:off x="4921917" y="1238129"/>
            <a:ext cx="4796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buFontTx/>
              <a:buNone/>
            </a:pPr>
            <a:r>
              <a:rPr lang="nb-NO" altLang="nb-NO" sz="1800" b="1" dirty="0">
                <a:solidFill>
                  <a:srgbClr val="28458D"/>
                </a:solidFill>
                <a:latin typeface="Arial" pitchFamily="34" charset="0"/>
              </a:rPr>
              <a:t>Nå</a:t>
            </a:r>
          </a:p>
        </p:txBody>
      </p:sp>
      <p:sp>
        <p:nvSpPr>
          <p:cNvPr id="55305" name="Rektangel 8"/>
          <p:cNvSpPr>
            <a:spLocks noChangeArrowheads="1"/>
          </p:cNvSpPr>
          <p:nvPr/>
        </p:nvSpPr>
        <p:spPr bwMode="auto">
          <a:xfrm>
            <a:off x="4805766" y="2140463"/>
            <a:ext cx="3026300" cy="1467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65138" indent="-285750"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Globalisering</a:t>
            </a:r>
          </a:p>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Stor mobilitet i befolkningen</a:t>
            </a:r>
          </a:p>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ID-problematikk</a:t>
            </a:r>
          </a:p>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Kompliserte saker</a:t>
            </a:r>
          </a:p>
        </p:txBody>
      </p:sp>
      <p:sp>
        <p:nvSpPr>
          <p:cNvPr id="55306" name="Rektangel 9"/>
          <p:cNvSpPr>
            <a:spLocks noChangeArrowheads="1"/>
          </p:cNvSpPr>
          <p:nvPr/>
        </p:nvSpPr>
        <p:spPr bwMode="auto">
          <a:xfrm>
            <a:off x="696748" y="2140463"/>
            <a:ext cx="2873874" cy="64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465138" indent="-285750"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457200"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Oversiktlig samfunn</a:t>
            </a:r>
          </a:p>
          <a:p>
            <a:pPr defTabSz="457200" eaLnBrk="1" fontAlgn="base" hangingPunct="1">
              <a:lnSpc>
                <a:spcPct val="100000"/>
              </a:lnSpc>
              <a:spcBef>
                <a:spcPct val="0"/>
              </a:spcBef>
              <a:spcAft>
                <a:spcPct val="0"/>
              </a:spcAft>
            </a:pPr>
            <a:r>
              <a:rPr lang="nb-NO" altLang="nb-NO" sz="1800" b="1">
                <a:solidFill>
                  <a:srgbClr val="28458D"/>
                </a:solidFill>
                <a:latin typeface="Arial" pitchFamily="34" charset="0"/>
              </a:rPr>
              <a:t>Begrenset mobilitet</a:t>
            </a:r>
          </a:p>
        </p:txBody>
      </p:sp>
      <p:sp>
        <p:nvSpPr>
          <p:cNvPr id="12" name="TekstSylinder 11"/>
          <p:cNvSpPr txBox="1"/>
          <p:nvPr/>
        </p:nvSpPr>
        <p:spPr>
          <a:xfrm>
            <a:off x="790657" y="3720415"/>
            <a:ext cx="7545110" cy="917651"/>
          </a:xfrm>
          <a:prstGeom prst="rect">
            <a:avLst/>
          </a:prstGeom>
          <a:solidFill>
            <a:schemeClr val="tx2">
              <a:lumMod val="60000"/>
              <a:lumOff val="40000"/>
            </a:schemeClr>
          </a:solidFill>
        </p:spPr>
        <p:txBody>
          <a:bodyPr>
            <a:spAutoFit/>
          </a:bodyPr>
          <a:lstStyle/>
          <a:p>
            <a:pPr marL="285750" indent="-285750" defTabSz="457200">
              <a:buClr>
                <a:srgbClr val="FFFFFF"/>
              </a:buClr>
              <a:buFont typeface="Wingdings" panose="05000000000000000000" pitchFamily="2" charset="2"/>
              <a:buChar char="ð"/>
              <a:defRPr/>
            </a:pPr>
            <a:r>
              <a:rPr lang="nb-NO" sz="1800" dirty="0">
                <a:solidFill>
                  <a:srgbClr val="FFFFFF"/>
                </a:solidFill>
                <a:ea typeface="MS PGothic" pitchFamily="34" charset="-128"/>
              </a:rPr>
              <a:t>Behov for et folkeregister </a:t>
            </a:r>
            <a:r>
              <a:rPr lang="nb-NO" sz="1800">
                <a:solidFill>
                  <a:srgbClr val="FFFFFF"/>
                </a:solidFill>
                <a:ea typeface="MS PGothic" pitchFamily="34" charset="-128"/>
              </a:rPr>
              <a:t>med oppdatert lov, oppdaterte </a:t>
            </a:r>
            <a:r>
              <a:rPr lang="nb-NO" sz="1800" dirty="0">
                <a:solidFill>
                  <a:srgbClr val="FFFFFF"/>
                </a:solidFill>
                <a:ea typeface="MS PGothic" pitchFamily="34" charset="-128"/>
              </a:rPr>
              <a:t>prosesser, økt samhandling og elektroniske løsninger som møter samfunnets behov for identitetsforvaltning og personopplysninger</a:t>
            </a:r>
          </a:p>
        </p:txBody>
      </p:sp>
      <p:sp>
        <p:nvSpPr>
          <p:cNvPr id="13" name="Trekk ut 12"/>
          <p:cNvSpPr/>
          <p:nvPr/>
        </p:nvSpPr>
        <p:spPr bwMode="auto">
          <a:xfrm>
            <a:off x="3329534" y="2047580"/>
            <a:ext cx="2016574" cy="344164"/>
          </a:xfrm>
          <a:prstGeom prst="flowChartExtract">
            <a:avLst/>
          </a:prstGeom>
          <a:solidFill>
            <a:schemeClr val="tx2">
              <a:lumMod val="40000"/>
              <a:lumOff val="60000"/>
            </a:schemeClr>
          </a:solidFill>
          <a:ln w="9525" cap="flat" cmpd="sng" algn="ctr">
            <a:solidFill>
              <a:srgbClr val="000000"/>
            </a:solidFill>
            <a:prstDash val="solid"/>
            <a:round/>
            <a:headEnd type="none" w="med" len="med"/>
            <a:tailEnd type="none" w="med" len="med"/>
          </a:ln>
          <a:effectLst/>
          <a:scene3d>
            <a:camera prst="orthographicFront">
              <a:rot lat="0" lon="0" rev="16200000"/>
            </a:camera>
            <a:lightRig rig="threePt" dir="t"/>
          </a:scene3d>
        </p:spPr>
        <p:txBody>
          <a:bodyPr wrap="none" anchor="ctr"/>
          <a:lstStyle/>
          <a:p>
            <a:pPr defTabSz="457200" fontAlgn="base">
              <a:spcBef>
                <a:spcPct val="0"/>
              </a:spcBef>
              <a:spcAft>
                <a:spcPct val="0"/>
              </a:spcAft>
              <a:defRPr/>
            </a:pPr>
            <a:endParaRPr lang="nb-NO" sz="2400" dirty="0">
              <a:solidFill>
                <a:srgbClr val="000000"/>
              </a:solidFill>
              <a:ea typeface="MS PGothic" pitchFamily="34" charset="-128"/>
            </a:endParaRPr>
          </a:p>
        </p:txBody>
      </p:sp>
      <p:sp>
        <p:nvSpPr>
          <p:cNvPr id="55310" name="Tittel 1"/>
          <p:cNvSpPr txBox="1">
            <a:spLocks/>
          </p:cNvSpPr>
          <p:nvPr/>
        </p:nvSpPr>
        <p:spPr bwMode="auto">
          <a:xfrm>
            <a:off x="1060350" y="371701"/>
            <a:ext cx="7578453"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681038" eaLnBrk="0" hangingPunct="0">
              <a:lnSpc>
                <a:spcPct val="150000"/>
              </a:lnSpc>
              <a:spcBef>
                <a:spcPct val="20000"/>
              </a:spcBef>
              <a:buFont typeface="Arial" pitchFamily="34" charset="0"/>
              <a:buChar char="•"/>
              <a:defRPr sz="2000">
                <a:solidFill>
                  <a:srgbClr val="1F497D"/>
                </a:solidFill>
                <a:latin typeface="Helvetica Light" charset="0"/>
                <a:ea typeface="MS PGothic" pitchFamily="34" charset="-128"/>
                <a:cs typeface="Helvetica Light" charset="0"/>
              </a:defRPr>
            </a:lvl1pPr>
            <a:lvl2pPr marL="742950" indent="-285750" defTabSz="681038" eaLnBrk="0" hangingPunct="0">
              <a:lnSpc>
                <a:spcPct val="150000"/>
              </a:lnSpc>
              <a:spcBef>
                <a:spcPct val="20000"/>
              </a:spcBef>
              <a:buFont typeface="Arial" pitchFamily="34" charset="0"/>
              <a:buChar char="–"/>
              <a:defRPr>
                <a:solidFill>
                  <a:srgbClr val="1F497D"/>
                </a:solidFill>
                <a:latin typeface="Helvetica Light" charset="0"/>
                <a:ea typeface="MS PGothic" pitchFamily="34" charset="-128"/>
                <a:cs typeface="Helvetica Light" charset="0"/>
              </a:defRPr>
            </a:lvl2pPr>
            <a:lvl3pPr marL="1143000" indent="-228600" defTabSz="681038" eaLnBrk="0" hangingPunct="0">
              <a:lnSpc>
                <a:spcPct val="150000"/>
              </a:lnSpc>
              <a:spcBef>
                <a:spcPct val="20000"/>
              </a:spcBef>
              <a:buFont typeface="Arial" pitchFamily="34" charset="0"/>
              <a:buChar char="•"/>
              <a:defRPr sz="1600">
                <a:solidFill>
                  <a:srgbClr val="1F497D"/>
                </a:solidFill>
                <a:latin typeface="Helvetica Light" charset="0"/>
                <a:ea typeface="MS PGothic" pitchFamily="34" charset="-128"/>
                <a:cs typeface="Helvetica Light" charset="0"/>
              </a:defRPr>
            </a:lvl3pPr>
            <a:lvl4pPr marL="1600200" indent="-228600" defTabSz="681038"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4pPr>
            <a:lvl5pPr marL="2057400" indent="-228600" defTabSz="681038" eaLnBrk="0" hangingPunct="0">
              <a:lnSpc>
                <a:spcPct val="150000"/>
              </a:lnSpc>
              <a:spcBef>
                <a:spcPct val="20000"/>
              </a:spcBef>
              <a:buFont typeface="Arial" pitchFamily="34" charset="0"/>
              <a:buChar char="»"/>
              <a:defRPr sz="1400">
                <a:solidFill>
                  <a:srgbClr val="1F497D"/>
                </a:solidFill>
                <a:latin typeface="Helvetica Light" charset="0"/>
                <a:ea typeface="MS PGothic" pitchFamily="34" charset="-128"/>
                <a:cs typeface="Helvetica Light" charset="0"/>
              </a:defRPr>
            </a:lvl5pPr>
            <a:lvl6pPr marL="25146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6pPr>
            <a:lvl7pPr marL="29718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7pPr>
            <a:lvl8pPr marL="34290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8pPr>
            <a:lvl9pPr marL="3886200" indent="-228600" defTabSz="681038" eaLnBrk="0" fontAlgn="base" hangingPunct="0">
              <a:lnSpc>
                <a:spcPct val="150000"/>
              </a:lnSpc>
              <a:spcBef>
                <a:spcPct val="20000"/>
              </a:spcBef>
              <a:spcAft>
                <a:spcPct val="0"/>
              </a:spcAft>
              <a:buFont typeface="Arial" pitchFamily="34" charset="0"/>
              <a:buChar char="»"/>
              <a:defRPr sz="1400">
                <a:solidFill>
                  <a:srgbClr val="1F497D"/>
                </a:solidFill>
                <a:latin typeface="Helvetica Light" charset="0"/>
                <a:ea typeface="MS PGothic" pitchFamily="34" charset="-128"/>
                <a:cs typeface="Helvetica Light" charset="0"/>
              </a:defRPr>
            </a:lvl9pPr>
          </a:lstStyle>
          <a:p>
            <a:pPr eaLnBrk="1" fontAlgn="base" hangingPunct="1">
              <a:lnSpc>
                <a:spcPct val="90000"/>
              </a:lnSpc>
              <a:spcBef>
                <a:spcPct val="0"/>
              </a:spcBef>
              <a:spcAft>
                <a:spcPct val="0"/>
              </a:spcAft>
              <a:buFontTx/>
              <a:buNone/>
            </a:pPr>
            <a:r>
              <a:rPr lang="nb-NO" altLang="nb-NO" sz="2800" b="1" dirty="0">
                <a:solidFill>
                  <a:srgbClr val="000000"/>
                </a:solidFill>
                <a:latin typeface="Arial" pitchFamily="34" charset="0"/>
              </a:rPr>
              <a:t>Folkeregisteret og manntall under press</a:t>
            </a:r>
          </a:p>
        </p:txBody>
      </p:sp>
    </p:spTree>
    <p:extLst>
      <p:ext uri="{BB962C8B-B14F-4D97-AF65-F5344CB8AC3E}">
        <p14:creationId xmlns:p14="http://schemas.microsoft.com/office/powerpoint/2010/main" val="38288616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Etterkontroll mister betydning</a:t>
            </a:r>
          </a:p>
        </p:txBody>
      </p:sp>
      <p:sp>
        <p:nvSpPr>
          <p:cNvPr id="3" name="Plassholder for innhold 2"/>
          <p:cNvSpPr>
            <a:spLocks noGrp="1"/>
          </p:cNvSpPr>
          <p:nvPr>
            <p:ph idx="1"/>
          </p:nvPr>
        </p:nvSpPr>
        <p:spPr>
          <a:xfrm>
            <a:off x="5867399" y="817301"/>
            <a:ext cx="3015344" cy="4026841"/>
          </a:xfrm>
        </p:spPr>
        <p:txBody>
          <a:bodyPr/>
          <a:lstStyle/>
          <a:p>
            <a:r>
              <a:rPr lang="nb-NO" dirty="0"/>
              <a:t>Aktivitet og virksomhet er oftere avsluttet før våre prosesser leder til tiltak</a:t>
            </a:r>
          </a:p>
          <a:p>
            <a:r>
              <a:rPr lang="nb-NO" dirty="0"/>
              <a:t>Kontrollene må komme tettere på hendelsene ute i samfunnet</a:t>
            </a:r>
          </a:p>
          <a:p>
            <a:r>
              <a:rPr lang="nb-NO" dirty="0"/>
              <a:t>Behov for løpende analyser av unndragelsesrisiko og tilhørende aktiviteter</a:t>
            </a:r>
          </a:p>
        </p:txBody>
      </p:sp>
      <p:sp>
        <p:nvSpPr>
          <p:cNvPr id="4" name="Plassholder for dato 3"/>
          <p:cNvSpPr>
            <a:spLocks noGrp="1"/>
          </p:cNvSpPr>
          <p:nvPr>
            <p:ph type="dt" sz="half" idx="10"/>
          </p:nvPr>
        </p:nvSpPr>
        <p:spPr/>
        <p:txBody>
          <a:bodyPr/>
          <a:lstStyle/>
          <a:p>
            <a:fld id="{587A696B-9A70-43E3-B282-79930C633F78}" type="datetime4">
              <a:rPr lang="nb-NO" smtClean="0"/>
              <a:t>19. oktober 2022</a:t>
            </a:fld>
            <a:endParaRPr lang="nb-NO" dirty="0"/>
          </a:p>
        </p:txBody>
      </p:sp>
      <p:pic>
        <p:nvPicPr>
          <p:cNvPr id="12292" name="Picture 4" descr="Image result for revie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817302"/>
            <a:ext cx="5715000" cy="428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2822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Analyse på strukturerte data</a:t>
            </a:r>
          </a:p>
        </p:txBody>
      </p:sp>
      <p:sp>
        <p:nvSpPr>
          <p:cNvPr id="3" name="Plassholder for innhold 2"/>
          <p:cNvSpPr>
            <a:spLocks noGrp="1"/>
          </p:cNvSpPr>
          <p:nvPr>
            <p:ph idx="1"/>
          </p:nvPr>
        </p:nvSpPr>
        <p:spPr/>
        <p:txBody>
          <a:bodyPr/>
          <a:lstStyle/>
          <a:p>
            <a:endParaRPr lang="nb-NO"/>
          </a:p>
        </p:txBody>
      </p:sp>
      <p:pic>
        <p:nvPicPr>
          <p:cNvPr id="6146" name="Picture 2" descr="Image result for analytic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672501"/>
            <a:ext cx="9981164" cy="44360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43706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88035" y="268201"/>
            <a:ext cx="8524071" cy="346249"/>
          </a:xfrm>
        </p:spPr>
        <p:txBody>
          <a:bodyPr/>
          <a:lstStyle/>
          <a:p>
            <a:r>
              <a:rPr lang="nb-NO" dirty="0"/>
              <a:t>Maskinlæring avslører </a:t>
            </a:r>
            <a:r>
              <a:rPr lang="nb-NO" dirty="0" err="1"/>
              <a:t>alzheimers</a:t>
            </a:r>
            <a:r>
              <a:rPr lang="nb-NO" dirty="0"/>
              <a:t> 10 år før symptomer </a:t>
            </a:r>
          </a:p>
        </p:txBody>
      </p:sp>
      <p:sp>
        <p:nvSpPr>
          <p:cNvPr id="3" name="Plassholder for innhold 2"/>
          <p:cNvSpPr>
            <a:spLocks noGrp="1"/>
          </p:cNvSpPr>
          <p:nvPr>
            <p:ph idx="1"/>
          </p:nvPr>
        </p:nvSpPr>
        <p:spPr/>
        <p:txBody>
          <a:bodyPr/>
          <a:lstStyle/>
          <a:p>
            <a:endParaRPr lang="nb-NO"/>
          </a:p>
        </p:txBody>
      </p:sp>
      <p:pic>
        <p:nvPicPr>
          <p:cNvPr id="2050" name="Picture 2" descr="https://o.aolcdn.com/images/dims?crop=2126%2C1412%2C0%2C0&amp;quality=85&amp;format=jpg&amp;resize=1600%2C1063&amp;image_uri=http%3A%2F%2Fo.aolcdn.com%2Fhss%2Fstorage%2Fmidas%2F78ef02ac91cfdcc2b6a742fc68c35a6c%2F203214781%2F168715138.jpg&amp;client=a1acac3e1b3290917d92&amp;signature=c78d24f871af130edf6f4ad385b736b0b37eb49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724747"/>
            <a:ext cx="8155093" cy="4383828"/>
          </a:xfrm>
          <a:prstGeom prst="rect">
            <a:avLst/>
          </a:prstGeom>
          <a:noFill/>
          <a:extLst>
            <a:ext uri="{909E8E84-426E-40DD-AFC4-6F175D3DCCD1}">
              <a14:hiddenFill xmlns:a14="http://schemas.microsoft.com/office/drawing/2010/main">
                <a:solidFill>
                  <a:srgbClr val="FFFFFF"/>
                </a:solidFill>
              </a14:hiddenFill>
            </a:ext>
          </a:extLst>
        </p:spPr>
      </p:pic>
      <p:sp>
        <p:nvSpPr>
          <p:cNvPr id="6" name="Plassholder for innhold 2"/>
          <p:cNvSpPr txBox="1">
            <a:spLocks/>
          </p:cNvSpPr>
          <p:nvPr/>
        </p:nvSpPr>
        <p:spPr>
          <a:xfrm>
            <a:off x="936116" y="817302"/>
            <a:ext cx="7547925" cy="3647256"/>
          </a:xfrm>
          <a:prstGeom prst="rect">
            <a:avLst/>
          </a:prstGeom>
        </p:spPr>
        <p:txBody>
          <a:bodyPr vert="vert" lIns="0" tIns="0" rIns="0" bIns="0" rtlCol="0">
            <a:normAutofit/>
          </a:bodyPr>
          <a:lst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a:lstStyle>
          <a:p>
            <a:r>
              <a:rPr lang="nb-NO" dirty="0" err="1"/>
              <a:t>Univ</a:t>
            </a:r>
            <a:r>
              <a:rPr lang="nb-NO" dirty="0"/>
              <a:t> Bari, nevrale forbindelser </a:t>
            </a:r>
          </a:p>
        </p:txBody>
      </p:sp>
    </p:spTree>
    <p:extLst>
      <p:ext uri="{BB962C8B-B14F-4D97-AF65-F5344CB8AC3E}">
        <p14:creationId xmlns:p14="http://schemas.microsoft.com/office/powerpoint/2010/main" val="7799150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Related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817301"/>
            <a:ext cx="9145589" cy="4289451"/>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288035" y="268201"/>
            <a:ext cx="8686999" cy="346249"/>
          </a:xfrm>
        </p:spPr>
        <p:txBody>
          <a:bodyPr/>
          <a:lstStyle/>
          <a:p>
            <a:r>
              <a:rPr lang="nb-NO" dirty="0"/>
              <a:t>Tilgang på informasjon og forståelse av den avgjørende!</a:t>
            </a:r>
          </a:p>
        </p:txBody>
      </p:sp>
      <p:sp>
        <p:nvSpPr>
          <p:cNvPr id="3" name="Plassholder for innhold 2"/>
          <p:cNvSpPr>
            <a:spLocks noGrp="1"/>
          </p:cNvSpPr>
          <p:nvPr>
            <p:ph idx="1"/>
          </p:nvPr>
        </p:nvSpPr>
        <p:spPr/>
        <p:txBody>
          <a:bodyPr/>
          <a:lstStyle/>
          <a:p>
            <a:endParaRPr lang="nb-NO"/>
          </a:p>
        </p:txBody>
      </p:sp>
    </p:spTree>
    <p:extLst>
      <p:ext uri="{BB962C8B-B14F-4D97-AF65-F5344CB8AC3E}">
        <p14:creationId xmlns:p14="http://schemas.microsoft.com/office/powerpoint/2010/main" val="1535604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74327"/>
            <a:ext cx="9145588" cy="6097058"/>
          </a:xfrm>
          <a:prstGeom prst="rect">
            <a:avLst/>
          </a:prstGeom>
        </p:spPr>
      </p:pic>
      <p:sp>
        <p:nvSpPr>
          <p:cNvPr id="4" name="Tittel 3"/>
          <p:cNvSpPr>
            <a:spLocks noGrp="1"/>
          </p:cNvSpPr>
          <p:nvPr>
            <p:ph type="title"/>
          </p:nvPr>
        </p:nvSpPr>
        <p:spPr>
          <a:xfrm>
            <a:off x="288035" y="185582"/>
            <a:ext cx="8596657" cy="512448"/>
          </a:xfrm>
          <a:solidFill>
            <a:schemeClr val="bg1">
              <a:alpha val="50000"/>
            </a:schemeClr>
          </a:solidFill>
        </p:spPr>
        <p:txBody>
          <a:bodyPr>
            <a:normAutofit fontScale="90000"/>
          </a:bodyPr>
          <a:lstStyle/>
          <a:p>
            <a:r>
              <a:rPr lang="nb-NO" dirty="0"/>
              <a:t>Mål: Sikre finansieringen av velferdsstaten</a:t>
            </a:r>
          </a:p>
        </p:txBody>
      </p:sp>
    </p:spTree>
    <p:extLst>
      <p:ext uri="{BB962C8B-B14F-4D97-AF65-F5344CB8AC3E}">
        <p14:creationId xmlns:p14="http://schemas.microsoft.com/office/powerpoint/2010/main" val="25173311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global net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035" y="1635600"/>
            <a:ext cx="3693936" cy="1574783"/>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288035" y="1028975"/>
            <a:ext cx="8371046" cy="512448"/>
          </a:xfrm>
        </p:spPr>
        <p:txBody>
          <a:bodyPr>
            <a:normAutofit/>
          </a:bodyPr>
          <a:lstStyle/>
          <a:p>
            <a:r>
              <a:rPr lang="en-GB" dirty="0" err="1"/>
              <a:t>En</a:t>
            </a:r>
            <a:r>
              <a:rPr lang="en-GB" dirty="0"/>
              <a:t> </a:t>
            </a:r>
            <a:r>
              <a:rPr lang="en-GB" dirty="0" err="1"/>
              <a:t>stor</a:t>
            </a:r>
            <a:r>
              <a:rPr lang="en-GB" dirty="0"/>
              <a:t> </a:t>
            </a:r>
            <a:r>
              <a:rPr lang="en-GB" dirty="0" err="1"/>
              <a:t>omstilling</a:t>
            </a:r>
            <a:r>
              <a:rPr lang="en-GB" dirty="0"/>
              <a:t> for Skatt </a:t>
            </a:r>
            <a:r>
              <a:rPr lang="en-GB" dirty="0" err="1"/>
              <a:t>fremover</a:t>
            </a:r>
            <a:endParaRPr lang="en-GB" dirty="0"/>
          </a:p>
        </p:txBody>
      </p:sp>
      <p:sp>
        <p:nvSpPr>
          <p:cNvPr id="3" name="Plassholder for innhold 2"/>
          <p:cNvSpPr>
            <a:spLocks noGrp="1"/>
          </p:cNvSpPr>
          <p:nvPr>
            <p:ph idx="1"/>
          </p:nvPr>
        </p:nvSpPr>
        <p:spPr>
          <a:xfrm>
            <a:off x="237635" y="3379026"/>
            <a:ext cx="4062583" cy="1163799"/>
          </a:xfrm>
        </p:spPr>
        <p:txBody>
          <a:bodyPr>
            <a:normAutofit/>
          </a:bodyPr>
          <a:lstStyle/>
          <a:p>
            <a:r>
              <a:rPr lang="en-GB" dirty="0" err="1"/>
              <a:t>Globale</a:t>
            </a:r>
            <a:r>
              <a:rPr lang="en-GB" dirty="0"/>
              <a:t> </a:t>
            </a:r>
            <a:r>
              <a:rPr lang="en-GB" dirty="0" err="1"/>
              <a:t>utfordringer</a:t>
            </a:r>
            <a:endParaRPr lang="en-GB" dirty="0"/>
          </a:p>
          <a:p>
            <a:pPr lvl="1"/>
            <a:r>
              <a:rPr lang="en-GB" dirty="0" err="1"/>
              <a:t>Lovlig</a:t>
            </a:r>
            <a:r>
              <a:rPr lang="en-GB" dirty="0"/>
              <a:t> </a:t>
            </a:r>
            <a:r>
              <a:rPr lang="en-GB" dirty="0" err="1"/>
              <a:t>og</a:t>
            </a:r>
            <a:r>
              <a:rPr lang="en-GB" dirty="0"/>
              <a:t> </a:t>
            </a:r>
            <a:r>
              <a:rPr lang="en-GB" dirty="0" err="1"/>
              <a:t>ulovlig</a:t>
            </a:r>
            <a:r>
              <a:rPr lang="en-GB" dirty="0"/>
              <a:t> </a:t>
            </a:r>
            <a:r>
              <a:rPr lang="en-GB" dirty="0" err="1"/>
              <a:t>skatteunnvikelse</a:t>
            </a:r>
            <a:endParaRPr lang="en-GB" dirty="0"/>
          </a:p>
          <a:p>
            <a:pPr lvl="1"/>
            <a:r>
              <a:rPr lang="en-GB" dirty="0" err="1"/>
              <a:t>Svindel</a:t>
            </a:r>
            <a:r>
              <a:rPr lang="en-GB" dirty="0"/>
              <a:t> </a:t>
            </a:r>
            <a:r>
              <a:rPr lang="en-GB" dirty="0" err="1"/>
              <a:t>og</a:t>
            </a:r>
            <a:r>
              <a:rPr lang="en-GB" dirty="0"/>
              <a:t> </a:t>
            </a:r>
            <a:r>
              <a:rPr lang="en-GB" dirty="0" err="1"/>
              <a:t>ulovlige</a:t>
            </a:r>
            <a:r>
              <a:rPr lang="en-GB" dirty="0"/>
              <a:t> </a:t>
            </a:r>
            <a:r>
              <a:rPr lang="en-GB" dirty="0" err="1"/>
              <a:t>skatteavtaler</a:t>
            </a:r>
            <a:endParaRPr lang="en-GB" dirty="0"/>
          </a:p>
          <a:p>
            <a:pPr lvl="1"/>
            <a:r>
              <a:rPr lang="en-GB" dirty="0" err="1"/>
              <a:t>Delingsøkonomi</a:t>
            </a:r>
            <a:r>
              <a:rPr lang="en-GB" dirty="0"/>
              <a:t> </a:t>
            </a:r>
            <a:r>
              <a:rPr lang="en-GB" dirty="0" err="1"/>
              <a:t>og</a:t>
            </a:r>
            <a:r>
              <a:rPr lang="en-GB" dirty="0"/>
              <a:t> </a:t>
            </a:r>
            <a:r>
              <a:rPr lang="en-GB" dirty="0" err="1"/>
              <a:t>informasjonstilgang</a:t>
            </a:r>
            <a:endParaRPr lang="en-GB" dirty="0"/>
          </a:p>
        </p:txBody>
      </p:sp>
      <p:pic>
        <p:nvPicPr>
          <p:cNvPr id="2052" name="Picture 4" descr="Image result for opportunities"/>
          <p:cNvPicPr>
            <a:picLocks noChangeAspect="1" noChangeArrowheads="1"/>
          </p:cNvPicPr>
          <p:nvPr/>
        </p:nvPicPr>
        <p:blipFill rotWithShape="1">
          <a:blip r:embed="rId4">
            <a:extLst>
              <a:ext uri="{28A0092B-C50C-407E-A947-70E740481C1C}">
                <a14:useLocalDpi xmlns:a14="http://schemas.microsoft.com/office/drawing/2010/main" val="0"/>
              </a:ext>
            </a:extLst>
          </a:blip>
          <a:srcRect t="-12989" b="12989"/>
          <a:stretch/>
        </p:blipFill>
        <p:spPr bwMode="auto">
          <a:xfrm>
            <a:off x="4784172" y="1398980"/>
            <a:ext cx="3600000" cy="1811403"/>
          </a:xfrm>
          <a:prstGeom prst="rect">
            <a:avLst/>
          </a:prstGeom>
          <a:noFill/>
          <a:extLst>
            <a:ext uri="{909E8E84-426E-40DD-AFC4-6F175D3DCCD1}">
              <a14:hiddenFill xmlns:a14="http://schemas.microsoft.com/office/drawing/2010/main">
                <a:solidFill>
                  <a:srgbClr val="FFFFFF"/>
                </a:solidFill>
              </a14:hiddenFill>
            </a:ext>
          </a:extLst>
        </p:spPr>
      </p:pic>
      <p:sp>
        <p:nvSpPr>
          <p:cNvPr id="8" name="Plassholder for innhold 2"/>
          <p:cNvSpPr txBox="1">
            <a:spLocks/>
          </p:cNvSpPr>
          <p:nvPr/>
        </p:nvSpPr>
        <p:spPr>
          <a:xfrm>
            <a:off x="4860036" y="3379025"/>
            <a:ext cx="3922014" cy="1163799"/>
          </a:xfrm>
          <a:prstGeom prst="rect">
            <a:avLst/>
          </a:prstGeom>
        </p:spPr>
        <p:txBody>
          <a:bodyPr vert="horz" lIns="0" tIns="0" rIns="0" bIns="0" rtlCol="0">
            <a:normAutofit fontScale="92500" lnSpcReduction="10000"/>
          </a:bodyPr>
          <a:lst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a:lstStyle>
          <a:p>
            <a:pPr marL="170272" marR="0" lvl="0" indent="-170272" algn="l" defTabSz="681091" rtl="0" eaLnBrk="1" fontAlgn="auto" latinLnBrk="0" hangingPunct="1">
              <a:lnSpc>
                <a:spcPct val="90000"/>
              </a:lnSpc>
              <a:spcBef>
                <a:spcPts val="745"/>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Muligheter</a:t>
            </a: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 med </a:t>
            </a: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ny</a:t>
            </a: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teknologi</a:t>
            </a: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Utveksling</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av</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informasjon</a:t>
            </a:r>
            <a:endPar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Kommunikasjon</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i</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sanntid</a:t>
            </a:r>
            <a:endPar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lang="en-GB" noProof="0" dirty="0" err="1">
                <a:solidFill>
                  <a:prstClr val="black"/>
                </a:solidFill>
                <a:latin typeface="Arial" panose="020B0604020202020204"/>
              </a:rPr>
              <a:t>Maskin</a:t>
            </a:r>
            <a:r>
              <a:rPr lang="en-GB" dirty="0" err="1">
                <a:solidFill>
                  <a:prstClr val="black"/>
                </a:solidFill>
                <a:latin typeface="Arial" panose="020B0604020202020204"/>
              </a:rPr>
              <a:t>læring</a:t>
            </a:r>
            <a:r>
              <a:rPr lang="en-GB" dirty="0">
                <a:solidFill>
                  <a:prstClr val="black"/>
                </a:solidFill>
                <a:latin typeface="Arial" panose="020B0604020202020204"/>
              </a:rPr>
              <a:t> </a:t>
            </a:r>
            <a:endPar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Big Data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og</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nalyse</a:t>
            </a:r>
          </a:p>
        </p:txBody>
      </p:sp>
    </p:spTree>
    <p:extLst>
      <p:ext uri="{BB962C8B-B14F-4D97-AF65-F5344CB8AC3E}">
        <p14:creationId xmlns:p14="http://schemas.microsoft.com/office/powerpoint/2010/main" val="42306029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stretch>
            <a:fillRect/>
          </a:stretch>
        </p:blipFill>
        <p:spPr>
          <a:xfrm>
            <a:off x="210242" y="1544520"/>
            <a:ext cx="3460515" cy="2575014"/>
          </a:xfrm>
          <a:prstGeom prst="rect">
            <a:avLst/>
          </a:prstGeom>
        </p:spPr>
      </p:pic>
      <p:sp>
        <p:nvSpPr>
          <p:cNvPr id="5" name="TekstSylinder 4"/>
          <p:cNvSpPr txBox="1"/>
          <p:nvPr/>
        </p:nvSpPr>
        <p:spPr>
          <a:xfrm>
            <a:off x="2191410" y="76848"/>
            <a:ext cx="4354912" cy="646331"/>
          </a:xfrm>
          <a:prstGeom prst="rect">
            <a:avLst/>
          </a:prstGeom>
          <a:noFill/>
        </p:spPr>
        <p:txBody>
          <a:bodyPr wrap="square" rtlCol="0">
            <a:spAutoFit/>
          </a:bodyPr>
          <a:lstStyle/>
          <a:p>
            <a:r>
              <a:rPr lang="nb-NO" sz="3600" b="1" dirty="0"/>
              <a:t>Noen føringer </a:t>
            </a:r>
          </a:p>
        </p:txBody>
      </p:sp>
      <p:sp>
        <p:nvSpPr>
          <p:cNvPr id="6" name="TekstSylinder 5"/>
          <p:cNvSpPr txBox="1"/>
          <p:nvPr/>
        </p:nvSpPr>
        <p:spPr>
          <a:xfrm>
            <a:off x="210242" y="1236743"/>
            <a:ext cx="2632131" cy="307777"/>
          </a:xfrm>
          <a:prstGeom prst="rect">
            <a:avLst/>
          </a:prstGeom>
          <a:noFill/>
        </p:spPr>
        <p:txBody>
          <a:bodyPr wrap="none" rtlCol="0">
            <a:spAutoFit/>
          </a:bodyPr>
          <a:lstStyle/>
          <a:p>
            <a:r>
              <a:rPr lang="nb-NO" dirty="0"/>
              <a:t>Statsbudsjetter - Tildelingsbrev</a:t>
            </a:r>
          </a:p>
        </p:txBody>
      </p:sp>
      <p:pic>
        <p:nvPicPr>
          <p:cNvPr id="7" name="Bilde 6"/>
          <p:cNvPicPr>
            <a:picLocks noChangeAspect="1"/>
          </p:cNvPicPr>
          <p:nvPr/>
        </p:nvPicPr>
        <p:blipFill>
          <a:blip r:embed="rId3"/>
          <a:stretch>
            <a:fillRect/>
          </a:stretch>
        </p:blipFill>
        <p:spPr>
          <a:xfrm>
            <a:off x="3670757" y="3098434"/>
            <a:ext cx="1798897" cy="1813838"/>
          </a:xfrm>
          <a:prstGeom prst="rect">
            <a:avLst/>
          </a:prstGeom>
        </p:spPr>
      </p:pic>
      <p:grpSp>
        <p:nvGrpSpPr>
          <p:cNvPr id="10" name="Gruppe 9"/>
          <p:cNvGrpSpPr/>
          <p:nvPr/>
        </p:nvGrpSpPr>
        <p:grpSpPr>
          <a:xfrm>
            <a:off x="3749698" y="983337"/>
            <a:ext cx="2591896" cy="1896459"/>
            <a:chOff x="3887845" y="955515"/>
            <a:chExt cx="2591896" cy="1896459"/>
          </a:xfrm>
        </p:grpSpPr>
        <p:pic>
          <p:nvPicPr>
            <p:cNvPr id="8" name="Bilde 7"/>
            <p:cNvPicPr>
              <a:picLocks noChangeAspect="1"/>
            </p:cNvPicPr>
            <p:nvPr/>
          </p:nvPicPr>
          <p:blipFill>
            <a:blip r:embed="rId4"/>
            <a:stretch>
              <a:fillRect/>
            </a:stretch>
          </p:blipFill>
          <p:spPr>
            <a:xfrm>
              <a:off x="3887845" y="955515"/>
              <a:ext cx="2591896" cy="813735"/>
            </a:xfrm>
            <a:prstGeom prst="rect">
              <a:avLst/>
            </a:prstGeom>
          </p:spPr>
        </p:pic>
        <p:pic>
          <p:nvPicPr>
            <p:cNvPr id="9" name="Bilde 8"/>
            <p:cNvPicPr>
              <a:picLocks noChangeAspect="1"/>
            </p:cNvPicPr>
            <p:nvPr/>
          </p:nvPicPr>
          <p:blipFill>
            <a:blip r:embed="rId5"/>
            <a:stretch>
              <a:fillRect/>
            </a:stretch>
          </p:blipFill>
          <p:spPr>
            <a:xfrm>
              <a:off x="3887845" y="1772017"/>
              <a:ext cx="2591896" cy="1079957"/>
            </a:xfrm>
            <a:prstGeom prst="rect">
              <a:avLst/>
            </a:prstGeom>
          </p:spPr>
        </p:pic>
      </p:grpSp>
      <p:pic>
        <p:nvPicPr>
          <p:cNvPr id="11" name="Bilde 10"/>
          <p:cNvPicPr>
            <a:picLocks noChangeAspect="1"/>
          </p:cNvPicPr>
          <p:nvPr/>
        </p:nvPicPr>
        <p:blipFill>
          <a:blip r:embed="rId6"/>
          <a:stretch>
            <a:fillRect/>
          </a:stretch>
        </p:blipFill>
        <p:spPr>
          <a:xfrm>
            <a:off x="5661007" y="2907618"/>
            <a:ext cx="3147494" cy="2004654"/>
          </a:xfrm>
          <a:prstGeom prst="rect">
            <a:avLst/>
          </a:prstGeom>
        </p:spPr>
      </p:pic>
      <p:pic>
        <p:nvPicPr>
          <p:cNvPr id="12" name="Bilde 11"/>
          <p:cNvPicPr>
            <a:picLocks noChangeAspect="1"/>
          </p:cNvPicPr>
          <p:nvPr/>
        </p:nvPicPr>
        <p:blipFill>
          <a:blip r:embed="rId7"/>
          <a:stretch>
            <a:fillRect/>
          </a:stretch>
        </p:blipFill>
        <p:spPr>
          <a:xfrm>
            <a:off x="5979781" y="150671"/>
            <a:ext cx="3041921" cy="2637075"/>
          </a:xfrm>
          <a:prstGeom prst="rect">
            <a:avLst/>
          </a:prstGeom>
        </p:spPr>
      </p:pic>
    </p:spTree>
    <p:extLst>
      <p:ext uri="{BB962C8B-B14F-4D97-AF65-F5344CB8AC3E}">
        <p14:creationId xmlns:p14="http://schemas.microsoft.com/office/powerpoint/2010/main" val="17770179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631626" y="870707"/>
            <a:ext cx="2115747" cy="1152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kstSylinder 4"/>
          <p:cNvSpPr txBox="1"/>
          <p:nvPr/>
        </p:nvSpPr>
        <p:spPr>
          <a:xfrm>
            <a:off x="327442" y="2199513"/>
            <a:ext cx="5600700" cy="58477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nb-NO" sz="3200" b="1" dirty="0"/>
              <a:t>Once only – kun en gang</a:t>
            </a:r>
            <a:endParaRPr lang="nb-NO" sz="3600" b="1" dirty="0"/>
          </a:p>
        </p:txBody>
      </p:sp>
      <p:grpSp>
        <p:nvGrpSpPr>
          <p:cNvPr id="8" name="Gruppe 7"/>
          <p:cNvGrpSpPr/>
          <p:nvPr/>
        </p:nvGrpSpPr>
        <p:grpSpPr>
          <a:xfrm>
            <a:off x="929640" y="103388"/>
            <a:ext cx="5280660" cy="2008018"/>
            <a:chOff x="1203960" y="453908"/>
            <a:chExt cx="5280660" cy="2008018"/>
          </a:xfrm>
        </p:grpSpPr>
        <p:sp>
          <p:nvSpPr>
            <p:cNvPr id="4" name="Rektangel 3"/>
            <p:cNvSpPr/>
            <p:nvPr/>
          </p:nvSpPr>
          <p:spPr>
            <a:xfrm>
              <a:off x="1203960" y="646044"/>
              <a:ext cx="5280660" cy="1815882"/>
            </a:xfrm>
            <a:prstGeom prst="rect">
              <a:avLst/>
            </a:prstGeom>
          </p:spPr>
          <p:txBody>
            <a:bodyPr wrap="square">
              <a:spAutoFit/>
            </a:bodyPr>
            <a:lstStyle/>
            <a:p>
              <a:r>
                <a:rPr lang="nb-NO" dirty="0"/>
                <a:t>Den enkelte virksomhet skal ha oversikt over hvilke data den håndterer, hva dataene betyr, hva de kan brukes til, hvilke prosesser de inngår i, og hvem som kan bruke dem (informasjonsforvaltning). </a:t>
              </a:r>
              <a:r>
                <a:rPr lang="nb-NO" dirty="0" err="1"/>
                <a:t>Difi</a:t>
              </a:r>
              <a:r>
                <a:rPr lang="nb-NO" dirty="0"/>
                <a:t> etablerer et </a:t>
              </a:r>
              <a:r>
                <a:rPr lang="nb-NO" dirty="0">
                  <a:hlinkClick r:id="rId3"/>
                </a:rPr>
                <a:t>rammeverk for informasjonsforvaltning</a:t>
              </a:r>
              <a:r>
                <a:rPr lang="nb-NO" dirty="0"/>
                <a:t> som kan brukes av virksomheten.</a:t>
              </a:r>
              <a:br>
                <a:rPr lang="nb-NO" dirty="0">
                  <a:hlinkClick r:id="rId4"/>
                </a:rPr>
              </a:br>
              <a:endParaRPr lang="nb-NO" dirty="0"/>
            </a:p>
            <a:p>
              <a:r>
                <a:rPr lang="nb-NO" dirty="0"/>
                <a:t>Virksomheten skal gjenbruke informasjon, i stedet for å spørre brukerne på nytt om forhold de allerede har opplyst.</a:t>
              </a:r>
            </a:p>
          </p:txBody>
        </p:sp>
        <p:sp>
          <p:nvSpPr>
            <p:cNvPr id="6" name="TekstSylinder 5"/>
            <p:cNvSpPr txBox="1"/>
            <p:nvPr/>
          </p:nvSpPr>
          <p:spPr>
            <a:xfrm>
              <a:off x="1206124" y="453908"/>
              <a:ext cx="2501006" cy="307777"/>
            </a:xfrm>
            <a:prstGeom prst="rect">
              <a:avLst/>
            </a:prstGeom>
            <a:noFill/>
          </p:spPr>
          <p:txBody>
            <a:bodyPr wrap="none" rtlCol="0">
              <a:spAutoFit/>
            </a:bodyPr>
            <a:lstStyle/>
            <a:p>
              <a:r>
                <a:rPr lang="nb-NO" b="1" dirty="0"/>
                <a:t>Digitaliseringsrundskrivet:</a:t>
              </a:r>
              <a:r>
                <a:rPr lang="nb-NO" dirty="0"/>
                <a:t> </a:t>
              </a:r>
            </a:p>
          </p:txBody>
        </p:sp>
      </p:grpSp>
      <p:sp>
        <p:nvSpPr>
          <p:cNvPr id="7" name="TekstSylinder 6"/>
          <p:cNvSpPr txBox="1"/>
          <p:nvPr/>
        </p:nvSpPr>
        <p:spPr>
          <a:xfrm>
            <a:off x="6812497" y="2743487"/>
            <a:ext cx="1754006" cy="523220"/>
          </a:xfrm>
          <a:prstGeom prst="rect">
            <a:avLst/>
          </a:prstGeom>
          <a:noFill/>
        </p:spPr>
        <p:txBody>
          <a:bodyPr wrap="none" rtlCol="0">
            <a:spAutoFit/>
          </a:bodyPr>
          <a:lstStyle/>
          <a:p>
            <a:r>
              <a:rPr lang="nb-NO" b="1" dirty="0"/>
              <a:t>Skatteetatens nye </a:t>
            </a:r>
          </a:p>
          <a:p>
            <a:r>
              <a:rPr lang="nb-NO" b="1" dirty="0"/>
              <a:t>Digitale Plattform</a:t>
            </a:r>
          </a:p>
        </p:txBody>
      </p:sp>
      <p:grpSp>
        <p:nvGrpSpPr>
          <p:cNvPr id="9" name="Gruppe 8"/>
          <p:cNvGrpSpPr/>
          <p:nvPr/>
        </p:nvGrpSpPr>
        <p:grpSpPr>
          <a:xfrm>
            <a:off x="327442" y="3005097"/>
            <a:ext cx="6485055" cy="1319311"/>
            <a:chOff x="327442" y="3005097"/>
            <a:chExt cx="6485055" cy="1319311"/>
          </a:xfrm>
        </p:grpSpPr>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442" y="3280429"/>
              <a:ext cx="6485055" cy="1043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kstSylinder 9"/>
            <p:cNvSpPr txBox="1"/>
            <p:nvPr/>
          </p:nvSpPr>
          <p:spPr>
            <a:xfrm>
              <a:off x="328628" y="3005097"/>
              <a:ext cx="2799164" cy="307777"/>
            </a:xfrm>
            <a:prstGeom prst="rect">
              <a:avLst/>
            </a:prstGeom>
            <a:noFill/>
          </p:spPr>
          <p:txBody>
            <a:bodyPr wrap="none" rtlCol="0">
              <a:spAutoFit/>
            </a:bodyPr>
            <a:lstStyle/>
            <a:p>
              <a:r>
                <a:rPr lang="nb-NO" b="1" dirty="0"/>
                <a:t>Skatteetatens nye mål for 2018</a:t>
              </a:r>
              <a:endParaRPr lang="nb-NO" dirty="0"/>
            </a:p>
          </p:txBody>
        </p:sp>
      </p:grpSp>
      <p:sp>
        <p:nvSpPr>
          <p:cNvPr id="14" name="TekstSylinder 13"/>
          <p:cNvSpPr txBox="1"/>
          <p:nvPr/>
        </p:nvSpPr>
        <p:spPr>
          <a:xfrm>
            <a:off x="4526279" y="4291760"/>
            <a:ext cx="3872583" cy="646331"/>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nb-NO" sz="3600" dirty="0"/>
              <a:t>Orden i eget hus!</a:t>
            </a:r>
          </a:p>
        </p:txBody>
      </p:sp>
    </p:spTree>
    <p:extLst>
      <p:ext uri="{BB962C8B-B14F-4D97-AF65-F5344CB8AC3E}">
        <p14:creationId xmlns:p14="http://schemas.microsoft.com/office/powerpoint/2010/main" val="111666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pPr marL="0" marR="0" lvl="0" indent="0" algn="l" defTabSz="683951" rtl="0" eaLnBrk="1" fontAlgn="auto" latinLnBrk="0" hangingPunct="1">
              <a:lnSpc>
                <a:spcPct val="100000"/>
              </a:lnSpc>
              <a:spcBef>
                <a:spcPts val="0"/>
              </a:spcBef>
              <a:spcAft>
                <a:spcPts val="0"/>
              </a:spcAft>
              <a:buClrTx/>
              <a:buSzTx/>
              <a:buFontTx/>
              <a:buNone/>
              <a:tabLst/>
              <a:defRPr/>
            </a:pPr>
            <a:fld id="{9ACEDFA6-BCD5-4232-A6E1-61270AF02151}" type="datetime4">
              <a:rPr kumimoji="0" lang="nb-NO" sz="700" b="1"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l" defTabSz="683951" rtl="0" eaLnBrk="1" fontAlgn="auto" latinLnBrk="0" hangingPunct="1">
                <a:lnSpc>
                  <a:spcPct val="100000"/>
                </a:lnSpc>
                <a:spcBef>
                  <a:spcPts val="0"/>
                </a:spcBef>
                <a:spcAft>
                  <a:spcPts val="0"/>
                </a:spcAft>
                <a:buClrTx/>
                <a:buSzTx/>
                <a:buFontTx/>
                <a:buNone/>
                <a:tabLst/>
                <a:defRPr/>
              </a:pPr>
              <a:t>19. oktober 2022</a:t>
            </a:fld>
            <a:endParaRPr kumimoji="0" lang="nb-NO" sz="7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 name="Tittel 4"/>
          <p:cNvSpPr>
            <a:spLocks noGrp="1"/>
          </p:cNvSpPr>
          <p:nvPr>
            <p:ph type="title"/>
          </p:nvPr>
        </p:nvSpPr>
        <p:spPr>
          <a:xfrm>
            <a:off x="329941" y="1296192"/>
            <a:ext cx="3796676" cy="987421"/>
          </a:xfrm>
        </p:spPr>
        <p:txBody>
          <a:bodyPr>
            <a:normAutofit fontScale="90000"/>
          </a:bodyPr>
          <a:lstStyle/>
          <a:p>
            <a:r>
              <a:rPr lang="nb-NO"/>
              <a:t>IT utvikling – </a:t>
            </a:r>
            <a:br>
              <a:rPr lang="nb-NO"/>
            </a:br>
            <a:r>
              <a:rPr lang="nb-NO"/>
              <a:t>en risikosport</a:t>
            </a:r>
          </a:p>
        </p:txBody>
      </p:sp>
      <p:pic>
        <p:nvPicPr>
          <p:cNvPr id="6" name="Plassholder for innhold 5"/>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613907" y="2743200"/>
            <a:ext cx="3212424" cy="2093913"/>
          </a:xfrm>
        </p:spPr>
      </p:pic>
      <p:pic>
        <p:nvPicPr>
          <p:cNvPr id="3" name="Plassholder for bilde 2"/>
          <p:cNvPicPr>
            <a:picLocks noGrp="1" noChangeAspect="1"/>
          </p:cNvPicPr>
          <p:nvPr>
            <p:ph type="pic" sz="quarter" idx="13"/>
          </p:nvPr>
        </p:nvPicPr>
        <p:blipFill>
          <a:blip r:embed="rId4"/>
          <a:srcRect l="26465" r="26465"/>
          <a:stretch>
            <a:fillRect/>
          </a:stretch>
        </p:blipFill>
        <p:spPr>
          <a:prstGeom prst="rect">
            <a:avLst/>
          </a:prstGeom>
        </p:spPr>
      </p:pic>
    </p:spTree>
    <p:extLst>
      <p:ext uri="{BB962C8B-B14F-4D97-AF65-F5344CB8AC3E}">
        <p14:creationId xmlns:p14="http://schemas.microsoft.com/office/powerpoint/2010/main" val="15308585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fontScale="90000"/>
          </a:bodyPr>
          <a:lstStyle/>
          <a:p>
            <a:r>
              <a:rPr lang="nb-NO" dirty="0"/>
              <a:t>Felles system-</a:t>
            </a:r>
            <a:br>
              <a:rPr lang="nb-NO" dirty="0"/>
            </a:br>
            <a:r>
              <a:rPr lang="nb-NO" dirty="0"/>
              <a:t>utviklingsmetode?</a:t>
            </a:r>
          </a:p>
        </p:txBody>
      </p:sp>
      <p:sp>
        <p:nvSpPr>
          <p:cNvPr id="3" name="Plassholder for innhold 2"/>
          <p:cNvSpPr>
            <a:spLocks noGrp="1"/>
          </p:cNvSpPr>
          <p:nvPr>
            <p:ph idx="1"/>
          </p:nvPr>
        </p:nvSpPr>
        <p:spPr>
          <a:xfrm>
            <a:off x="288036" y="817301"/>
            <a:ext cx="7668959" cy="3947531"/>
          </a:xfrm>
        </p:spPr>
        <p:txBody>
          <a:bodyPr vert="horz" lIns="72000" tIns="72000" rIns="72000" bIns="0" rtlCol="0" anchor="t">
            <a:normAutofit/>
          </a:bodyPr>
          <a:lstStyle/>
          <a:p>
            <a:pPr marL="0" indent="0">
              <a:lnSpc>
                <a:spcPct val="120000"/>
              </a:lnSpc>
              <a:buNone/>
            </a:pPr>
            <a:r>
              <a:rPr lang="nb-NO" sz="1900" dirty="0"/>
              <a:t>Vi tror på smidig tilnærming, men...</a:t>
            </a:r>
            <a:endParaRPr lang="nb-NO" sz="1700" dirty="0"/>
          </a:p>
        </p:txBody>
      </p:sp>
      <p:pic>
        <p:nvPicPr>
          <p:cNvPr id="7" name="Bilde 6"/>
          <p:cNvPicPr>
            <a:picLocks noChangeAspect="1"/>
          </p:cNvPicPr>
          <p:nvPr/>
        </p:nvPicPr>
        <p:blipFill>
          <a:blip r:embed="rId3"/>
          <a:stretch>
            <a:fillRect/>
          </a:stretch>
        </p:blipFill>
        <p:spPr>
          <a:xfrm>
            <a:off x="449870" y="1250357"/>
            <a:ext cx="3702549" cy="2421695"/>
          </a:xfrm>
          <a:prstGeom prst="rect">
            <a:avLst/>
          </a:prstGeom>
        </p:spPr>
      </p:pic>
      <p:sp>
        <p:nvSpPr>
          <p:cNvPr id="8" name="Ellipse 7"/>
          <p:cNvSpPr/>
          <p:nvPr/>
        </p:nvSpPr>
        <p:spPr>
          <a:xfrm>
            <a:off x="4785267" y="2781130"/>
            <a:ext cx="137771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Teknisk arkitektur</a:t>
            </a:r>
          </a:p>
        </p:txBody>
      </p:sp>
      <p:sp>
        <p:nvSpPr>
          <p:cNvPr id="10" name="Ellipse 9"/>
          <p:cNvSpPr/>
          <p:nvPr/>
        </p:nvSpPr>
        <p:spPr>
          <a:xfrm>
            <a:off x="6129076" y="335926"/>
            <a:ext cx="2243191" cy="557047"/>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Forretningsregler</a:t>
            </a:r>
          </a:p>
        </p:txBody>
      </p:sp>
      <p:sp>
        <p:nvSpPr>
          <p:cNvPr id="11" name="Ellipse 10"/>
          <p:cNvSpPr/>
          <p:nvPr/>
        </p:nvSpPr>
        <p:spPr>
          <a:xfrm>
            <a:off x="3630515" y="115918"/>
            <a:ext cx="1753891"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Brukerinnsikt</a:t>
            </a:r>
          </a:p>
        </p:txBody>
      </p:sp>
      <p:sp>
        <p:nvSpPr>
          <p:cNvPr id="12" name="Ellipse 11"/>
          <p:cNvSpPr/>
          <p:nvPr/>
        </p:nvSpPr>
        <p:spPr>
          <a:xfrm>
            <a:off x="4242212" y="1771465"/>
            <a:ext cx="2463827"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Løsningsdesign</a:t>
            </a:r>
          </a:p>
        </p:txBody>
      </p:sp>
      <p:sp>
        <p:nvSpPr>
          <p:cNvPr id="13" name="Ellipse 12"/>
          <p:cNvSpPr/>
          <p:nvPr/>
        </p:nvSpPr>
        <p:spPr>
          <a:xfrm>
            <a:off x="6346555" y="2747640"/>
            <a:ext cx="2668369"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Informasjonsmodeller</a:t>
            </a:r>
          </a:p>
        </p:txBody>
      </p:sp>
      <p:sp>
        <p:nvSpPr>
          <p:cNvPr id="15" name="Ellipse 14"/>
          <p:cNvSpPr/>
          <p:nvPr/>
        </p:nvSpPr>
        <p:spPr>
          <a:xfrm>
            <a:off x="5607874" y="3640542"/>
            <a:ext cx="2187773"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Prosessmodeller</a:t>
            </a:r>
          </a:p>
        </p:txBody>
      </p:sp>
      <p:sp>
        <p:nvSpPr>
          <p:cNvPr id="16" name="Ellipse 15"/>
          <p:cNvSpPr/>
          <p:nvPr/>
        </p:nvSpPr>
        <p:spPr>
          <a:xfrm>
            <a:off x="4313767" y="4494698"/>
            <a:ext cx="2841778" cy="52691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Kommunikasjonsplan</a:t>
            </a:r>
          </a:p>
        </p:txBody>
      </p:sp>
      <p:sp>
        <p:nvSpPr>
          <p:cNvPr id="17" name="Ellipse 16"/>
          <p:cNvSpPr/>
          <p:nvPr/>
        </p:nvSpPr>
        <p:spPr>
          <a:xfrm>
            <a:off x="2001886" y="4256445"/>
            <a:ext cx="2073662"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Regelverkskrav</a:t>
            </a:r>
          </a:p>
        </p:txBody>
      </p:sp>
      <p:sp>
        <p:nvSpPr>
          <p:cNvPr id="18" name="Ellipse 17"/>
          <p:cNvSpPr/>
          <p:nvPr/>
        </p:nvSpPr>
        <p:spPr>
          <a:xfrm>
            <a:off x="7012865" y="4077130"/>
            <a:ext cx="2303532" cy="104868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Og mye</a:t>
            </a:r>
            <a:r>
              <a:rPr kumimoji="0" lang="nb-NO" sz="1400" b="0" i="0" u="none" strike="noStrike" kern="1200" cap="none" spc="0" normalizeH="0" noProof="0" dirty="0">
                <a:ln>
                  <a:noFill/>
                </a:ln>
                <a:solidFill>
                  <a:prstClr val="white"/>
                </a:solidFill>
                <a:effectLst/>
                <a:uLnTx/>
                <a:uFillTx/>
                <a:latin typeface="Arial" panose="020B0604020202020204"/>
                <a:ea typeface="+mn-ea"/>
                <a:cs typeface="+mn-cs"/>
              </a:rPr>
              <a:t> mer…</a:t>
            </a:r>
            <a:endPar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Ellipse 18"/>
          <p:cNvSpPr/>
          <p:nvPr/>
        </p:nvSpPr>
        <p:spPr>
          <a:xfrm>
            <a:off x="4697420" y="959741"/>
            <a:ext cx="150434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Prototyper</a:t>
            </a:r>
          </a:p>
        </p:txBody>
      </p:sp>
      <p:sp>
        <p:nvSpPr>
          <p:cNvPr id="20" name="Ellipse 19"/>
          <p:cNvSpPr/>
          <p:nvPr/>
        </p:nvSpPr>
        <p:spPr>
          <a:xfrm>
            <a:off x="247995" y="3804453"/>
            <a:ext cx="1753891"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Brukertesting</a:t>
            </a:r>
          </a:p>
        </p:txBody>
      </p:sp>
      <p:sp>
        <p:nvSpPr>
          <p:cNvPr id="21" name="Ellipse 20"/>
          <p:cNvSpPr/>
          <p:nvPr/>
        </p:nvSpPr>
        <p:spPr>
          <a:xfrm>
            <a:off x="6864742" y="1114069"/>
            <a:ext cx="1631994"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Ikke-funksjonelle krav </a:t>
            </a:r>
          </a:p>
        </p:txBody>
      </p:sp>
      <p:sp>
        <p:nvSpPr>
          <p:cNvPr id="22" name="Ellipse 21"/>
          <p:cNvSpPr/>
          <p:nvPr/>
        </p:nvSpPr>
        <p:spPr>
          <a:xfrm>
            <a:off x="3969778" y="3640541"/>
            <a:ext cx="150434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Estimat</a:t>
            </a:r>
          </a:p>
        </p:txBody>
      </p:sp>
      <p:sp>
        <p:nvSpPr>
          <p:cNvPr id="23" name="Ellipse 22"/>
          <p:cNvSpPr/>
          <p:nvPr/>
        </p:nvSpPr>
        <p:spPr>
          <a:xfrm>
            <a:off x="6881286" y="1956163"/>
            <a:ext cx="1859758" cy="690051"/>
          </a:xfrm>
          <a:prstGeom prst="ellipse">
            <a:avLst/>
          </a:prstGeom>
          <a:solidFill>
            <a:schemeClr val="tx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Interessenter</a:t>
            </a:r>
          </a:p>
        </p:txBody>
      </p:sp>
    </p:spTree>
    <p:extLst>
      <p:ext uri="{BB962C8B-B14F-4D97-AF65-F5344CB8AC3E}">
        <p14:creationId xmlns:p14="http://schemas.microsoft.com/office/powerpoint/2010/main" val="2063460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P spid="13" grpId="0" animBg="1"/>
      <p:bldP spid="15" grpId="0" animBg="1"/>
      <p:bldP spid="16" grpId="0" animBg="1"/>
      <p:bldP spid="17" grpId="0" animBg="1"/>
      <p:bldP spid="18" grpId="0" animBg="1"/>
      <p:bldP spid="19" grpId="0" animBg="1"/>
      <p:bldP spid="20" grpId="0" animBg="1"/>
      <p:bldP spid="21" grpId="0" animBg="1"/>
      <p:bldP spid="22" grpId="0" animBg="1"/>
      <p:bldP spid="2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53500" y="280832"/>
            <a:ext cx="7487385" cy="561869"/>
          </a:xfrm>
        </p:spPr>
        <p:txBody>
          <a:bodyPr>
            <a:normAutofit/>
          </a:bodyPr>
          <a:lstStyle/>
          <a:p>
            <a:r>
              <a:rPr lang="nb-NO" sz="2460"/>
              <a:t>Forvaltning av informasjon i etaten – forenklet</a:t>
            </a:r>
          </a:p>
        </p:txBody>
      </p:sp>
      <p:graphicFrame>
        <p:nvGraphicFramePr>
          <p:cNvPr id="5" name="Plassholder for innhold 4"/>
          <p:cNvGraphicFramePr>
            <a:graphicFrameLocks noGrp="1"/>
          </p:cNvGraphicFramePr>
          <p:nvPr>
            <p:ph idx="1"/>
          </p:nvPr>
        </p:nvGraphicFramePr>
        <p:xfrm>
          <a:off x="1053500" y="2071301"/>
          <a:ext cx="6547452" cy="16100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ktangel 2"/>
          <p:cNvSpPr/>
          <p:nvPr/>
        </p:nvSpPr>
        <p:spPr>
          <a:xfrm>
            <a:off x="746150" y="2054623"/>
            <a:ext cx="7183527" cy="168344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Rektangel 3"/>
          <p:cNvSpPr/>
          <p:nvPr/>
        </p:nvSpPr>
        <p:spPr>
          <a:xfrm>
            <a:off x="2099462" y="102357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Fagsystem</a:t>
            </a:r>
          </a:p>
        </p:txBody>
      </p:sp>
      <p:sp>
        <p:nvSpPr>
          <p:cNvPr id="6" name="Rektangel 5"/>
          <p:cNvSpPr/>
          <p:nvPr/>
        </p:nvSpPr>
        <p:spPr>
          <a:xfrm>
            <a:off x="4111142" y="102357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Saksbehandling</a:t>
            </a:r>
          </a:p>
        </p:txBody>
      </p:sp>
      <p:grpSp>
        <p:nvGrpSpPr>
          <p:cNvPr id="11" name="Gruppe 10"/>
          <p:cNvGrpSpPr/>
          <p:nvPr/>
        </p:nvGrpSpPr>
        <p:grpSpPr>
          <a:xfrm>
            <a:off x="2721255" y="1644760"/>
            <a:ext cx="790040" cy="271545"/>
            <a:chOff x="2721255" y="1556980"/>
            <a:chExt cx="790040" cy="271545"/>
          </a:xfrm>
        </p:grpSpPr>
        <p:sp>
          <p:nvSpPr>
            <p:cNvPr id="7" name="Pil opp 6"/>
            <p:cNvSpPr/>
            <p:nvPr/>
          </p:nvSpPr>
          <p:spPr>
            <a:xfrm>
              <a:off x="2721255" y="1565178"/>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Pil opp 7"/>
            <p:cNvSpPr/>
            <p:nvPr/>
          </p:nvSpPr>
          <p:spPr>
            <a:xfrm flipV="1">
              <a:off x="3152850" y="1556980"/>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grpSp>
        <p:nvGrpSpPr>
          <p:cNvPr id="12" name="Gruppe 11"/>
          <p:cNvGrpSpPr/>
          <p:nvPr/>
        </p:nvGrpSpPr>
        <p:grpSpPr>
          <a:xfrm>
            <a:off x="4721962" y="1648858"/>
            <a:ext cx="790040" cy="271545"/>
            <a:chOff x="2721255" y="1556980"/>
            <a:chExt cx="790040" cy="271545"/>
          </a:xfrm>
        </p:grpSpPr>
        <p:sp>
          <p:nvSpPr>
            <p:cNvPr id="13" name="Pil opp 12"/>
            <p:cNvSpPr/>
            <p:nvPr/>
          </p:nvSpPr>
          <p:spPr>
            <a:xfrm>
              <a:off x="2721255" y="1565178"/>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Pil opp 13"/>
            <p:cNvSpPr/>
            <p:nvPr/>
          </p:nvSpPr>
          <p:spPr>
            <a:xfrm flipV="1">
              <a:off x="3152850" y="1556980"/>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15" name="TekstSylinder 14"/>
          <p:cNvSpPr txBox="1"/>
          <p:nvPr/>
        </p:nvSpPr>
        <p:spPr>
          <a:xfrm>
            <a:off x="6722669" y="1111090"/>
            <a:ext cx="1120820" cy="307777"/>
          </a:xfrm>
          <a:prstGeom prst="rect">
            <a:avLst/>
          </a:prstGeom>
          <a:noFill/>
        </p:spPr>
        <p:txBody>
          <a:bodyPr wrap="none" rtlCol="0">
            <a:spAutoFit/>
          </a:bodyPr>
          <a:lstStyle/>
          <a:p>
            <a:r>
              <a:rPr lang="nb-NO">
                <a:latin typeface="+mj-lt"/>
              </a:rPr>
              <a:t>Primærbruk</a:t>
            </a:r>
          </a:p>
        </p:txBody>
      </p:sp>
      <p:sp>
        <p:nvSpPr>
          <p:cNvPr id="16" name="TekstSylinder 15"/>
          <p:cNvSpPr txBox="1"/>
          <p:nvPr/>
        </p:nvSpPr>
        <p:spPr>
          <a:xfrm>
            <a:off x="6377554" y="4404581"/>
            <a:ext cx="1359668" cy="307777"/>
          </a:xfrm>
          <a:prstGeom prst="rect">
            <a:avLst/>
          </a:prstGeom>
          <a:noFill/>
        </p:spPr>
        <p:txBody>
          <a:bodyPr wrap="none" rtlCol="0">
            <a:spAutoFit/>
          </a:bodyPr>
          <a:lstStyle/>
          <a:p>
            <a:r>
              <a:rPr lang="nb-NO">
                <a:latin typeface="+mj-lt"/>
              </a:rPr>
              <a:t>Sekundærbruk</a:t>
            </a:r>
          </a:p>
        </p:txBody>
      </p:sp>
      <p:sp>
        <p:nvSpPr>
          <p:cNvPr id="17" name="Rektangel 16"/>
          <p:cNvSpPr/>
          <p:nvPr/>
        </p:nvSpPr>
        <p:spPr>
          <a:xfrm>
            <a:off x="1894637" y="431706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Analyse</a:t>
            </a:r>
          </a:p>
        </p:txBody>
      </p:sp>
      <p:grpSp>
        <p:nvGrpSpPr>
          <p:cNvPr id="18" name="Gruppe 17"/>
          <p:cNvGrpSpPr/>
          <p:nvPr/>
        </p:nvGrpSpPr>
        <p:grpSpPr>
          <a:xfrm>
            <a:off x="2542032" y="3896064"/>
            <a:ext cx="790040" cy="271545"/>
            <a:chOff x="2721255" y="1556980"/>
            <a:chExt cx="790040" cy="271545"/>
          </a:xfrm>
        </p:grpSpPr>
        <p:sp>
          <p:nvSpPr>
            <p:cNvPr id="19" name="Pil opp 18"/>
            <p:cNvSpPr/>
            <p:nvPr/>
          </p:nvSpPr>
          <p:spPr>
            <a:xfrm>
              <a:off x="2721255" y="1565178"/>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il opp 19"/>
            <p:cNvSpPr/>
            <p:nvPr/>
          </p:nvSpPr>
          <p:spPr>
            <a:xfrm flipV="1">
              <a:off x="3152850" y="1556980"/>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21" name="Rektangel 20"/>
          <p:cNvSpPr/>
          <p:nvPr/>
        </p:nvSpPr>
        <p:spPr>
          <a:xfrm>
            <a:off x="4147717" y="4317067"/>
            <a:ext cx="2011680" cy="482804"/>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solidFill>
                  <a:schemeClr val="tx1"/>
                </a:solidFill>
                <a:latin typeface="+mj-lt"/>
              </a:rPr>
              <a:t>Ekstern</a:t>
            </a:r>
            <a:r>
              <a:rPr lang="nb-NO" b="1">
                <a:solidFill>
                  <a:schemeClr val="tx1"/>
                </a:solidFill>
                <a:latin typeface="Arial Black" panose="020B0A04020102020204" pitchFamily="34" charset="0"/>
              </a:rPr>
              <a:t> </a:t>
            </a:r>
            <a:r>
              <a:rPr lang="nb-NO">
                <a:solidFill>
                  <a:schemeClr val="tx1"/>
                </a:solidFill>
                <a:latin typeface="+mj-lt"/>
              </a:rPr>
              <a:t>deling</a:t>
            </a:r>
          </a:p>
        </p:txBody>
      </p:sp>
      <p:sp>
        <p:nvSpPr>
          <p:cNvPr id="24" name="Pil opp 23"/>
          <p:cNvSpPr/>
          <p:nvPr/>
        </p:nvSpPr>
        <p:spPr>
          <a:xfrm flipV="1">
            <a:off x="4963362" y="3905373"/>
            <a:ext cx="358445" cy="263347"/>
          </a:xfrm>
          <a:prstGeom prst="upArrow">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35070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5" grpId="0"/>
      <p:bldP spid="16" grpId="0"/>
      <p:bldP spid="17" grpId="0" animBg="1"/>
      <p:bldP spid="21" grpId="0" animBg="1"/>
      <p:bldP spid="24"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a:xfrm>
            <a:off x="321979" y="1341002"/>
            <a:ext cx="4134115" cy="3495989"/>
          </a:xfrm>
        </p:spPr>
        <p:txBody>
          <a:bodyPr>
            <a:normAutofit/>
          </a:bodyPr>
          <a:lstStyle/>
          <a:p>
            <a:r>
              <a:rPr lang="nb-NO" dirty="0"/>
              <a:t>Ingen har egentlig ansvar for helheten</a:t>
            </a:r>
          </a:p>
          <a:p>
            <a:pPr lvl="1"/>
            <a:r>
              <a:rPr lang="nb-NO" dirty="0"/>
              <a:t>Sektorprinsippet er sterkest i styringen</a:t>
            </a:r>
          </a:p>
          <a:p>
            <a:pPr lvl="1"/>
            <a:endParaRPr lang="nb-NO" dirty="0"/>
          </a:p>
          <a:p>
            <a:r>
              <a:rPr lang="nb-NO" dirty="0"/>
              <a:t>Hver offentlig myndighet har egne:</a:t>
            </a:r>
          </a:p>
          <a:p>
            <a:pPr lvl="1"/>
            <a:r>
              <a:rPr lang="nb-NO" dirty="0"/>
              <a:t>Ansvarsområder</a:t>
            </a:r>
          </a:p>
          <a:p>
            <a:pPr lvl="1"/>
            <a:r>
              <a:rPr lang="nb-NO" dirty="0"/>
              <a:t>Regelverk</a:t>
            </a:r>
          </a:p>
          <a:p>
            <a:pPr lvl="1"/>
            <a:r>
              <a:rPr lang="nb-NO" dirty="0"/>
              <a:t>Systemer</a:t>
            </a:r>
          </a:p>
          <a:p>
            <a:pPr lvl="1"/>
            <a:r>
              <a:rPr lang="nb-NO" dirty="0"/>
              <a:t>Begreper og datastrukturer</a:t>
            </a:r>
          </a:p>
          <a:p>
            <a:pPr lvl="1"/>
            <a:r>
              <a:rPr lang="nb-NO" dirty="0"/>
              <a:t>Skjemaer</a:t>
            </a:r>
          </a:p>
          <a:p>
            <a:pPr lvl="1"/>
            <a:endParaRPr lang="nb-NO" dirty="0"/>
          </a:p>
          <a:p>
            <a:r>
              <a:rPr lang="nb-NO" dirty="0"/>
              <a:t>Rapporteringskrav er utviklet for å optimalisere hver etat sine prosesser </a:t>
            </a:r>
          </a:p>
          <a:p>
            <a:endParaRPr lang="nb-NO" dirty="0"/>
          </a:p>
          <a:p>
            <a:endParaRPr lang="nb-NO" dirty="0"/>
          </a:p>
        </p:txBody>
      </p:sp>
      <p:pic>
        <p:nvPicPr>
          <p:cNvPr id="4" name="Plassholder for bilde 3"/>
          <p:cNvPicPr>
            <a:picLocks noGrp="1" noChangeAspect="1"/>
          </p:cNvPicPr>
          <p:nvPr>
            <p:ph type="pic" sz="quarter" idx="13"/>
          </p:nvPr>
        </p:nvPicPr>
        <p:blipFill>
          <a:blip r:embed="rId2"/>
          <a:srcRect l="10820" r="10820"/>
          <a:stretch>
            <a:fillRect/>
          </a:stretch>
        </p:blipFill>
        <p:spPr>
          <a:prstGeom prst="rect">
            <a:avLst/>
          </a:prstGeom>
        </p:spPr>
      </p:pic>
      <p:sp>
        <p:nvSpPr>
          <p:cNvPr id="5" name="TekstSylinder 4"/>
          <p:cNvSpPr txBox="1"/>
          <p:nvPr/>
        </p:nvSpPr>
        <p:spPr>
          <a:xfrm>
            <a:off x="4718342" y="3297600"/>
            <a:ext cx="588058" cy="246221"/>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rPr>
              <a:t>NAV</a:t>
            </a:r>
            <a:endParaRPr kumimoji="0" lang="nb-NO" sz="14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7" name="TekstSylinder 6"/>
          <p:cNvSpPr txBox="1"/>
          <p:nvPr/>
        </p:nvSpPr>
        <p:spPr>
          <a:xfrm>
            <a:off x="6321021" y="3382238"/>
            <a:ext cx="982858" cy="261610"/>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a:ln>
                  <a:noFill/>
                </a:ln>
                <a:solidFill>
                  <a:srgbClr val="FFFF00"/>
                </a:solidFill>
                <a:effectLst/>
                <a:uLnTx/>
                <a:uFillTx/>
                <a:latin typeface="Arial" panose="020B0604020202020204"/>
                <a:ea typeface="+mn-ea"/>
                <a:cs typeface="+mn-cs"/>
              </a:rPr>
              <a:t>Skatteetaten</a:t>
            </a:r>
            <a:endParaRPr kumimoji="0" lang="nb-NO" sz="18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8" name="TekstSylinder 7"/>
          <p:cNvSpPr txBox="1"/>
          <p:nvPr/>
        </p:nvSpPr>
        <p:spPr>
          <a:xfrm>
            <a:off x="7513991" y="3020600"/>
            <a:ext cx="722931" cy="400110"/>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rPr>
              <a:t>Brønnøy-sund</a:t>
            </a:r>
            <a:endParaRPr kumimoji="0" lang="nb-NO" sz="14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9" name="TekstSylinder 8"/>
          <p:cNvSpPr txBox="1"/>
          <p:nvPr/>
        </p:nvSpPr>
        <p:spPr>
          <a:xfrm>
            <a:off x="5656538" y="2928268"/>
            <a:ext cx="919258" cy="369332"/>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FFFF00"/>
                </a:solidFill>
                <a:effectLst/>
                <a:uLnTx/>
                <a:uFillTx/>
                <a:latin typeface="Arial" panose="020B0604020202020204"/>
                <a:ea typeface="+mn-ea"/>
                <a:cs typeface="+mn-cs"/>
              </a:rPr>
              <a:t>Mat-</a:t>
            </a:r>
          </a:p>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FFFF00"/>
                </a:solidFill>
                <a:effectLst/>
                <a:uLnTx/>
                <a:uFillTx/>
                <a:latin typeface="Arial" panose="020B0604020202020204"/>
                <a:ea typeface="+mn-ea"/>
                <a:cs typeface="+mn-cs"/>
              </a:rPr>
              <a:t>tilsynet</a:t>
            </a:r>
            <a:endParaRPr kumimoji="0" lang="nb-NO" sz="12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10" name="TekstSylinder 9"/>
          <p:cNvSpPr txBox="1"/>
          <p:nvPr/>
        </p:nvSpPr>
        <p:spPr>
          <a:xfrm>
            <a:off x="8273463" y="3278255"/>
            <a:ext cx="563535" cy="400110"/>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rPr>
              <a:t>Toll-etaten</a:t>
            </a:r>
            <a:endParaRPr kumimoji="0" lang="nb-NO" sz="14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11" name="TekstSylinder 10"/>
          <p:cNvSpPr txBox="1"/>
          <p:nvPr/>
        </p:nvSpPr>
        <p:spPr>
          <a:xfrm>
            <a:off x="5425679" y="3005211"/>
            <a:ext cx="519891" cy="276999"/>
          </a:xfrm>
          <a:prstGeom prst="rect">
            <a:avLst/>
          </a:prstGeom>
          <a:noFill/>
        </p:spPr>
        <p:txBody>
          <a:bodyPr wrap="square" rtlCol="0">
            <a:spAutoFit/>
          </a:bodyP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600" b="0" i="0" u="none" strike="noStrike" kern="1200" cap="none" spc="0" normalizeH="0" baseline="0" noProof="0" dirty="0">
                <a:ln>
                  <a:noFill/>
                </a:ln>
                <a:solidFill>
                  <a:srgbClr val="FFFF00"/>
                </a:solidFill>
                <a:effectLst/>
                <a:uLnTx/>
                <a:uFillTx/>
                <a:latin typeface="Arial" panose="020B0604020202020204"/>
                <a:ea typeface="+mn-ea"/>
                <a:cs typeface="+mn-cs"/>
              </a:rPr>
              <a:t>Lotteri-</a:t>
            </a:r>
          </a:p>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600" b="0" i="0" u="none" strike="noStrike" kern="1200" cap="none" spc="0" normalizeH="0" baseline="0" noProof="0" dirty="0">
                <a:ln>
                  <a:noFill/>
                </a:ln>
                <a:solidFill>
                  <a:srgbClr val="FFFF00"/>
                </a:solidFill>
                <a:effectLst/>
                <a:uLnTx/>
                <a:uFillTx/>
                <a:latin typeface="Arial" panose="020B0604020202020204"/>
                <a:ea typeface="+mn-ea"/>
                <a:cs typeface="+mn-cs"/>
              </a:rPr>
              <a:t>tilsynet</a:t>
            </a:r>
            <a:endParaRPr kumimoji="0" lang="nb-NO" sz="1000" b="0" i="0" u="none" strike="noStrike" kern="1200" cap="none" spc="0" normalizeH="0" baseline="0" noProof="0" dirty="0">
              <a:ln>
                <a:noFill/>
              </a:ln>
              <a:solidFill>
                <a:srgbClr val="FFFF00"/>
              </a:solidFill>
              <a:effectLst/>
              <a:uLnTx/>
              <a:uFillTx/>
              <a:latin typeface="Arial" panose="020B0604020202020204"/>
              <a:ea typeface="+mn-ea"/>
              <a:cs typeface="+mn-cs"/>
            </a:endParaRPr>
          </a:p>
        </p:txBody>
      </p:sp>
      <p:sp>
        <p:nvSpPr>
          <p:cNvPr id="3" name="TekstSylinder 2"/>
          <p:cNvSpPr txBox="1"/>
          <p:nvPr/>
        </p:nvSpPr>
        <p:spPr>
          <a:xfrm>
            <a:off x="806824" y="457200"/>
            <a:ext cx="8184776" cy="461665"/>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rPr>
              <a:t>Alle er salet til å ri sine egne hester og ha skylapper på</a:t>
            </a:r>
          </a:p>
        </p:txBody>
      </p:sp>
      <p:pic>
        <p:nvPicPr>
          <p:cNvPr id="19" name="Bilde 18"/>
          <p:cNvPicPr>
            <a:picLocks noChangeAspect="1"/>
          </p:cNvPicPr>
          <p:nvPr/>
        </p:nvPicPr>
        <p:blipFill>
          <a:blip r:embed="rId3"/>
          <a:stretch>
            <a:fillRect/>
          </a:stretch>
        </p:blipFill>
        <p:spPr>
          <a:xfrm>
            <a:off x="5151925" y="108065"/>
            <a:ext cx="3475679" cy="4929447"/>
          </a:xfrm>
          <a:prstGeom prst="rect">
            <a:avLst/>
          </a:prstGeom>
          <a:ln>
            <a:solidFill>
              <a:schemeClr val="accent2"/>
            </a:solidFill>
          </a:ln>
        </p:spPr>
      </p:pic>
    </p:spTree>
    <p:extLst>
      <p:ext uri="{BB962C8B-B14F-4D97-AF65-F5344CB8AC3E}">
        <p14:creationId xmlns:p14="http://schemas.microsoft.com/office/powerpoint/2010/main" val="1715193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a:xfrm>
            <a:off x="321979" y="1341002"/>
            <a:ext cx="4447040" cy="3495989"/>
          </a:xfrm>
        </p:spPr>
        <p:txBody>
          <a:bodyPr>
            <a:normAutofit/>
          </a:bodyPr>
          <a:lstStyle/>
          <a:p>
            <a:r>
              <a:rPr lang="nb-NO" dirty="0"/>
              <a:t>Sterke knytninger mellom: </a:t>
            </a:r>
          </a:p>
          <a:p>
            <a:pPr lvl="1"/>
            <a:r>
              <a:rPr lang="nb-NO" dirty="0"/>
              <a:t>Regelverk </a:t>
            </a:r>
          </a:p>
          <a:p>
            <a:pPr lvl="1"/>
            <a:r>
              <a:rPr lang="nb-NO" dirty="0"/>
              <a:t>Prosess</a:t>
            </a:r>
          </a:p>
          <a:p>
            <a:pPr lvl="1"/>
            <a:r>
              <a:rPr lang="nb-NO" dirty="0"/>
              <a:t>Informasjon</a:t>
            </a:r>
          </a:p>
          <a:p>
            <a:pPr lvl="1"/>
            <a:endParaRPr lang="nb-NO" dirty="0"/>
          </a:p>
          <a:p>
            <a:endParaRPr lang="nb-NO" dirty="0"/>
          </a:p>
          <a:p>
            <a:r>
              <a:rPr lang="nb-NO" dirty="0"/>
              <a:t>Rapporteringskrav er utviklet for å optimalisere hvert system sine prosesser </a:t>
            </a:r>
          </a:p>
          <a:p>
            <a:endParaRPr lang="nb-NO" dirty="0"/>
          </a:p>
          <a:p>
            <a:r>
              <a:rPr lang="nb-NO" dirty="0"/>
              <a:t>Silosystemene blir nå erstattet av fagsystemer og noen få felleskomponenter</a:t>
            </a:r>
          </a:p>
          <a:p>
            <a:endParaRPr lang="nb-NO" dirty="0"/>
          </a:p>
        </p:txBody>
      </p:sp>
      <p:pic>
        <p:nvPicPr>
          <p:cNvPr id="6" name="Bilde 5"/>
          <p:cNvPicPr>
            <a:picLocks noChangeAspect="1"/>
          </p:cNvPicPr>
          <p:nvPr/>
        </p:nvPicPr>
        <p:blipFill>
          <a:blip r:embed="rId2"/>
          <a:stretch>
            <a:fillRect/>
          </a:stretch>
        </p:blipFill>
        <p:spPr>
          <a:xfrm>
            <a:off x="5035297" y="1341002"/>
            <a:ext cx="3612102" cy="3459478"/>
          </a:xfrm>
          <a:prstGeom prst="rect">
            <a:avLst/>
          </a:prstGeom>
        </p:spPr>
      </p:pic>
      <p:sp>
        <p:nvSpPr>
          <p:cNvPr id="7" name="TekstSylinder 6"/>
          <p:cNvSpPr txBox="1"/>
          <p:nvPr/>
        </p:nvSpPr>
        <p:spPr>
          <a:xfrm>
            <a:off x="7829756" y="3086394"/>
            <a:ext cx="627888" cy="261610"/>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dirty="0">
                <a:ln>
                  <a:noFill/>
                </a:ln>
                <a:solidFill>
                  <a:prstClr val="black"/>
                </a:solidFill>
                <a:effectLst/>
                <a:uLnTx/>
                <a:uFillTx/>
                <a:latin typeface="Arial" panose="020B0604020202020204"/>
                <a:ea typeface="+mn-ea"/>
                <a:cs typeface="+mn-cs"/>
              </a:rPr>
              <a:t>MVA</a:t>
            </a:r>
            <a:endParaRPr kumimoji="0" lang="nb-NO"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TekstSylinder 7"/>
          <p:cNvSpPr txBox="1"/>
          <p:nvPr/>
        </p:nvSpPr>
        <p:spPr>
          <a:xfrm>
            <a:off x="6182980" y="3063311"/>
            <a:ext cx="627888" cy="307777"/>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black"/>
                </a:solidFill>
                <a:effectLst/>
                <a:uLnTx/>
                <a:uFillTx/>
                <a:latin typeface="Arial" panose="020B0604020202020204"/>
                <a:ea typeface="+mn-ea"/>
                <a:cs typeface="+mn-cs"/>
              </a:rPr>
              <a:t>Skatt</a:t>
            </a:r>
          </a:p>
        </p:txBody>
      </p:sp>
      <p:sp>
        <p:nvSpPr>
          <p:cNvPr id="9" name="TekstSylinder 8"/>
          <p:cNvSpPr txBox="1"/>
          <p:nvPr/>
        </p:nvSpPr>
        <p:spPr>
          <a:xfrm>
            <a:off x="5331550" y="2990006"/>
            <a:ext cx="627888" cy="369332"/>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prstClr val="black"/>
                </a:solidFill>
                <a:effectLst/>
                <a:uLnTx/>
                <a:uFillTx/>
                <a:latin typeface="Arial" panose="020B0604020202020204"/>
                <a:ea typeface="+mn-ea"/>
                <a:cs typeface="+mn-cs"/>
              </a:rPr>
              <a:t>Sær-</a:t>
            </a:r>
          </a:p>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prstClr val="black"/>
                </a:solidFill>
                <a:effectLst/>
                <a:uLnTx/>
                <a:uFillTx/>
                <a:latin typeface="Arial" panose="020B0604020202020204"/>
                <a:ea typeface="+mn-ea"/>
                <a:cs typeface="+mn-cs"/>
              </a:rPr>
              <a:t>avgift</a:t>
            </a:r>
            <a:endParaRPr kumimoji="0" lang="nb-NO" sz="105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0" name="Bilde 9"/>
          <p:cNvPicPr>
            <a:picLocks noChangeAspect="1"/>
          </p:cNvPicPr>
          <p:nvPr/>
        </p:nvPicPr>
        <p:blipFill>
          <a:blip r:embed="rId3"/>
          <a:stretch>
            <a:fillRect/>
          </a:stretch>
        </p:blipFill>
        <p:spPr>
          <a:xfrm>
            <a:off x="6363784" y="2935012"/>
            <a:ext cx="133140" cy="128299"/>
          </a:xfrm>
          <a:prstGeom prst="rect">
            <a:avLst/>
          </a:prstGeom>
        </p:spPr>
      </p:pic>
      <p:pic>
        <p:nvPicPr>
          <p:cNvPr id="11" name="Bilde 10"/>
          <p:cNvPicPr>
            <a:picLocks noChangeAspect="1"/>
          </p:cNvPicPr>
          <p:nvPr/>
        </p:nvPicPr>
        <p:blipFill>
          <a:blip r:embed="rId3"/>
          <a:stretch>
            <a:fillRect/>
          </a:stretch>
        </p:blipFill>
        <p:spPr>
          <a:xfrm>
            <a:off x="8021301" y="2990006"/>
            <a:ext cx="133140" cy="128299"/>
          </a:xfrm>
          <a:prstGeom prst="rect">
            <a:avLst/>
          </a:prstGeom>
        </p:spPr>
      </p:pic>
      <p:pic>
        <p:nvPicPr>
          <p:cNvPr id="12" name="Bilde 11"/>
          <p:cNvPicPr>
            <a:picLocks noChangeAspect="1"/>
          </p:cNvPicPr>
          <p:nvPr/>
        </p:nvPicPr>
        <p:blipFill>
          <a:blip r:embed="rId3"/>
          <a:stretch>
            <a:fillRect/>
          </a:stretch>
        </p:blipFill>
        <p:spPr>
          <a:xfrm>
            <a:off x="5499831" y="2886823"/>
            <a:ext cx="133140" cy="128299"/>
          </a:xfrm>
          <a:prstGeom prst="rect">
            <a:avLst/>
          </a:prstGeom>
        </p:spPr>
      </p:pic>
      <p:graphicFrame>
        <p:nvGraphicFramePr>
          <p:cNvPr id="3" name="Diagram 2"/>
          <p:cNvGraphicFramePr/>
          <p:nvPr/>
        </p:nvGraphicFramePr>
        <p:xfrm>
          <a:off x="2627377" y="1527415"/>
          <a:ext cx="2407920" cy="13594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3" name="TekstSylinder 12"/>
          <p:cNvSpPr txBox="1"/>
          <p:nvPr/>
        </p:nvSpPr>
        <p:spPr>
          <a:xfrm>
            <a:off x="1048512" y="457200"/>
            <a:ext cx="6876288" cy="461665"/>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rPr>
              <a:t>Også skylapper på i eget hus</a:t>
            </a:r>
          </a:p>
        </p:txBody>
      </p:sp>
      <p:sp>
        <p:nvSpPr>
          <p:cNvPr id="4" name="Bildeforklaring formet som en sky 3"/>
          <p:cNvSpPr/>
          <p:nvPr/>
        </p:nvSpPr>
        <p:spPr>
          <a:xfrm>
            <a:off x="5401731" y="1657543"/>
            <a:ext cx="566095" cy="298234"/>
          </a:xfrm>
          <a:prstGeom prst="cloud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TekstSylinder 13"/>
          <p:cNvSpPr txBox="1"/>
          <p:nvPr/>
        </p:nvSpPr>
        <p:spPr>
          <a:xfrm>
            <a:off x="5430341" y="1698938"/>
            <a:ext cx="627888" cy="21544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panose="020B0604020202020204"/>
                <a:ea typeface="+mn-ea"/>
                <a:cs typeface="+mn-cs"/>
              </a:rPr>
              <a:t>SAFIR</a:t>
            </a:r>
          </a:p>
        </p:txBody>
      </p:sp>
      <p:sp>
        <p:nvSpPr>
          <p:cNvPr id="18" name="Bildeforklaring formet som en sky 17"/>
          <p:cNvSpPr/>
          <p:nvPr/>
        </p:nvSpPr>
        <p:spPr>
          <a:xfrm>
            <a:off x="6430354" y="1084163"/>
            <a:ext cx="566095" cy="298234"/>
          </a:xfrm>
          <a:prstGeom prst="cloudCallout">
            <a:avLst>
              <a:gd name="adj1" fmla="val -246"/>
              <a:gd name="adj2" fmla="val 65506"/>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TekstSylinder 18"/>
          <p:cNvSpPr txBox="1"/>
          <p:nvPr/>
        </p:nvSpPr>
        <p:spPr>
          <a:xfrm>
            <a:off x="6430354" y="1125558"/>
            <a:ext cx="627888" cy="21544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panose="020B0604020202020204"/>
                <a:ea typeface="+mn-ea"/>
                <a:cs typeface="+mn-cs"/>
              </a:rPr>
              <a:t>SIRIUS</a:t>
            </a:r>
          </a:p>
        </p:txBody>
      </p:sp>
      <p:sp>
        <p:nvSpPr>
          <p:cNvPr id="20" name="Bildeforklaring formet som en sky 19"/>
          <p:cNvSpPr/>
          <p:nvPr/>
        </p:nvSpPr>
        <p:spPr>
          <a:xfrm>
            <a:off x="7990901" y="1774100"/>
            <a:ext cx="566095" cy="298234"/>
          </a:xfrm>
          <a:prstGeom prst="cloudCallou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1" name="TekstSylinder 20"/>
          <p:cNvSpPr txBox="1"/>
          <p:nvPr/>
        </p:nvSpPr>
        <p:spPr>
          <a:xfrm>
            <a:off x="8019511" y="1815495"/>
            <a:ext cx="627888" cy="21544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800" b="0" i="0" u="none" strike="noStrike" kern="1200" cap="none" spc="0" normalizeH="0" baseline="0" noProof="0" dirty="0">
                <a:ln>
                  <a:noFill/>
                </a:ln>
                <a:solidFill>
                  <a:prstClr val="black"/>
                </a:solidFill>
                <a:effectLst/>
                <a:uLnTx/>
                <a:uFillTx/>
                <a:latin typeface="Arial" panose="020B0604020202020204"/>
                <a:ea typeface="+mn-ea"/>
                <a:cs typeface="+mn-cs"/>
              </a:rPr>
              <a:t>MEMO</a:t>
            </a:r>
          </a:p>
        </p:txBody>
      </p:sp>
      <p:grpSp>
        <p:nvGrpSpPr>
          <p:cNvPr id="16" name="Gruppe 15"/>
          <p:cNvGrpSpPr/>
          <p:nvPr/>
        </p:nvGrpSpPr>
        <p:grpSpPr>
          <a:xfrm>
            <a:off x="3193774" y="1162458"/>
            <a:ext cx="1524000" cy="1827548"/>
            <a:chOff x="3193774" y="1162458"/>
            <a:chExt cx="1524000" cy="1827548"/>
          </a:xfrm>
        </p:grpSpPr>
        <p:sp>
          <p:nvSpPr>
            <p:cNvPr id="5" name="Avrundet rektangel 4"/>
            <p:cNvSpPr/>
            <p:nvPr/>
          </p:nvSpPr>
          <p:spPr>
            <a:xfrm>
              <a:off x="3193774" y="1470991"/>
              <a:ext cx="1524000" cy="1519015"/>
            </a:xfrm>
            <a:prstGeom prst="roundRect">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TekstSylinder 14"/>
            <p:cNvSpPr txBox="1"/>
            <p:nvPr/>
          </p:nvSpPr>
          <p:spPr>
            <a:xfrm>
              <a:off x="3528391" y="1162458"/>
              <a:ext cx="990600" cy="307777"/>
            </a:xfrm>
            <a:prstGeom prst="rect">
              <a:avLst/>
            </a:prstGeom>
            <a:noFill/>
          </p:spPr>
          <p:txBody>
            <a:bodyPr wrap="square" rtlCol="0">
              <a:spAutoFit/>
            </a:bodyPr>
            <a:lstStyle/>
            <a:p>
              <a:r>
                <a:rPr lang="nb-NO" dirty="0"/>
                <a:t>IT-system</a:t>
              </a:r>
            </a:p>
          </p:txBody>
        </p:sp>
      </p:grpSp>
      <p:pic>
        <p:nvPicPr>
          <p:cNvPr id="22" name="Bilde 21"/>
          <p:cNvPicPr>
            <a:picLocks noChangeAspect="1"/>
          </p:cNvPicPr>
          <p:nvPr/>
        </p:nvPicPr>
        <p:blipFill>
          <a:blip r:embed="rId9"/>
          <a:stretch>
            <a:fillRect/>
          </a:stretch>
        </p:blipFill>
        <p:spPr>
          <a:xfrm>
            <a:off x="5259519" y="827400"/>
            <a:ext cx="3293476" cy="4028681"/>
          </a:xfrm>
          <a:prstGeom prst="rect">
            <a:avLst/>
          </a:prstGeom>
        </p:spPr>
      </p:pic>
    </p:spTree>
    <p:extLst>
      <p:ext uri="{BB962C8B-B14F-4D97-AF65-F5344CB8AC3E}">
        <p14:creationId xmlns:p14="http://schemas.microsoft.com/office/powerpoint/2010/main" val="21663704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ssholder for innhold 3"/>
          <p:cNvPicPr>
            <a:picLocks noChangeAspect="1"/>
          </p:cNvPicPr>
          <p:nvPr/>
        </p:nvPicPr>
        <p:blipFill>
          <a:blip r:embed="rId2"/>
          <a:stretch>
            <a:fillRect/>
          </a:stretch>
        </p:blipFill>
        <p:spPr>
          <a:xfrm>
            <a:off x="5465806" y="1341002"/>
            <a:ext cx="2806465" cy="3456663"/>
          </a:xfrm>
          <a:prstGeom prst="rect">
            <a:avLst/>
          </a:prstGeom>
        </p:spPr>
      </p:pic>
      <p:sp>
        <p:nvSpPr>
          <p:cNvPr id="6" name="Plassholder for innhold 1"/>
          <p:cNvSpPr>
            <a:spLocks noGrp="1"/>
          </p:cNvSpPr>
          <p:nvPr>
            <p:ph sz="half" idx="2"/>
          </p:nvPr>
        </p:nvSpPr>
        <p:spPr>
          <a:xfrm>
            <a:off x="321979" y="1341002"/>
            <a:ext cx="5031899" cy="3495989"/>
          </a:xfrm>
        </p:spPr>
        <p:txBody>
          <a:bodyPr/>
          <a:lstStyle/>
          <a:p>
            <a:r>
              <a:rPr lang="nb-NO" dirty="0"/>
              <a:t>Det krever endring i hvordan vi styrer utvikling og endring av produkter og informasjon </a:t>
            </a:r>
          </a:p>
        </p:txBody>
      </p:sp>
      <p:grpSp>
        <p:nvGrpSpPr>
          <p:cNvPr id="7" name="Gruppe 6"/>
          <p:cNvGrpSpPr/>
          <p:nvPr/>
        </p:nvGrpSpPr>
        <p:grpSpPr>
          <a:xfrm>
            <a:off x="652000" y="2640685"/>
            <a:ext cx="3326631" cy="2470750"/>
            <a:chOff x="1135989" y="611733"/>
            <a:chExt cx="747674" cy="747674"/>
          </a:xfrm>
        </p:grpSpPr>
        <p:sp>
          <p:nvSpPr>
            <p:cNvPr id="8" name="Figur 7"/>
            <p:cNvSpPr/>
            <p:nvPr/>
          </p:nvSpPr>
          <p:spPr>
            <a:xfrm>
              <a:off x="1135989" y="611733"/>
              <a:ext cx="747674" cy="747674"/>
            </a:xfrm>
            <a:prstGeom prst="gear9">
              <a:avLst/>
            </a:prstGeom>
            <a:solidFill>
              <a:srgbClr val="0070C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9" name="Figur 4"/>
            <p:cNvSpPr txBox="1"/>
            <p:nvPr/>
          </p:nvSpPr>
          <p:spPr>
            <a:xfrm>
              <a:off x="1286305" y="786872"/>
              <a:ext cx="447042" cy="3843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2800" b="0" i="0" u="none" strike="noStrike" kern="1200" cap="none" spc="0" normalizeH="0" baseline="0" noProof="0" dirty="0">
                  <a:ln>
                    <a:noFill/>
                  </a:ln>
                  <a:solidFill>
                    <a:prstClr val="white"/>
                  </a:solidFill>
                  <a:effectLst/>
                  <a:uLnTx/>
                  <a:uFillTx/>
                  <a:latin typeface="Arial" panose="020B0604020202020204"/>
                  <a:ea typeface="+mn-ea"/>
                  <a:cs typeface="+mn-cs"/>
                </a:rPr>
                <a:t>Informasjon</a:t>
              </a:r>
            </a:p>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1050" b="0" i="0" u="none" strike="noStrike" kern="1200" cap="none" spc="0" normalizeH="0" baseline="0" noProof="0" dirty="0">
                  <a:ln>
                    <a:noFill/>
                  </a:ln>
                  <a:solidFill>
                    <a:prstClr val="white"/>
                  </a:solidFill>
                  <a:effectLst/>
                  <a:uLnTx/>
                  <a:uFillTx/>
                  <a:latin typeface="Arial" panose="020B0604020202020204"/>
                  <a:ea typeface="+mn-ea"/>
                  <a:cs typeface="+mn-cs"/>
                </a:rPr>
                <a:t>«Kun en gang»</a:t>
              </a:r>
            </a:p>
          </p:txBody>
        </p:sp>
      </p:grpSp>
      <p:grpSp>
        <p:nvGrpSpPr>
          <p:cNvPr id="10" name="Gruppe 9"/>
          <p:cNvGrpSpPr/>
          <p:nvPr/>
        </p:nvGrpSpPr>
        <p:grpSpPr>
          <a:xfrm>
            <a:off x="2226745" y="2081328"/>
            <a:ext cx="726019" cy="688930"/>
            <a:chOff x="700979" y="435010"/>
            <a:chExt cx="543763" cy="543763"/>
          </a:xfrm>
        </p:grpSpPr>
        <p:sp>
          <p:nvSpPr>
            <p:cNvPr id="11" name="Figur 10"/>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grpSp>
        <p:nvGrpSpPr>
          <p:cNvPr id="13" name="Gruppe 12"/>
          <p:cNvGrpSpPr/>
          <p:nvPr/>
        </p:nvGrpSpPr>
        <p:grpSpPr>
          <a:xfrm rot="21086139">
            <a:off x="3343868" y="2585601"/>
            <a:ext cx="726019" cy="688930"/>
            <a:chOff x="700979" y="435010"/>
            <a:chExt cx="543763" cy="543763"/>
          </a:xfrm>
        </p:grpSpPr>
        <p:sp>
          <p:nvSpPr>
            <p:cNvPr id="14" name="Figur 13"/>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grpSp>
        <p:nvGrpSpPr>
          <p:cNvPr id="16" name="Gruppe 15"/>
          <p:cNvGrpSpPr/>
          <p:nvPr/>
        </p:nvGrpSpPr>
        <p:grpSpPr>
          <a:xfrm rot="20796545">
            <a:off x="1117863" y="2273763"/>
            <a:ext cx="726019" cy="688930"/>
            <a:chOff x="700979" y="435010"/>
            <a:chExt cx="543763" cy="543763"/>
          </a:xfrm>
        </p:grpSpPr>
        <p:sp>
          <p:nvSpPr>
            <p:cNvPr id="17" name="Figur 16"/>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grpSp>
        <p:nvGrpSpPr>
          <p:cNvPr id="19" name="Gruppe 18"/>
          <p:cNvGrpSpPr/>
          <p:nvPr/>
        </p:nvGrpSpPr>
        <p:grpSpPr>
          <a:xfrm rot="1925222">
            <a:off x="3834407" y="3531594"/>
            <a:ext cx="726019" cy="688930"/>
            <a:chOff x="700979" y="435010"/>
            <a:chExt cx="543763" cy="543763"/>
          </a:xfrm>
        </p:grpSpPr>
        <p:sp>
          <p:nvSpPr>
            <p:cNvPr id="20" name="Figur 19"/>
            <p:cNvSpPr/>
            <p:nvPr/>
          </p:nvSpPr>
          <p:spPr>
            <a:xfrm>
              <a:off x="700979" y="435010"/>
              <a:ext cx="543763" cy="543763"/>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Figur 4"/>
            <p:cNvSpPr txBox="1"/>
            <p:nvPr/>
          </p:nvSpPr>
          <p:spPr>
            <a:xfrm>
              <a:off x="837873" y="572731"/>
              <a:ext cx="269975" cy="2683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222250" rtl="0" eaLnBrk="1" fontAlgn="auto" latinLnBrk="0" hangingPunct="1">
                <a:lnSpc>
                  <a:spcPct val="90000"/>
                </a:lnSpc>
                <a:spcBef>
                  <a:spcPct val="0"/>
                </a:spcBef>
                <a:spcAft>
                  <a:spcPct val="35000"/>
                </a:spcAft>
                <a:buClrTx/>
                <a:buSzTx/>
                <a:buFontTx/>
                <a:buNone/>
                <a:tabLst/>
                <a:defRPr/>
              </a:pPr>
              <a:r>
                <a:rPr kumimoji="0" lang="nb-NO" sz="500" b="0" i="0" u="none" strike="noStrike" kern="1200" cap="none" spc="0" normalizeH="0" baseline="0" noProof="0" dirty="0">
                  <a:ln>
                    <a:noFill/>
                  </a:ln>
                  <a:solidFill>
                    <a:prstClr val="white"/>
                  </a:solidFill>
                  <a:effectLst/>
                  <a:uLnTx/>
                  <a:uFillTx/>
                  <a:latin typeface="Arial" panose="020B0604020202020204"/>
                  <a:ea typeface="+mn-ea"/>
                  <a:cs typeface="+mn-cs"/>
                </a:rPr>
                <a:t>Prosess</a:t>
              </a:r>
            </a:p>
          </p:txBody>
        </p:sp>
      </p:grpSp>
      <p:sp>
        <p:nvSpPr>
          <p:cNvPr id="22" name="TekstSylinder 21"/>
          <p:cNvSpPr txBox="1"/>
          <p:nvPr/>
        </p:nvSpPr>
        <p:spPr>
          <a:xfrm>
            <a:off x="801109" y="457200"/>
            <a:ext cx="8130856" cy="461665"/>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rPr>
              <a:t>«Kun en gang» </a:t>
            </a:r>
            <a:r>
              <a:rPr lang="nb-NO" sz="2400" b="1" noProof="0" dirty="0">
                <a:solidFill>
                  <a:prstClr val="black"/>
                </a:solidFill>
                <a:latin typeface="Arial" panose="020B0604020202020204"/>
              </a:rPr>
              <a:t>gjør også data til «felleskomponenter»</a:t>
            </a:r>
            <a:endParaRPr kumimoji="0" lang="nb-NO" sz="2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3" name="Gruppe 22"/>
          <p:cNvGrpSpPr/>
          <p:nvPr/>
        </p:nvGrpSpPr>
        <p:grpSpPr>
          <a:xfrm>
            <a:off x="653875" y="2040678"/>
            <a:ext cx="671282" cy="635604"/>
            <a:chOff x="1005541" y="59869"/>
            <a:chExt cx="532776" cy="532776"/>
          </a:xfrm>
        </p:grpSpPr>
        <p:sp>
          <p:nvSpPr>
            <p:cNvPr id="24" name="Figur 23"/>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grpSp>
        <p:nvGrpSpPr>
          <p:cNvPr id="26" name="Gruppe 25"/>
          <p:cNvGrpSpPr/>
          <p:nvPr/>
        </p:nvGrpSpPr>
        <p:grpSpPr>
          <a:xfrm>
            <a:off x="3910414" y="2358480"/>
            <a:ext cx="671282" cy="635604"/>
            <a:chOff x="1005541" y="59869"/>
            <a:chExt cx="532776" cy="532776"/>
          </a:xfrm>
        </p:grpSpPr>
        <p:sp>
          <p:nvSpPr>
            <p:cNvPr id="27" name="Figur 26"/>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grpSp>
        <p:nvGrpSpPr>
          <p:cNvPr id="29" name="Gruppe 28"/>
          <p:cNvGrpSpPr/>
          <p:nvPr/>
        </p:nvGrpSpPr>
        <p:grpSpPr>
          <a:xfrm>
            <a:off x="4456283" y="3480208"/>
            <a:ext cx="671282" cy="635604"/>
            <a:chOff x="1005541" y="59869"/>
            <a:chExt cx="532776" cy="532776"/>
          </a:xfrm>
        </p:grpSpPr>
        <p:sp>
          <p:nvSpPr>
            <p:cNvPr id="30" name="Figur 29"/>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grpSp>
        <p:nvGrpSpPr>
          <p:cNvPr id="32" name="Gruppe 31"/>
          <p:cNvGrpSpPr/>
          <p:nvPr/>
        </p:nvGrpSpPr>
        <p:grpSpPr>
          <a:xfrm>
            <a:off x="2800622" y="1900746"/>
            <a:ext cx="671282" cy="635604"/>
            <a:chOff x="1005541" y="59869"/>
            <a:chExt cx="532776" cy="532776"/>
          </a:xfrm>
        </p:grpSpPr>
        <p:sp>
          <p:nvSpPr>
            <p:cNvPr id="33" name="Figur 32"/>
            <p:cNvSpPr/>
            <p:nvPr/>
          </p:nvSpPr>
          <p:spPr>
            <a:xfrm rot="20700000">
              <a:off x="1005541" y="59869"/>
              <a:ext cx="532776" cy="532776"/>
            </a:xfrm>
            <a:prstGeom prst="gear6">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4" name="Figur 4"/>
            <p:cNvSpPr txBox="1"/>
            <p:nvPr/>
          </p:nvSpPr>
          <p:spPr>
            <a:xfrm>
              <a:off x="1122395" y="176723"/>
              <a:ext cx="299069" cy="29906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nb-NO" sz="500" kern="1200" dirty="0"/>
                <a:t>Lov</a:t>
              </a:r>
            </a:p>
          </p:txBody>
        </p:sp>
      </p:grpSp>
    </p:spTree>
    <p:extLst>
      <p:ext uri="{BB962C8B-B14F-4D97-AF65-F5344CB8AC3E}">
        <p14:creationId xmlns:p14="http://schemas.microsoft.com/office/powerpoint/2010/main" val="328363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100" name="Rektangel 99"/>
          <p:cNvSpPr/>
          <p:nvPr/>
        </p:nvSpPr>
        <p:spPr>
          <a:xfrm>
            <a:off x="1327549" y="3340450"/>
            <a:ext cx="1652383" cy="794044"/>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5" name="Rektangel 124"/>
          <p:cNvSpPr/>
          <p:nvPr/>
        </p:nvSpPr>
        <p:spPr>
          <a:xfrm>
            <a:off x="1573381" y="859873"/>
            <a:ext cx="2685737" cy="12932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panose="020F0502020204030204"/>
                <a:ea typeface="+mn-ea"/>
                <a:cs typeface="+mn-cs"/>
              </a:rPr>
              <a:t>Informasjon og analyseplattform</a:t>
            </a:r>
          </a:p>
        </p:txBody>
      </p:sp>
      <p:sp>
        <p:nvSpPr>
          <p:cNvPr id="25" name="Rektangel 24"/>
          <p:cNvSpPr/>
          <p:nvPr/>
        </p:nvSpPr>
        <p:spPr>
          <a:xfrm>
            <a:off x="-12068" y="3317526"/>
            <a:ext cx="1311834" cy="830997"/>
          </a:xfrm>
          <a:prstGeom prst="rect">
            <a:avLst/>
          </a:prstGeom>
        </p:spPr>
        <p:txBody>
          <a:bodyPr wrap="none">
            <a:spAutoFit/>
          </a:bodyP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err="1">
                <a:ln>
                  <a:noFill/>
                </a:ln>
                <a:solidFill>
                  <a:prstClr val="white"/>
                </a:solidFill>
                <a:effectLst/>
                <a:uLnTx/>
                <a:uFillTx/>
                <a:latin typeface="Calibri" panose="020F0502020204030204"/>
                <a:ea typeface="+mn-ea"/>
                <a:cs typeface="+mn-cs"/>
              </a:rPr>
              <a:t>Skattekister</a:t>
            </a:r>
            <a:endPar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rPr>
              <a:t>med datasett</a:t>
            </a: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rPr>
              <a:t>(Skatteinfo)</a:t>
            </a:r>
          </a:p>
        </p:txBody>
      </p:sp>
      <p:sp>
        <p:nvSpPr>
          <p:cNvPr id="46" name="Avrund ett hjørne i rektangel 45"/>
          <p:cNvSpPr/>
          <p:nvPr/>
        </p:nvSpPr>
        <p:spPr>
          <a:xfrm>
            <a:off x="1397232" y="3519237"/>
            <a:ext cx="38235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32" name="Avrund ett hjørne i rektangel 131"/>
          <p:cNvSpPr/>
          <p:nvPr/>
        </p:nvSpPr>
        <p:spPr>
          <a:xfrm>
            <a:off x="1815843" y="3523008"/>
            <a:ext cx="34023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34" name="Avrund ett hjørne i rektangel 133"/>
          <p:cNvSpPr/>
          <p:nvPr/>
        </p:nvSpPr>
        <p:spPr>
          <a:xfrm>
            <a:off x="2192339" y="3521912"/>
            <a:ext cx="337209"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36" name="Avrund ett hjørne i rektangel 135"/>
          <p:cNvSpPr/>
          <p:nvPr/>
        </p:nvSpPr>
        <p:spPr>
          <a:xfrm>
            <a:off x="2599281" y="3521912"/>
            <a:ext cx="330833"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38" name="Rektangel 137"/>
          <p:cNvSpPr/>
          <p:nvPr/>
        </p:nvSpPr>
        <p:spPr>
          <a:xfrm>
            <a:off x="3116626" y="3340450"/>
            <a:ext cx="1685939" cy="794044"/>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0" name="Avrund ett hjørne i rektangel 139"/>
          <p:cNvSpPr/>
          <p:nvPr/>
        </p:nvSpPr>
        <p:spPr>
          <a:xfrm>
            <a:off x="3186309" y="3519237"/>
            <a:ext cx="38235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41" name="Avrund ett hjørne i rektangel 140"/>
          <p:cNvSpPr/>
          <p:nvPr/>
        </p:nvSpPr>
        <p:spPr>
          <a:xfrm>
            <a:off x="3604920" y="3523008"/>
            <a:ext cx="34023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42" name="Avrund ett hjørne i rektangel 141"/>
          <p:cNvSpPr/>
          <p:nvPr/>
        </p:nvSpPr>
        <p:spPr>
          <a:xfrm>
            <a:off x="3981416" y="3521912"/>
            <a:ext cx="337210"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43" name="Avrund ett hjørne i rektangel 142"/>
          <p:cNvSpPr/>
          <p:nvPr/>
        </p:nvSpPr>
        <p:spPr>
          <a:xfrm>
            <a:off x="4388358" y="3521912"/>
            <a:ext cx="332623"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44" name="Rektangel 143"/>
          <p:cNvSpPr/>
          <p:nvPr/>
        </p:nvSpPr>
        <p:spPr>
          <a:xfrm>
            <a:off x="4905704" y="3336209"/>
            <a:ext cx="1710801" cy="772114"/>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6" name="Avrund ett hjørne i rektangel 145"/>
          <p:cNvSpPr/>
          <p:nvPr/>
        </p:nvSpPr>
        <p:spPr>
          <a:xfrm>
            <a:off x="4997041" y="3514996"/>
            <a:ext cx="38235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49" name="Avrund ett hjørne i rektangel 148"/>
          <p:cNvSpPr/>
          <p:nvPr/>
        </p:nvSpPr>
        <p:spPr>
          <a:xfrm>
            <a:off x="5415652" y="3518767"/>
            <a:ext cx="34023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52" name="Avrund ett hjørne i rektangel 151"/>
          <p:cNvSpPr/>
          <p:nvPr/>
        </p:nvSpPr>
        <p:spPr>
          <a:xfrm>
            <a:off x="5792148" y="3517671"/>
            <a:ext cx="34949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53" name="Avrund ett hjørne i rektangel 152"/>
          <p:cNvSpPr/>
          <p:nvPr/>
        </p:nvSpPr>
        <p:spPr>
          <a:xfrm>
            <a:off x="6199090" y="3517671"/>
            <a:ext cx="332623"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55" name="Rektangel 154"/>
          <p:cNvSpPr/>
          <p:nvPr/>
        </p:nvSpPr>
        <p:spPr>
          <a:xfrm>
            <a:off x="6774825" y="3336208"/>
            <a:ext cx="1786079" cy="77145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6" name="Avrund ett hjørne i rektangel 155"/>
          <p:cNvSpPr/>
          <p:nvPr/>
        </p:nvSpPr>
        <p:spPr>
          <a:xfrm>
            <a:off x="6844508" y="3514996"/>
            <a:ext cx="38235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57" name="Avrund ett hjørne i rektangel 156"/>
          <p:cNvSpPr/>
          <p:nvPr/>
        </p:nvSpPr>
        <p:spPr>
          <a:xfrm>
            <a:off x="7263120" y="3518767"/>
            <a:ext cx="37649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59" name="Avrund ett hjørne i rektangel 158"/>
          <p:cNvSpPr/>
          <p:nvPr/>
        </p:nvSpPr>
        <p:spPr>
          <a:xfrm>
            <a:off x="7679371" y="3517671"/>
            <a:ext cx="337210"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60" name="Avrund ett hjørne i rektangel 159"/>
          <p:cNvSpPr/>
          <p:nvPr/>
        </p:nvSpPr>
        <p:spPr>
          <a:xfrm>
            <a:off x="8046557" y="3517671"/>
            <a:ext cx="338063"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61" name="Rektangel 160"/>
          <p:cNvSpPr/>
          <p:nvPr/>
        </p:nvSpPr>
        <p:spPr>
          <a:xfrm>
            <a:off x="4997041" y="864357"/>
            <a:ext cx="2682330" cy="13036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Calibri" panose="020F0502020204030204"/>
                <a:ea typeface="+mn-ea"/>
                <a:cs typeface="+mn-cs"/>
              </a:rPr>
              <a:t>Datasamarbeid </a:t>
            </a: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Calibri" panose="020F0502020204030204"/>
                <a:ea typeface="+mn-ea"/>
                <a:cs typeface="+mn-cs"/>
              </a:rPr>
              <a:t>(deling)</a:t>
            </a:r>
            <a:endParaRPr kumimoji="0" lang="nb-NO" sz="74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2" name="Avrundet rektangel 161"/>
          <p:cNvSpPr/>
          <p:nvPr/>
        </p:nvSpPr>
        <p:spPr>
          <a:xfrm rot="10800000" flipV="1">
            <a:off x="3100848" y="3953608"/>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Skatt</a:t>
            </a:r>
          </a:p>
        </p:txBody>
      </p:sp>
      <p:sp>
        <p:nvSpPr>
          <p:cNvPr id="164" name="Avrundet rektangel 163"/>
          <p:cNvSpPr/>
          <p:nvPr/>
        </p:nvSpPr>
        <p:spPr>
          <a:xfrm rot="10800000" flipV="1">
            <a:off x="4915501" y="3927436"/>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Avgift</a:t>
            </a:r>
          </a:p>
        </p:txBody>
      </p:sp>
      <p:sp>
        <p:nvSpPr>
          <p:cNvPr id="165" name="Avrundet rektangel 164"/>
          <p:cNvSpPr/>
          <p:nvPr/>
        </p:nvSpPr>
        <p:spPr>
          <a:xfrm rot="10800000" flipV="1">
            <a:off x="6769594" y="3926775"/>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Innkreving</a:t>
            </a:r>
          </a:p>
        </p:txBody>
      </p:sp>
      <p:sp>
        <p:nvSpPr>
          <p:cNvPr id="167" name="Avrund ett hjørne i rektangel 166"/>
          <p:cNvSpPr/>
          <p:nvPr/>
        </p:nvSpPr>
        <p:spPr>
          <a:xfrm>
            <a:off x="2236849" y="1715040"/>
            <a:ext cx="326391"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cxnSp>
        <p:nvCxnSpPr>
          <p:cNvPr id="29" name="Rett pilkobling 28"/>
          <p:cNvCxnSpPr/>
          <p:nvPr/>
        </p:nvCxnSpPr>
        <p:spPr>
          <a:xfrm flipV="1">
            <a:off x="1576149" y="1978242"/>
            <a:ext cx="790463" cy="15367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0" name="Avrund ett hjørne i rektangel 169"/>
          <p:cNvSpPr/>
          <p:nvPr/>
        </p:nvSpPr>
        <p:spPr>
          <a:xfrm>
            <a:off x="2876849" y="1715040"/>
            <a:ext cx="541576"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D2</a:t>
            </a:r>
          </a:p>
        </p:txBody>
      </p:sp>
      <p:cxnSp>
        <p:nvCxnSpPr>
          <p:cNvPr id="171" name="Rett pilkobling 170"/>
          <p:cNvCxnSpPr/>
          <p:nvPr/>
        </p:nvCxnSpPr>
        <p:spPr>
          <a:xfrm flipV="1">
            <a:off x="2366612" y="1970230"/>
            <a:ext cx="710938" cy="15447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Rett pilkobling 171"/>
          <p:cNvCxnSpPr>
            <a:stCxn id="141" idx="0"/>
          </p:cNvCxnSpPr>
          <p:nvPr/>
        </p:nvCxnSpPr>
        <p:spPr>
          <a:xfrm flipH="1" flipV="1">
            <a:off x="3175018" y="1978242"/>
            <a:ext cx="600020" cy="15447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3" name="Rett pilkobling 172"/>
          <p:cNvCxnSpPr/>
          <p:nvPr/>
        </p:nvCxnSpPr>
        <p:spPr>
          <a:xfrm flipV="1">
            <a:off x="5245768" y="1990826"/>
            <a:ext cx="709360" cy="152417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4" name="Avrund ett hjørne i rektangel 173"/>
          <p:cNvSpPr/>
          <p:nvPr/>
        </p:nvSpPr>
        <p:spPr>
          <a:xfrm>
            <a:off x="5791448" y="1736435"/>
            <a:ext cx="382352"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cxnSp>
        <p:nvCxnSpPr>
          <p:cNvPr id="175" name="Rett pilkobling 174"/>
          <p:cNvCxnSpPr>
            <a:stCxn id="157" idx="0"/>
          </p:cNvCxnSpPr>
          <p:nvPr/>
        </p:nvCxnSpPr>
        <p:spPr>
          <a:xfrm flipH="1" flipV="1">
            <a:off x="6888380" y="1999637"/>
            <a:ext cx="562988" cy="151913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6" name="Avrund ett hjørne i rektangel 175"/>
          <p:cNvSpPr/>
          <p:nvPr/>
        </p:nvSpPr>
        <p:spPr>
          <a:xfrm>
            <a:off x="6735575" y="1691365"/>
            <a:ext cx="357516" cy="31055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50" name="Avrundet rektangel 49"/>
          <p:cNvSpPr/>
          <p:nvPr/>
        </p:nvSpPr>
        <p:spPr>
          <a:xfrm rot="10800000" flipV="1">
            <a:off x="1322318" y="3961226"/>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Grunnlagsdata</a:t>
            </a:r>
          </a:p>
        </p:txBody>
      </p:sp>
    </p:spTree>
    <p:extLst>
      <p:ext uri="{BB962C8B-B14F-4D97-AF65-F5344CB8AC3E}">
        <p14:creationId xmlns:p14="http://schemas.microsoft.com/office/powerpoint/2010/main" val="2682639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629D576-534A-4B91-87E3-1A0281A0494B}"/>
              </a:ext>
            </a:extLst>
          </p:cNvPr>
          <p:cNvSpPr>
            <a:spLocks noGrp="1"/>
          </p:cNvSpPr>
          <p:nvPr>
            <p:ph type="title"/>
          </p:nvPr>
        </p:nvSpPr>
        <p:spPr>
          <a:xfrm>
            <a:off x="887643" y="359368"/>
            <a:ext cx="8371046" cy="512448"/>
          </a:xfrm>
        </p:spPr>
        <p:txBody>
          <a:bodyPr/>
          <a:lstStyle/>
          <a:p>
            <a:r>
              <a:rPr lang="nb-NO"/>
              <a:t>Samfunnsoppdrag og hovedmålene</a:t>
            </a:r>
          </a:p>
        </p:txBody>
      </p:sp>
      <p:pic>
        <p:nvPicPr>
          <p:cNvPr id="12" name="Bilde 11">
            <a:extLst>
              <a:ext uri="{FF2B5EF4-FFF2-40B4-BE49-F238E27FC236}">
                <a16:creationId xmlns:a16="http://schemas.microsoft.com/office/drawing/2014/main" id="{7C9FFEEE-9ECA-41F1-9D9B-C5A3666AEA6B}"/>
              </a:ext>
            </a:extLst>
          </p:cNvPr>
          <p:cNvPicPr>
            <a:picLocks noChangeAspect="1"/>
          </p:cNvPicPr>
          <p:nvPr/>
        </p:nvPicPr>
        <p:blipFill>
          <a:blip r:embed="rId2"/>
          <a:stretch>
            <a:fillRect/>
          </a:stretch>
        </p:blipFill>
        <p:spPr>
          <a:xfrm>
            <a:off x="4572794" y="1559966"/>
            <a:ext cx="4025350" cy="2512388"/>
          </a:xfrm>
          <a:prstGeom prst="rect">
            <a:avLst/>
          </a:prstGeom>
        </p:spPr>
      </p:pic>
      <p:sp>
        <p:nvSpPr>
          <p:cNvPr id="13" name="Plassholder for innhold 2">
            <a:extLst>
              <a:ext uri="{FF2B5EF4-FFF2-40B4-BE49-F238E27FC236}">
                <a16:creationId xmlns:a16="http://schemas.microsoft.com/office/drawing/2014/main" id="{F67337D4-4E20-4732-BA94-BF9666B56D5C}"/>
              </a:ext>
            </a:extLst>
          </p:cNvPr>
          <p:cNvSpPr>
            <a:spLocks noGrp="1"/>
          </p:cNvSpPr>
          <p:nvPr>
            <p:ph idx="1"/>
          </p:nvPr>
        </p:nvSpPr>
        <p:spPr>
          <a:xfrm>
            <a:off x="169080" y="1299055"/>
            <a:ext cx="3887397" cy="3448452"/>
          </a:xfrm>
        </p:spPr>
        <p:txBody>
          <a:bodyPr>
            <a:normAutofit/>
          </a:bodyPr>
          <a:lstStyle/>
          <a:p>
            <a:r>
              <a:rPr lang="nb-NO" sz="900"/>
              <a:t>Samfunnsoppdraget og hovedmålene er nye siden 2018, og ventes å være gjeldende frem mot 2030.</a:t>
            </a:r>
          </a:p>
          <a:p>
            <a:pPr lvl="1"/>
            <a:r>
              <a:rPr lang="nb-NO" sz="900" b="0" i="0" u="none" strike="noStrike">
                <a:solidFill>
                  <a:srgbClr val="000000"/>
                </a:solidFill>
                <a:effectLst/>
                <a:latin typeface="Arial" panose="020B0604020202020204" pitchFamily="34" charset="0"/>
              </a:rPr>
              <a:t>H1: </a:t>
            </a:r>
            <a:r>
              <a:rPr lang="nb-NO" sz="900" b="1" i="0" u="none" strike="noStrike">
                <a:solidFill>
                  <a:srgbClr val="000000"/>
                </a:solidFill>
                <a:effectLst/>
                <a:latin typeface="Arial" panose="020B0604020202020204" pitchFamily="34" charset="0"/>
              </a:rPr>
              <a:t>Skatte- og opplysningspliktige </a:t>
            </a:r>
            <a:r>
              <a:rPr lang="nb-NO" sz="900" b="0" i="0" u="none" strike="noStrike">
                <a:solidFill>
                  <a:srgbClr val="000000"/>
                </a:solidFill>
                <a:effectLst/>
                <a:latin typeface="Arial" panose="020B0604020202020204" pitchFamily="34" charset="0"/>
              </a:rPr>
              <a:t>erfarer velfungerende ordninger som sikrer enkel og riktig registrering, rapportering og innbetaling. Skatteetaten skal likebehandle, og uriktige og manglende opplysninger avdekkes og korrigeres.</a:t>
            </a:r>
          </a:p>
          <a:p>
            <a:pPr lvl="1"/>
            <a:r>
              <a:rPr lang="nb-NO" sz="900"/>
              <a:t>H2: </a:t>
            </a:r>
            <a:r>
              <a:rPr lang="nb-NO" sz="900" b="0" i="0" u="none" strike="noStrike">
                <a:solidFill>
                  <a:srgbClr val="000000"/>
                </a:solidFill>
                <a:effectLst/>
                <a:latin typeface="Arial" panose="020B0604020202020204" pitchFamily="34" charset="0"/>
              </a:rPr>
              <a:t>Skatteetaten ivaretar </a:t>
            </a:r>
            <a:r>
              <a:rPr lang="nb-NO" sz="900" b="1" i="0" u="none" strike="noStrike">
                <a:solidFill>
                  <a:srgbClr val="000000"/>
                </a:solidFill>
                <a:effectLst/>
                <a:latin typeface="Arial" panose="020B0604020202020204" pitchFamily="34" charset="0"/>
              </a:rPr>
              <a:t>det offentlige og andre brukeres behov </a:t>
            </a:r>
            <a:r>
              <a:rPr lang="nb-NO" sz="900" b="0" i="0" u="none" strike="noStrike">
                <a:solidFill>
                  <a:srgbClr val="000000"/>
                </a:solidFill>
                <a:effectLst/>
                <a:latin typeface="Arial" panose="020B0604020202020204" pitchFamily="34" charset="0"/>
              </a:rPr>
              <a:t>for registerdata og informasjon som de kan legge til grunn i sitt arbeid. Skatteetaten har en effektiv og sikker innsamling, bearbeiding og tilgjengeliggjøring av informasjon nasjonalt og internasjonalt.</a:t>
            </a:r>
          </a:p>
          <a:p>
            <a:pPr lvl="1"/>
            <a:r>
              <a:rPr lang="nb-NO" sz="900">
                <a:solidFill>
                  <a:srgbClr val="000000"/>
                </a:solidFill>
                <a:latin typeface="Arial" panose="020B0604020202020204" pitchFamily="34" charset="0"/>
              </a:rPr>
              <a:t>H3: </a:t>
            </a:r>
            <a:r>
              <a:rPr lang="nb-NO" sz="900" b="0" i="0" u="none" strike="noStrike">
                <a:solidFill>
                  <a:srgbClr val="000000"/>
                </a:solidFill>
                <a:effectLst/>
                <a:latin typeface="Arial" panose="020B0604020202020204" pitchFamily="34" charset="0"/>
              </a:rPr>
              <a:t>Skatte- og opplysningspliktige opplever at Skatteetaten </a:t>
            </a:r>
            <a:r>
              <a:rPr lang="nb-NO" sz="900" b="1" i="0" u="none" strike="noStrike">
                <a:solidFill>
                  <a:srgbClr val="000000"/>
                </a:solidFill>
                <a:effectLst/>
                <a:latin typeface="Arial" panose="020B0604020202020204" pitchFamily="34" charset="0"/>
              </a:rPr>
              <a:t>forvalter regelverket slik at rettigheter og plikter ivaretas</a:t>
            </a:r>
            <a:r>
              <a:rPr lang="nb-NO" sz="900" b="0" i="0" u="none" strike="noStrike">
                <a:solidFill>
                  <a:srgbClr val="000000"/>
                </a:solidFill>
                <a:effectLst/>
                <a:latin typeface="Arial" panose="020B0604020202020204" pitchFamily="34" charset="0"/>
              </a:rPr>
              <a:t>. Skatte- og opplysningspliktige opplever profesjonell og effektiv saksbehandling, god informasjon og at informasjon forvaltes på en trygg måte.</a:t>
            </a:r>
            <a:endParaRPr lang="nb-NO" sz="900"/>
          </a:p>
          <a:p>
            <a:r>
              <a:rPr lang="nb-NO" sz="900"/>
              <a:t>Hovedmålene dreier styringen til Finansdepartementet av Skatteetaten mer mot fokus på effekter for samfunnet og brukerne. </a:t>
            </a:r>
          </a:p>
          <a:p>
            <a:r>
              <a:rPr lang="nb-NO" sz="900"/>
              <a:t>Finansdepartementets styring påvirker utviklingen av den interne styringen i Skatteetaten. Det jobbes med å utvikle gode effektindikatorer til hvert av hovedmålene som grunnlag for bedre rapportering til Finansdepartementet.</a:t>
            </a:r>
          </a:p>
          <a:p>
            <a:r>
              <a:rPr lang="nb-NO" sz="900"/>
              <a:t>I stort har vi rapportert gode resultater til hver enkelt hovedmål siden 2018.</a:t>
            </a:r>
          </a:p>
        </p:txBody>
      </p:sp>
    </p:spTree>
    <p:extLst>
      <p:ext uri="{BB962C8B-B14F-4D97-AF65-F5344CB8AC3E}">
        <p14:creationId xmlns:p14="http://schemas.microsoft.com/office/powerpoint/2010/main" val="36472512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lumMod val="65000"/>
            <a:lumOff val="35000"/>
          </a:schemeClr>
        </a:solidFill>
        <a:effectLst/>
      </p:bgPr>
    </p:bg>
    <p:spTree>
      <p:nvGrpSpPr>
        <p:cNvPr id="1" name=""/>
        <p:cNvGrpSpPr/>
        <p:nvPr/>
      </p:nvGrpSpPr>
      <p:grpSpPr>
        <a:xfrm>
          <a:off x="0" y="0"/>
          <a:ext cx="0" cy="0"/>
          <a:chOff x="0" y="0"/>
          <a:chExt cx="0" cy="0"/>
        </a:xfrm>
      </p:grpSpPr>
      <p:sp>
        <p:nvSpPr>
          <p:cNvPr id="100" name="Rektangel 99"/>
          <p:cNvSpPr/>
          <p:nvPr/>
        </p:nvSpPr>
        <p:spPr>
          <a:xfrm>
            <a:off x="1260175" y="3340447"/>
            <a:ext cx="1645474" cy="80166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5" name="Rektangel 124"/>
          <p:cNvSpPr/>
          <p:nvPr/>
        </p:nvSpPr>
        <p:spPr>
          <a:xfrm>
            <a:off x="1583681" y="864354"/>
            <a:ext cx="2793509" cy="12932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panose="020F0502020204030204"/>
                <a:ea typeface="+mn-ea"/>
                <a:cs typeface="+mn-cs"/>
              </a:rPr>
              <a:t>Minerva </a:t>
            </a: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prstClr val="white"/>
                </a:solidFill>
                <a:effectLst/>
                <a:uLnTx/>
                <a:uFillTx/>
                <a:latin typeface="Calibri" panose="020F0502020204030204"/>
                <a:ea typeface="+mn-ea"/>
                <a:cs typeface="+mn-cs"/>
              </a:rPr>
              <a:t>(analyse og rapportering)</a:t>
            </a:r>
          </a:p>
        </p:txBody>
      </p:sp>
      <p:sp>
        <p:nvSpPr>
          <p:cNvPr id="25" name="Rektangel 24"/>
          <p:cNvSpPr/>
          <p:nvPr/>
        </p:nvSpPr>
        <p:spPr>
          <a:xfrm>
            <a:off x="-53251" y="3295254"/>
            <a:ext cx="1311834" cy="830997"/>
          </a:xfrm>
          <a:prstGeom prst="rect">
            <a:avLst/>
          </a:prstGeom>
        </p:spPr>
        <p:txBody>
          <a:bodyPr wrap="none">
            <a:spAutoFit/>
          </a:bodyP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err="1">
                <a:ln>
                  <a:noFill/>
                </a:ln>
                <a:solidFill>
                  <a:prstClr val="white"/>
                </a:solidFill>
                <a:effectLst/>
                <a:uLnTx/>
                <a:uFillTx/>
                <a:latin typeface="Calibri" panose="020F0502020204030204"/>
                <a:ea typeface="+mn-ea"/>
                <a:cs typeface="+mn-cs"/>
              </a:rPr>
              <a:t>Skattekister</a:t>
            </a:r>
            <a:endPar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rPr>
              <a:t>med datasett</a:t>
            </a: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dirty="0">
                <a:ln>
                  <a:noFill/>
                </a:ln>
                <a:solidFill>
                  <a:prstClr val="white"/>
                </a:solidFill>
                <a:effectLst/>
                <a:uLnTx/>
                <a:uFillTx/>
                <a:latin typeface="Calibri" panose="020F0502020204030204"/>
                <a:ea typeface="+mn-ea"/>
                <a:cs typeface="+mn-cs"/>
              </a:rPr>
              <a:t>(Skatteinfo)</a:t>
            </a:r>
          </a:p>
        </p:txBody>
      </p:sp>
      <p:sp>
        <p:nvSpPr>
          <p:cNvPr id="46" name="Avrund ett hjørne i rektangel 45"/>
          <p:cNvSpPr/>
          <p:nvPr/>
        </p:nvSpPr>
        <p:spPr>
          <a:xfrm rot="20119992">
            <a:off x="1317219" y="3521304"/>
            <a:ext cx="393281" cy="328229"/>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32" name="Avrund ett hjørne i rektangel 131"/>
          <p:cNvSpPr/>
          <p:nvPr/>
        </p:nvSpPr>
        <p:spPr>
          <a:xfrm rot="3826055">
            <a:off x="1743533" y="3530938"/>
            <a:ext cx="33842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34" name="Avrund ett hjørne i rektangel 133"/>
          <p:cNvSpPr/>
          <p:nvPr/>
        </p:nvSpPr>
        <p:spPr>
          <a:xfrm rot="1704503">
            <a:off x="2120228" y="3530277"/>
            <a:ext cx="356088" cy="273545"/>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36" name="Avrund ett hjørne i rektangel 135"/>
          <p:cNvSpPr/>
          <p:nvPr/>
        </p:nvSpPr>
        <p:spPr>
          <a:xfrm rot="4451396">
            <a:off x="2525496" y="3530385"/>
            <a:ext cx="337111"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38" name="Rektangel 137"/>
          <p:cNvSpPr/>
          <p:nvPr/>
        </p:nvSpPr>
        <p:spPr>
          <a:xfrm>
            <a:off x="3049251" y="3340447"/>
            <a:ext cx="1645925" cy="801662"/>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0" name="Avrund ett hjørne i rektangel 139"/>
          <p:cNvSpPr/>
          <p:nvPr/>
        </p:nvSpPr>
        <p:spPr>
          <a:xfrm rot="20419441">
            <a:off x="3121377" y="3518810"/>
            <a:ext cx="382352"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41" name="Avrund ett hjørne i rektangel 140"/>
          <p:cNvSpPr/>
          <p:nvPr/>
        </p:nvSpPr>
        <p:spPr>
          <a:xfrm rot="17254660">
            <a:off x="3526031" y="3531437"/>
            <a:ext cx="33842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42" name="Avrund ett hjørne i rektangel 141"/>
          <p:cNvSpPr/>
          <p:nvPr/>
        </p:nvSpPr>
        <p:spPr>
          <a:xfrm rot="17798315">
            <a:off x="3906777" y="3526392"/>
            <a:ext cx="330799" cy="267216"/>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43" name="Avrund ett hjørne i rektangel 142"/>
          <p:cNvSpPr/>
          <p:nvPr/>
        </p:nvSpPr>
        <p:spPr>
          <a:xfrm rot="1037302">
            <a:off x="4318468" y="3523935"/>
            <a:ext cx="335341"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44" name="Rektangel 143"/>
          <p:cNvSpPr/>
          <p:nvPr/>
        </p:nvSpPr>
        <p:spPr>
          <a:xfrm>
            <a:off x="4853810" y="3344493"/>
            <a:ext cx="1653794" cy="789998"/>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6" name="Avrund ett hjørne i rektangel 145"/>
          <p:cNvSpPr/>
          <p:nvPr/>
        </p:nvSpPr>
        <p:spPr>
          <a:xfrm rot="2949085">
            <a:off x="4926018" y="3522968"/>
            <a:ext cx="403439"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49" name="Avrund ett hjørne i rektangel 148"/>
          <p:cNvSpPr/>
          <p:nvPr/>
        </p:nvSpPr>
        <p:spPr>
          <a:xfrm rot="6991846">
            <a:off x="5340955" y="3523291"/>
            <a:ext cx="333341" cy="267216"/>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52" name="Avrund ett hjørne i rektangel 151"/>
          <p:cNvSpPr/>
          <p:nvPr/>
        </p:nvSpPr>
        <p:spPr>
          <a:xfrm rot="19710630">
            <a:off x="5725982" y="3507441"/>
            <a:ext cx="353354"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53" name="Avrund ett hjørne i rektangel 152"/>
          <p:cNvSpPr/>
          <p:nvPr/>
        </p:nvSpPr>
        <p:spPr>
          <a:xfrm rot="8058443">
            <a:off x="6126532" y="3519848"/>
            <a:ext cx="331706"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55" name="Rektangel 154"/>
          <p:cNvSpPr/>
          <p:nvPr/>
        </p:nvSpPr>
        <p:spPr>
          <a:xfrm>
            <a:off x="6702219" y="3351333"/>
            <a:ext cx="1636378" cy="783158"/>
          </a:xfrm>
          <a:prstGeom prst="rect">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endParaRPr kumimoji="0" lang="nb-NO" sz="104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6" name="Avrund ett hjørne i rektangel 155"/>
          <p:cNvSpPr/>
          <p:nvPr/>
        </p:nvSpPr>
        <p:spPr>
          <a:xfrm rot="18697452">
            <a:off x="6782558" y="3512556"/>
            <a:ext cx="382352" cy="277718"/>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sp>
        <p:nvSpPr>
          <p:cNvPr id="157" name="Avrund ett hjørne i rektangel 156"/>
          <p:cNvSpPr/>
          <p:nvPr/>
        </p:nvSpPr>
        <p:spPr>
          <a:xfrm rot="3079137">
            <a:off x="7192427" y="3525668"/>
            <a:ext cx="33842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sp>
        <p:nvSpPr>
          <p:cNvPr id="159" name="Avrund ett hjørne i rektangel 158"/>
          <p:cNvSpPr/>
          <p:nvPr/>
        </p:nvSpPr>
        <p:spPr>
          <a:xfrm rot="15014179">
            <a:off x="7566430" y="3525927"/>
            <a:ext cx="335845"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a:t>
            </a:r>
          </a:p>
        </p:txBody>
      </p:sp>
      <p:sp>
        <p:nvSpPr>
          <p:cNvPr id="160" name="Avrund ett hjørne i rektangel 159"/>
          <p:cNvSpPr/>
          <p:nvPr/>
        </p:nvSpPr>
        <p:spPr>
          <a:xfrm rot="3712599">
            <a:off x="7974524" y="3525438"/>
            <a:ext cx="337111" cy="263202"/>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err="1">
                <a:ln>
                  <a:noFill/>
                </a:ln>
                <a:solidFill>
                  <a:srgbClr val="E7E6E6">
                    <a:lumMod val="25000"/>
                  </a:srgbClr>
                </a:solidFill>
                <a:effectLst/>
                <a:uLnTx/>
                <a:uFillTx/>
                <a:latin typeface="Calibri" panose="020F0502020204030204"/>
                <a:ea typeface="+mn-ea"/>
                <a:cs typeface="+mn-cs"/>
              </a:rPr>
              <a:t>Dn</a:t>
            </a:r>
            <a:endPar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endParaRPr>
          </a:p>
        </p:txBody>
      </p:sp>
      <p:sp>
        <p:nvSpPr>
          <p:cNvPr id="161" name="Rektangel 160"/>
          <p:cNvSpPr/>
          <p:nvPr/>
        </p:nvSpPr>
        <p:spPr>
          <a:xfrm>
            <a:off x="4929665" y="864354"/>
            <a:ext cx="2687085" cy="13036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Calibri" panose="020F0502020204030204"/>
                <a:ea typeface="+mn-ea"/>
                <a:cs typeface="+mn-cs"/>
              </a:rPr>
              <a:t>Datasamarbeid </a:t>
            </a:r>
          </a:p>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Calibri" panose="020F0502020204030204"/>
                <a:ea typeface="+mn-ea"/>
                <a:cs typeface="+mn-cs"/>
              </a:rPr>
              <a:t>(deling)</a:t>
            </a:r>
            <a:endParaRPr kumimoji="0" lang="nb-NO" sz="74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2" name="Avrundet rektangel 161"/>
          <p:cNvSpPr/>
          <p:nvPr/>
        </p:nvSpPr>
        <p:spPr>
          <a:xfrm rot="10800000" flipV="1">
            <a:off x="3033473" y="3953605"/>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Skatt</a:t>
            </a:r>
          </a:p>
        </p:txBody>
      </p:sp>
      <p:sp>
        <p:nvSpPr>
          <p:cNvPr id="164" name="Avrundet rektangel 163"/>
          <p:cNvSpPr/>
          <p:nvPr/>
        </p:nvSpPr>
        <p:spPr>
          <a:xfrm rot="10800000" flipV="1">
            <a:off x="4854752" y="3960563"/>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Avgift</a:t>
            </a:r>
          </a:p>
        </p:txBody>
      </p:sp>
      <p:sp>
        <p:nvSpPr>
          <p:cNvPr id="165" name="Avrundet rektangel 164"/>
          <p:cNvSpPr/>
          <p:nvPr/>
        </p:nvSpPr>
        <p:spPr>
          <a:xfrm rot="10800000" flipV="1">
            <a:off x="6702219" y="3946650"/>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Innkreving</a:t>
            </a:r>
          </a:p>
        </p:txBody>
      </p:sp>
      <p:sp>
        <p:nvSpPr>
          <p:cNvPr id="167" name="Avrund ett hjørne i rektangel 166"/>
          <p:cNvSpPr/>
          <p:nvPr/>
        </p:nvSpPr>
        <p:spPr>
          <a:xfrm>
            <a:off x="2169474" y="1715036"/>
            <a:ext cx="421317"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cxnSp>
        <p:nvCxnSpPr>
          <p:cNvPr id="29" name="Rett pilkobling 28"/>
          <p:cNvCxnSpPr/>
          <p:nvPr/>
        </p:nvCxnSpPr>
        <p:spPr>
          <a:xfrm flipV="1">
            <a:off x="1508774" y="1978239"/>
            <a:ext cx="790463" cy="153675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 name="Rett linje 3"/>
          <p:cNvCxnSpPr/>
          <p:nvPr/>
        </p:nvCxnSpPr>
        <p:spPr>
          <a:xfrm>
            <a:off x="1719904" y="2636312"/>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Rett linje 36"/>
          <p:cNvCxnSpPr/>
          <p:nvPr/>
        </p:nvCxnSpPr>
        <p:spPr>
          <a:xfrm>
            <a:off x="1583681" y="2778383"/>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Avrund ett hjørne i rektangel 39"/>
          <p:cNvSpPr/>
          <p:nvPr/>
        </p:nvSpPr>
        <p:spPr>
          <a:xfrm>
            <a:off x="2836853" y="1715036"/>
            <a:ext cx="541576"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3+D2</a:t>
            </a:r>
          </a:p>
        </p:txBody>
      </p:sp>
      <p:cxnSp>
        <p:nvCxnSpPr>
          <p:cNvPr id="41" name="Rett pilkobling 40"/>
          <p:cNvCxnSpPr>
            <a:stCxn id="134" idx="0"/>
          </p:cNvCxnSpPr>
          <p:nvPr/>
        </p:nvCxnSpPr>
        <p:spPr>
          <a:xfrm flipV="1">
            <a:off x="2363342" y="1970229"/>
            <a:ext cx="646833" cy="157651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Rett pilkobling 41"/>
          <p:cNvCxnSpPr>
            <a:stCxn id="141" idx="3"/>
          </p:cNvCxnSpPr>
          <p:nvPr/>
        </p:nvCxnSpPr>
        <p:spPr>
          <a:xfrm flipH="1" flipV="1">
            <a:off x="3107645" y="1978240"/>
            <a:ext cx="638700" cy="152348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Rett linje 44"/>
          <p:cNvCxnSpPr/>
          <p:nvPr/>
        </p:nvCxnSpPr>
        <p:spPr>
          <a:xfrm>
            <a:off x="2420215" y="2678962"/>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Rett linje 46"/>
          <p:cNvCxnSpPr/>
          <p:nvPr/>
        </p:nvCxnSpPr>
        <p:spPr>
          <a:xfrm>
            <a:off x="2283992" y="2821033"/>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Rett linje 47"/>
          <p:cNvCxnSpPr/>
          <p:nvPr/>
        </p:nvCxnSpPr>
        <p:spPr>
          <a:xfrm>
            <a:off x="3222853" y="2859574"/>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Rett linje 48"/>
          <p:cNvCxnSpPr/>
          <p:nvPr/>
        </p:nvCxnSpPr>
        <p:spPr>
          <a:xfrm>
            <a:off x="3148328" y="2685942"/>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tt pilkobling 42"/>
          <p:cNvCxnSpPr>
            <a:stCxn id="146" idx="0"/>
          </p:cNvCxnSpPr>
          <p:nvPr/>
        </p:nvCxnSpPr>
        <p:spPr>
          <a:xfrm flipV="1">
            <a:off x="5227286" y="1990828"/>
            <a:ext cx="727842" cy="157766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4" name="Avrund ett hjørne i rektangel 43"/>
          <p:cNvSpPr/>
          <p:nvPr/>
        </p:nvSpPr>
        <p:spPr>
          <a:xfrm>
            <a:off x="5791448" y="1736434"/>
            <a:ext cx="382352" cy="277717"/>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1</a:t>
            </a:r>
          </a:p>
        </p:txBody>
      </p:sp>
      <p:cxnSp>
        <p:nvCxnSpPr>
          <p:cNvPr id="51" name="Rett pilkobling 50"/>
          <p:cNvCxnSpPr>
            <a:stCxn id="157" idx="1"/>
          </p:cNvCxnSpPr>
          <p:nvPr/>
        </p:nvCxnSpPr>
        <p:spPr>
          <a:xfrm flipH="1" flipV="1">
            <a:off x="6888382" y="1999639"/>
            <a:ext cx="367502" cy="15255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Avrund ett hjørne i rektangel 51"/>
          <p:cNvSpPr/>
          <p:nvPr/>
        </p:nvSpPr>
        <p:spPr>
          <a:xfrm>
            <a:off x="6735575" y="1691364"/>
            <a:ext cx="357516" cy="327679"/>
          </a:xfrm>
          <a:prstGeom prst="round1Rect">
            <a:avLst/>
          </a:prstGeom>
          <a:solidFill>
            <a:schemeClr val="accent4"/>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113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E7E6E6">
                    <a:lumMod val="25000"/>
                  </a:srgbClr>
                </a:solidFill>
                <a:effectLst/>
                <a:uLnTx/>
                <a:uFillTx/>
                <a:latin typeface="Calibri" panose="020F0502020204030204"/>
                <a:ea typeface="+mn-ea"/>
                <a:cs typeface="+mn-cs"/>
              </a:rPr>
              <a:t>D2</a:t>
            </a:r>
          </a:p>
        </p:txBody>
      </p:sp>
      <p:cxnSp>
        <p:nvCxnSpPr>
          <p:cNvPr id="53" name="Rett linje 52"/>
          <p:cNvCxnSpPr/>
          <p:nvPr/>
        </p:nvCxnSpPr>
        <p:spPr>
          <a:xfrm>
            <a:off x="5385961" y="2668232"/>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Rett linje 53"/>
          <p:cNvCxnSpPr/>
          <p:nvPr/>
        </p:nvCxnSpPr>
        <p:spPr>
          <a:xfrm>
            <a:off x="5249738" y="2810303"/>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Rett linje 54"/>
          <p:cNvCxnSpPr/>
          <p:nvPr/>
        </p:nvCxnSpPr>
        <p:spPr>
          <a:xfrm>
            <a:off x="6869169" y="2840324"/>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Rett linje 55"/>
          <p:cNvCxnSpPr/>
          <p:nvPr/>
        </p:nvCxnSpPr>
        <p:spPr>
          <a:xfrm>
            <a:off x="6794644" y="2666692"/>
            <a:ext cx="545348" cy="698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Avrundet rektangel 49"/>
          <p:cNvSpPr/>
          <p:nvPr/>
        </p:nvSpPr>
        <p:spPr>
          <a:xfrm rot="10800000" flipV="1">
            <a:off x="1254943" y="3961223"/>
            <a:ext cx="914532" cy="180885"/>
          </a:xfrm>
          <a:prstGeom prst="roundRect">
            <a:avLst/>
          </a:prstGeom>
          <a:solidFill>
            <a:schemeClr val="tx2"/>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1137" rtl="0" eaLnBrk="1" fontAlgn="auto" latinLnBrk="0" hangingPunct="1">
              <a:lnSpc>
                <a:spcPct val="100000"/>
              </a:lnSpc>
              <a:spcBef>
                <a:spcPts val="0"/>
              </a:spcBef>
              <a:spcAft>
                <a:spcPts val="0"/>
              </a:spcAft>
              <a:buClrTx/>
              <a:buSzTx/>
              <a:buFontTx/>
              <a:buNone/>
              <a:tabLst/>
              <a:defRPr/>
            </a:pPr>
            <a:r>
              <a:rPr kumimoji="0" lang="nb-NO" sz="894" b="1" i="0" u="none" strike="noStrike" kern="1200" cap="none" spc="0" normalizeH="0" baseline="0" noProof="0" dirty="0">
                <a:ln>
                  <a:noFill/>
                </a:ln>
                <a:solidFill>
                  <a:prstClr val="white"/>
                </a:solidFill>
                <a:effectLst/>
                <a:uLnTx/>
                <a:uFillTx/>
                <a:latin typeface="Calibri" panose="020F0502020204030204"/>
                <a:ea typeface="+mn-ea"/>
                <a:cs typeface="+mn-cs"/>
              </a:rPr>
              <a:t>Opplysninger</a:t>
            </a:r>
          </a:p>
        </p:txBody>
      </p:sp>
    </p:spTree>
    <p:extLst>
      <p:ext uri="{BB962C8B-B14F-4D97-AF65-F5344CB8AC3E}">
        <p14:creationId xmlns:p14="http://schemas.microsoft.com/office/powerpoint/2010/main" val="847492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344306" y="748145"/>
            <a:ext cx="8574612" cy="3366655"/>
          </a:xfrm>
          <a:prstGeom prst="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tel 1"/>
          <p:cNvSpPr>
            <a:spLocks noGrp="1"/>
          </p:cNvSpPr>
          <p:nvPr>
            <p:ph type="title"/>
          </p:nvPr>
        </p:nvSpPr>
        <p:spPr>
          <a:xfrm>
            <a:off x="288036" y="268201"/>
            <a:ext cx="7339136" cy="346249"/>
          </a:xfrm>
        </p:spPr>
        <p:txBody>
          <a:bodyPr>
            <a:normAutofit/>
          </a:bodyPr>
          <a:lstStyle/>
          <a:p>
            <a:r>
              <a:rPr lang="nb-NO" dirty="0"/>
              <a:t>Helhetlig informasjonsforvaltning</a:t>
            </a:r>
          </a:p>
        </p:txBody>
      </p:sp>
      <p:sp>
        <p:nvSpPr>
          <p:cNvPr id="3" name="Plassholder for innhold 2"/>
          <p:cNvSpPr>
            <a:spLocks noGrp="1"/>
          </p:cNvSpPr>
          <p:nvPr>
            <p:ph idx="1"/>
          </p:nvPr>
        </p:nvSpPr>
        <p:spPr>
          <a:xfrm>
            <a:off x="1643002" y="927849"/>
            <a:ext cx="7020878" cy="3034262"/>
          </a:xfrm>
        </p:spPr>
        <p:txBody>
          <a:bodyPr>
            <a:normAutofit fontScale="85000" lnSpcReduction="10000"/>
          </a:bodyPr>
          <a:lstStyle/>
          <a:p>
            <a:r>
              <a:rPr lang="nb-NO" dirty="0"/>
              <a:t>Informasjon må forvaltes som en egen viktig </a:t>
            </a:r>
            <a:r>
              <a:rPr lang="nb-NO" b="1" dirty="0"/>
              <a:t>felles</a:t>
            </a:r>
            <a:r>
              <a:rPr lang="nb-NO" dirty="0"/>
              <a:t> </a:t>
            </a:r>
            <a:r>
              <a:rPr lang="nb-NO" b="1" dirty="0"/>
              <a:t>ressurs – for flerbruk</a:t>
            </a:r>
            <a:endParaRPr lang="nb-NO" dirty="0"/>
          </a:p>
          <a:p>
            <a:pPr lvl="1"/>
            <a:r>
              <a:rPr lang="nb-NO" dirty="0"/>
              <a:t>Informasjon som beskriver </a:t>
            </a:r>
            <a:r>
              <a:rPr lang="nb-NO" b="1" dirty="0"/>
              <a:t>brukerens virkelighet</a:t>
            </a:r>
          </a:p>
          <a:p>
            <a:pPr lvl="1"/>
            <a:r>
              <a:rPr lang="nb-NO" dirty="0"/>
              <a:t>Finnes </a:t>
            </a:r>
            <a:r>
              <a:rPr lang="nb-NO" b="1" dirty="0"/>
              <a:t>digitalt </a:t>
            </a:r>
            <a:r>
              <a:rPr lang="nb-NO" dirty="0"/>
              <a:t>i brukerens prosesser</a:t>
            </a:r>
          </a:p>
          <a:p>
            <a:pPr lvl="1"/>
            <a:r>
              <a:rPr lang="nb-NO" dirty="0"/>
              <a:t>Er oppdatert og </a:t>
            </a:r>
            <a:r>
              <a:rPr lang="nb-NO" b="1" dirty="0"/>
              <a:t>tett på brukerens hendelser</a:t>
            </a:r>
          </a:p>
          <a:p>
            <a:pPr marL="340547" lvl="1" indent="0">
              <a:buNone/>
            </a:pPr>
            <a:endParaRPr lang="nb-NO" dirty="0"/>
          </a:p>
          <a:p>
            <a:r>
              <a:rPr lang="nb-NO" dirty="0"/>
              <a:t>Krever en </a:t>
            </a:r>
            <a:r>
              <a:rPr lang="nb-NO" b="1" dirty="0"/>
              <a:t>nasjonal tilnærming </a:t>
            </a:r>
            <a:r>
              <a:rPr lang="nb-NO" dirty="0"/>
              <a:t>til hvilken informasjon vi skal ha kilder for </a:t>
            </a:r>
          </a:p>
          <a:p>
            <a:pPr lvl="1"/>
            <a:r>
              <a:rPr lang="nb-NO" dirty="0"/>
              <a:t>Hvem skal hente inn informasjonen "kun en gang"?</a:t>
            </a:r>
          </a:p>
          <a:p>
            <a:pPr lvl="1"/>
            <a:r>
              <a:rPr lang="nb-NO" dirty="0"/>
              <a:t>Tydelige roller og ansvar for informasjon</a:t>
            </a:r>
          </a:p>
          <a:p>
            <a:endParaRPr lang="nb-NO" dirty="0"/>
          </a:p>
          <a:p>
            <a:r>
              <a:rPr lang="nb-NO" dirty="0"/>
              <a:t>Krever en </a:t>
            </a:r>
            <a:r>
              <a:rPr lang="nb-NO" b="1" dirty="0"/>
              <a:t>lokal tilnærming – orden i eget hus</a:t>
            </a:r>
          </a:p>
          <a:p>
            <a:pPr lvl="1"/>
            <a:r>
              <a:rPr lang="nb-NO" dirty="0"/>
              <a:t>Informasjon som er godt dokumentert og riktig forstått av alle brukere</a:t>
            </a:r>
          </a:p>
          <a:p>
            <a:pPr lvl="1"/>
            <a:r>
              <a:rPr lang="nb-NO" dirty="0"/>
              <a:t>Standarder og datakataloger</a:t>
            </a:r>
          </a:p>
          <a:p>
            <a:pPr lvl="1"/>
            <a:r>
              <a:rPr lang="nb-NO" dirty="0"/>
              <a:t>Inntekt er ikke inntekt – samboer er ikke samboer</a:t>
            </a:r>
          </a:p>
          <a:p>
            <a:endParaRPr lang="nb-NO" dirty="0"/>
          </a:p>
          <a:p>
            <a:endParaRPr lang="nb-NO" dirty="0"/>
          </a:p>
          <a:p>
            <a:endParaRPr lang="nb-NO" dirty="0"/>
          </a:p>
        </p:txBody>
      </p:sp>
      <p:pic>
        <p:nvPicPr>
          <p:cNvPr id="5" name="Bild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041" y="1751970"/>
            <a:ext cx="611926" cy="611926"/>
          </a:xfrm>
          <a:prstGeom prst="rect">
            <a:avLst/>
          </a:prstGeom>
          <a:ln>
            <a:solidFill>
              <a:schemeClr val="accent1">
                <a:shade val="50000"/>
              </a:schemeClr>
            </a:solidFill>
          </a:ln>
        </p:spPr>
      </p:pic>
      <p:pic>
        <p:nvPicPr>
          <p:cNvPr id="7" name="Bild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6041" y="927849"/>
            <a:ext cx="611925" cy="611925"/>
          </a:xfrm>
          <a:prstGeom prst="rect">
            <a:avLst/>
          </a:prstGeom>
          <a:ln>
            <a:solidFill>
              <a:schemeClr val="accent1">
                <a:shade val="50000"/>
              </a:schemeClr>
            </a:solidFill>
          </a:ln>
        </p:spPr>
      </p:pic>
      <p:pic>
        <p:nvPicPr>
          <p:cNvPr id="8" name="Bilde 7">
            <a:extLst>
              <a:ext uri="{FF2B5EF4-FFF2-40B4-BE49-F238E27FC236}">
                <a16:creationId xmlns:a16="http://schemas.microsoft.com/office/drawing/2014/main" id="{CCBFFBA6-ED3F-044E-9B53-07F6185DFFFB}"/>
              </a:ext>
            </a:extLst>
          </p:cNvPr>
          <p:cNvPicPr>
            <a:picLocks noChangeAspect="1"/>
          </p:cNvPicPr>
          <p:nvPr/>
        </p:nvPicPr>
        <p:blipFill>
          <a:blip r:embed="rId5"/>
          <a:stretch>
            <a:fillRect/>
          </a:stretch>
        </p:blipFill>
        <p:spPr>
          <a:xfrm>
            <a:off x="776041" y="2576092"/>
            <a:ext cx="611926" cy="611926"/>
          </a:xfrm>
          <a:prstGeom prst="rect">
            <a:avLst/>
          </a:prstGeom>
          <a:ln>
            <a:solidFill>
              <a:schemeClr val="accent1">
                <a:shade val="50000"/>
              </a:schemeClr>
            </a:solidFill>
          </a:ln>
        </p:spPr>
      </p:pic>
      <p:grpSp>
        <p:nvGrpSpPr>
          <p:cNvPr id="9" name="Gruppe 8">
            <a:extLst>
              <a:ext uri="{FF2B5EF4-FFF2-40B4-BE49-F238E27FC236}">
                <a16:creationId xmlns:a16="http://schemas.microsoft.com/office/drawing/2014/main" id="{9F983455-E9A0-9D40-A172-392DE7086347}"/>
              </a:ext>
            </a:extLst>
          </p:cNvPr>
          <p:cNvGrpSpPr/>
          <p:nvPr/>
        </p:nvGrpSpPr>
        <p:grpSpPr>
          <a:xfrm>
            <a:off x="776041" y="3400214"/>
            <a:ext cx="611926" cy="534477"/>
            <a:chOff x="1173402" y="3446023"/>
            <a:chExt cx="750583" cy="750583"/>
          </a:xfrm>
        </p:grpSpPr>
        <p:pic>
          <p:nvPicPr>
            <p:cNvPr id="10" name="Bilde 9">
              <a:extLst>
                <a:ext uri="{FF2B5EF4-FFF2-40B4-BE49-F238E27FC236}">
                  <a16:creationId xmlns:a16="http://schemas.microsoft.com/office/drawing/2014/main" id="{F80119B1-130D-1349-9BF6-79C96CDEC8BB}"/>
                </a:ext>
              </a:extLst>
            </p:cNvPr>
            <p:cNvPicPr>
              <a:picLocks noChangeAspect="1"/>
            </p:cNvPicPr>
            <p:nvPr/>
          </p:nvPicPr>
          <p:blipFill>
            <a:blip r:embed="rId6"/>
            <a:stretch>
              <a:fillRect/>
            </a:stretch>
          </p:blipFill>
          <p:spPr>
            <a:xfrm>
              <a:off x="1173402" y="3446023"/>
              <a:ext cx="750583" cy="750583"/>
            </a:xfrm>
            <a:prstGeom prst="rect">
              <a:avLst/>
            </a:prstGeom>
            <a:ln>
              <a:solidFill>
                <a:schemeClr val="accent1">
                  <a:shade val="50000"/>
                </a:schemeClr>
              </a:solidFill>
            </a:ln>
          </p:spPr>
        </p:pic>
        <p:pic>
          <p:nvPicPr>
            <p:cNvPr id="11" name="Picture 4">
              <a:extLst>
                <a:ext uri="{FF2B5EF4-FFF2-40B4-BE49-F238E27FC236}">
                  <a16:creationId xmlns:a16="http://schemas.microsoft.com/office/drawing/2014/main" id="{82E98D33-2FFA-DC42-9602-953B71B380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56675" y="3545189"/>
              <a:ext cx="449460" cy="447057"/>
            </a:xfrm>
            <a:prstGeom prst="rect">
              <a:avLst/>
            </a:prstGeom>
            <a:noFill/>
            <a:ln>
              <a:solidFill>
                <a:schemeClr val="accent1">
                  <a:shade val="50000"/>
                </a:schemeClr>
              </a:solidFill>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188321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126236" y="319228"/>
            <a:ext cx="8371046" cy="512448"/>
          </a:xfrm>
        </p:spPr>
        <p:txBody>
          <a:bodyPr/>
          <a:lstStyle/>
          <a:p>
            <a:r>
              <a:rPr lang="nb-NO" dirty="0"/>
              <a:t>		Samhandlingsevne</a:t>
            </a:r>
          </a:p>
        </p:txBody>
      </p:sp>
      <p:pic>
        <p:nvPicPr>
          <p:cNvPr id="4" name="Bilde 3"/>
          <p:cNvPicPr>
            <a:picLocks noChangeAspect="1"/>
          </p:cNvPicPr>
          <p:nvPr/>
        </p:nvPicPr>
        <p:blipFill>
          <a:blip r:embed="rId2"/>
          <a:stretch>
            <a:fillRect/>
          </a:stretch>
        </p:blipFill>
        <p:spPr>
          <a:xfrm>
            <a:off x="1024540" y="922516"/>
            <a:ext cx="7634542" cy="4164295"/>
          </a:xfrm>
          <a:prstGeom prst="rect">
            <a:avLst/>
          </a:prstGeom>
        </p:spPr>
      </p:pic>
    </p:spTree>
    <p:extLst>
      <p:ext uri="{BB962C8B-B14F-4D97-AF65-F5344CB8AC3E}">
        <p14:creationId xmlns:p14="http://schemas.microsoft.com/office/powerpoint/2010/main" val="5228870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p:cNvPicPr>
            <a:picLocks noChangeAspect="1"/>
          </p:cNvPicPr>
          <p:nvPr/>
        </p:nvPicPr>
        <p:blipFill>
          <a:blip r:embed="rId2"/>
          <a:stretch>
            <a:fillRect/>
          </a:stretch>
        </p:blipFill>
        <p:spPr>
          <a:xfrm>
            <a:off x="259200" y="222139"/>
            <a:ext cx="6515294" cy="4691063"/>
          </a:xfrm>
          <a:prstGeom prst="rect">
            <a:avLst/>
          </a:prstGeom>
        </p:spPr>
      </p:pic>
      <p:sp>
        <p:nvSpPr>
          <p:cNvPr id="6" name="Rektangel 5"/>
          <p:cNvSpPr/>
          <p:nvPr/>
        </p:nvSpPr>
        <p:spPr>
          <a:xfrm>
            <a:off x="6840000" y="1908000"/>
            <a:ext cx="237600" cy="165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TekstSylinder 6"/>
          <p:cNvSpPr txBox="1"/>
          <p:nvPr/>
        </p:nvSpPr>
        <p:spPr>
          <a:xfrm>
            <a:off x="6710047" y="1797271"/>
            <a:ext cx="2612090" cy="2308324"/>
          </a:xfrm>
          <a:prstGeom prst="rect">
            <a:avLst/>
          </a:prstGeom>
          <a:noFill/>
        </p:spPr>
        <p:txBody>
          <a:bodyPr wrap="square" rtlCol="0">
            <a:spAutoFit/>
          </a:bodyPr>
          <a:lstStyle/>
          <a:p>
            <a:pPr algn="ctr"/>
            <a:r>
              <a:rPr lang="nb-NO" sz="2400" b="1" dirty="0"/>
              <a:t>Hvem styrer? </a:t>
            </a:r>
          </a:p>
          <a:p>
            <a:pPr algn="ctr"/>
            <a:endParaRPr lang="nb-NO" sz="2400" b="1" dirty="0"/>
          </a:p>
          <a:p>
            <a:pPr algn="ctr"/>
            <a:r>
              <a:rPr lang="nb-NO" sz="2400" b="1" dirty="0"/>
              <a:t>Nasjonal </a:t>
            </a:r>
            <a:r>
              <a:rPr lang="nb-NO" sz="2400" b="1" dirty="0" err="1"/>
              <a:t>governance</a:t>
            </a:r>
            <a:r>
              <a:rPr lang="nb-NO" sz="2400" b="1" dirty="0"/>
              <a:t>!</a:t>
            </a:r>
          </a:p>
          <a:p>
            <a:pPr algn="ctr"/>
            <a:r>
              <a:rPr lang="nb-NO" sz="2400" b="1" dirty="0"/>
              <a:t> </a:t>
            </a:r>
          </a:p>
          <a:p>
            <a:pPr algn="ctr"/>
            <a:r>
              <a:rPr lang="nb-NO" sz="2400" b="1" dirty="0" err="1"/>
              <a:t>Digdir</a:t>
            </a:r>
            <a:r>
              <a:rPr lang="nb-NO" sz="2400" b="1" dirty="0"/>
              <a:t>?</a:t>
            </a:r>
            <a:r>
              <a:rPr lang="nb-NO" sz="1800" b="1" dirty="0"/>
              <a:t> </a:t>
            </a:r>
            <a:endParaRPr lang="nb-NO" b="1" dirty="0"/>
          </a:p>
        </p:txBody>
      </p:sp>
      <p:sp>
        <p:nvSpPr>
          <p:cNvPr id="8" name="Rektangel 7"/>
          <p:cNvSpPr/>
          <p:nvPr/>
        </p:nvSpPr>
        <p:spPr>
          <a:xfrm flipV="1">
            <a:off x="6515647" y="2008800"/>
            <a:ext cx="194400" cy="25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p:cNvSpPr/>
          <p:nvPr/>
        </p:nvSpPr>
        <p:spPr>
          <a:xfrm>
            <a:off x="6350047" y="4725999"/>
            <a:ext cx="194400" cy="187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171126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dato 2"/>
          <p:cNvSpPr>
            <a:spLocks noGrp="1"/>
          </p:cNvSpPr>
          <p:nvPr>
            <p:ph type="dt" sz="half" idx="10"/>
          </p:nvPr>
        </p:nvSpPr>
        <p:spPr/>
        <p:txBody>
          <a:bodyPr/>
          <a:lstStyle/>
          <a:p>
            <a:fld id="{1A1F10B7-A01E-430E-A625-DB4259FCF2CA}" type="datetime4">
              <a:rPr lang="nb-NO" smtClean="0">
                <a:solidFill>
                  <a:prstClr val="black"/>
                </a:solidFill>
              </a:rPr>
              <a:pPr/>
              <a:t>19. oktober 2022</a:t>
            </a:fld>
            <a:endParaRPr lang="nb-NO">
              <a:solidFill>
                <a:prstClr val="black"/>
              </a:solidFill>
            </a:endParaRPr>
          </a:p>
        </p:txBody>
      </p:sp>
      <p:pic>
        <p:nvPicPr>
          <p:cNvPr id="5" name="Bilde 4"/>
          <p:cNvPicPr>
            <a:picLocks noChangeAspect="1"/>
          </p:cNvPicPr>
          <p:nvPr/>
        </p:nvPicPr>
        <p:blipFill>
          <a:blip r:embed="rId2"/>
          <a:stretch>
            <a:fillRect/>
          </a:stretch>
        </p:blipFill>
        <p:spPr>
          <a:xfrm>
            <a:off x="978681" y="1621869"/>
            <a:ext cx="6185320" cy="3486705"/>
          </a:xfrm>
          <a:prstGeom prst="rect">
            <a:avLst/>
          </a:prstGeom>
        </p:spPr>
      </p:pic>
      <p:sp>
        <p:nvSpPr>
          <p:cNvPr id="2" name="Plassholder for innhold 1"/>
          <p:cNvSpPr>
            <a:spLocks noGrp="1"/>
          </p:cNvSpPr>
          <p:nvPr>
            <p:ph sz="half" idx="2"/>
          </p:nvPr>
        </p:nvSpPr>
        <p:spPr>
          <a:xfrm>
            <a:off x="1230471" y="402301"/>
            <a:ext cx="7087338" cy="968399"/>
          </a:xfrm>
        </p:spPr>
        <p:txBody>
          <a:bodyPr>
            <a:normAutofit fontScale="40000" lnSpcReduction="20000"/>
          </a:bodyPr>
          <a:lstStyle/>
          <a:p>
            <a:pPr marL="0" indent="0">
              <a:buNone/>
            </a:pPr>
            <a:endParaRPr lang="nb-NO" sz="4800" dirty="0"/>
          </a:p>
          <a:p>
            <a:pPr marL="0" indent="0">
              <a:buNone/>
            </a:pPr>
            <a:r>
              <a:rPr lang="nb-NO" sz="12000" dirty="0"/>
              <a:t>Pause</a:t>
            </a:r>
            <a:r>
              <a:rPr lang="nb-NO" sz="8000" dirty="0"/>
              <a:t> </a:t>
            </a:r>
            <a:r>
              <a:rPr lang="nb-NO" sz="4800" dirty="0"/>
              <a:t>     (med MVA-satser)</a:t>
            </a:r>
          </a:p>
        </p:txBody>
      </p:sp>
    </p:spTree>
    <p:extLst>
      <p:ext uri="{BB962C8B-B14F-4D97-AF65-F5344CB8AC3E}">
        <p14:creationId xmlns:p14="http://schemas.microsoft.com/office/powerpoint/2010/main" val="12883053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1"/>
          <p:cNvSpPr txBox="1">
            <a:spLocks/>
          </p:cNvSpPr>
          <p:nvPr/>
        </p:nvSpPr>
        <p:spPr>
          <a:xfrm>
            <a:off x="1018081" y="253454"/>
            <a:ext cx="7971061" cy="653572"/>
          </a:xfrm>
          <a:prstGeom prst="rect">
            <a:avLst/>
          </a:prstGeom>
        </p:spPr>
        <p:txBody>
          <a:bodyPr>
            <a:normAutofit fontScale="97500"/>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pPr marL="0" marR="0" lvl="0" indent="0" algn="l" defTabSz="681091" rtl="0" eaLnBrk="1" fontAlgn="auto" latinLnBrk="0" hangingPunct="1">
              <a:lnSpc>
                <a:spcPct val="90000"/>
              </a:lnSpc>
              <a:spcBef>
                <a:spcPct val="0"/>
              </a:spcBef>
              <a:spcAft>
                <a:spcPts val="0"/>
              </a:spcAft>
              <a:buClrTx/>
              <a:buSzTx/>
              <a:buFontTx/>
              <a:buNone/>
              <a:tabLst/>
              <a:defRPr/>
            </a:pPr>
            <a:endParaRPr kumimoji="0" lang="nb-NO" sz="3700" b="1" i="0" u="none" strike="noStrike" kern="1200" cap="none" spc="0" normalizeH="0" baseline="0" noProof="0" dirty="0">
              <a:ln>
                <a:noFill/>
              </a:ln>
              <a:solidFill>
                <a:prstClr val="black"/>
              </a:solidFill>
              <a:effectLst/>
              <a:uLnTx/>
              <a:uFillTx/>
              <a:latin typeface="Arial" panose="020B0604020202020204"/>
              <a:ea typeface="+mj-ea"/>
              <a:cs typeface="+mj-cs"/>
            </a:endParaRPr>
          </a:p>
        </p:txBody>
      </p:sp>
      <p:sp>
        <p:nvSpPr>
          <p:cNvPr id="8" name="Tittel 1"/>
          <p:cNvSpPr txBox="1">
            <a:spLocks/>
          </p:cNvSpPr>
          <p:nvPr/>
        </p:nvSpPr>
        <p:spPr>
          <a:xfrm>
            <a:off x="1119927" y="167739"/>
            <a:ext cx="8371046" cy="512448"/>
          </a:xfrm>
          <a:prstGeom prst="rect">
            <a:avLst/>
          </a:prstGeom>
        </p:spPr>
        <p:txBody>
          <a:bodyPr>
            <a:noAutofit/>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pPr marL="0" marR="0" lvl="0" indent="0" algn="l" defTabSz="681091" rtl="0" eaLnBrk="1" fontAlgn="auto" latinLnBrk="0" hangingPunct="1">
              <a:lnSpc>
                <a:spcPct val="90000"/>
              </a:lnSpc>
              <a:spcBef>
                <a:spcPct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j-ea"/>
                <a:cs typeface="+mj-cs"/>
              </a:rPr>
              <a:t>Regelverksutvikling -Tilrettelegge for entydige </a:t>
            </a:r>
          </a:p>
          <a:p>
            <a:pPr marL="0" marR="0" lvl="0" indent="0" algn="l" defTabSz="681091" rtl="0" eaLnBrk="1" fontAlgn="auto" latinLnBrk="0" hangingPunct="1">
              <a:lnSpc>
                <a:spcPct val="90000"/>
              </a:lnSpc>
              <a:spcBef>
                <a:spcPct val="0"/>
              </a:spcBef>
              <a:spcAft>
                <a:spcPts val="0"/>
              </a:spcAft>
              <a:buClrTx/>
              <a:buSzTx/>
              <a:buFontTx/>
              <a:buNone/>
              <a:tabLst/>
              <a:defRPr/>
            </a:pPr>
            <a:r>
              <a:rPr kumimoji="0" lang="nb-NO" sz="2400" b="1" i="0" u="none" strike="noStrike" kern="1200" cap="none" spc="0" normalizeH="0" baseline="0" noProof="0" dirty="0">
                <a:ln>
                  <a:noFill/>
                </a:ln>
                <a:solidFill>
                  <a:prstClr val="black"/>
                </a:solidFill>
                <a:effectLst/>
                <a:uLnTx/>
                <a:uFillTx/>
                <a:latin typeface="Arial" panose="020B0604020202020204"/>
                <a:ea typeface="+mj-ea"/>
                <a:cs typeface="+mj-cs"/>
              </a:rPr>
              <a:t>begreper allerede i lovteksten </a:t>
            </a:r>
          </a:p>
        </p:txBody>
      </p:sp>
      <p:grpSp>
        <p:nvGrpSpPr>
          <p:cNvPr id="13" name="Gruppe 12"/>
          <p:cNvGrpSpPr/>
          <p:nvPr/>
        </p:nvGrpSpPr>
        <p:grpSpPr>
          <a:xfrm>
            <a:off x="216733" y="1181063"/>
            <a:ext cx="8042586" cy="1467628"/>
            <a:chOff x="216733" y="1203732"/>
            <a:chExt cx="8042586" cy="1467628"/>
          </a:xfrm>
        </p:grpSpPr>
        <p:sp>
          <p:nvSpPr>
            <p:cNvPr id="2" name="TekstSylinder 1"/>
            <p:cNvSpPr txBox="1"/>
            <p:nvPr/>
          </p:nvSpPr>
          <p:spPr>
            <a:xfrm>
              <a:off x="216733" y="1440254"/>
              <a:ext cx="8042586" cy="1231106"/>
            </a:xfrm>
            <a:prstGeom prst="rect">
              <a:avLst/>
            </a:prstGeom>
            <a:noFill/>
          </p:spPr>
          <p:txBody>
            <a:bodyPr wrap="non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black"/>
                  </a:solidFill>
                  <a:effectLst/>
                  <a:uLnTx/>
                  <a:uFillTx/>
                  <a:ea typeface="+mn-ea"/>
                  <a:cs typeface="Times New Roman" panose="02020603050405020304" pitchFamily="18" charset="0"/>
                </a:rPr>
                <a:t>Følgende felter skal innrapporteres</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ea typeface="+mn-ea"/>
                  <a:cs typeface="Times New Roman" panose="02020603050405020304" pitchFamily="18" charset="0"/>
                </a:rPr>
                <a:t>Mottakerens fødselsnummer eller organisasjonsnummer og navn</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ea typeface="+mn-ea"/>
                  <a:cs typeface="Times New Roman" panose="02020603050405020304" pitchFamily="18" charset="0"/>
                </a:rPr>
                <a:t>Opplysningspliktiges organisasjonsnummer og navn</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ea typeface="+mn-ea"/>
                  <a:cs typeface="Times New Roman" panose="02020603050405020304" pitchFamily="18" charset="0"/>
                </a:rPr>
                <a:t>Utbetalt godgjøring i skatteleggingsperioden der opphavsretten inngår i næringsvirksomhet hos mottakeren</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ea typeface="+mn-ea"/>
                  <a:cs typeface="Times New Roman" panose="02020603050405020304" pitchFamily="18" charset="0"/>
                </a:rPr>
                <a:t>Utbetalt godgjøring i skatteleggingsperioden der opphavsretten ikke inngår i næringsvirksomhet hos mottakeren</a:t>
              </a:r>
            </a:p>
            <a:p>
              <a:pPr marL="0" marR="0" lvl="0" indent="0" algn="l"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1" name="TekstSylinder 10"/>
            <p:cNvSpPr txBox="1"/>
            <p:nvPr/>
          </p:nvSpPr>
          <p:spPr>
            <a:xfrm>
              <a:off x="216733" y="1203732"/>
              <a:ext cx="5153975" cy="307777"/>
            </a:xfrm>
            <a:prstGeom prst="rect">
              <a:avLst/>
            </a:prstGeom>
            <a:noFill/>
          </p:spPr>
          <p:txBody>
            <a:bodyPr wrap="non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rPr>
                <a:t>Utkast til forskrift – Godtgjørelse til </a:t>
              </a:r>
              <a:r>
                <a:rPr kumimoji="0" lang="nb-NO" sz="1400" b="1" i="0" u="none" strike="noStrike" kern="1200" cap="none" spc="0" normalizeH="0" baseline="0" noProof="0" dirty="0" err="1">
                  <a:ln>
                    <a:noFill/>
                  </a:ln>
                  <a:solidFill>
                    <a:prstClr val="black"/>
                  </a:solidFill>
                  <a:effectLst/>
                  <a:uLnTx/>
                  <a:uFillTx/>
                  <a:latin typeface="Arial" panose="020B0604020202020204"/>
                  <a:ea typeface="+mn-ea"/>
                  <a:cs typeface="+mn-cs"/>
                </a:rPr>
                <a:t>opphaver</a:t>
              </a: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rPr>
                <a:t> for åndsverk</a:t>
              </a:r>
            </a:p>
          </p:txBody>
        </p:sp>
      </p:grpSp>
      <p:grpSp>
        <p:nvGrpSpPr>
          <p:cNvPr id="16" name="Gruppe 15"/>
          <p:cNvGrpSpPr/>
          <p:nvPr/>
        </p:nvGrpSpPr>
        <p:grpSpPr>
          <a:xfrm>
            <a:off x="216733" y="2825249"/>
            <a:ext cx="8671045" cy="1555552"/>
            <a:chOff x="375483" y="3052115"/>
            <a:chExt cx="8671045" cy="1555552"/>
          </a:xfrm>
        </p:grpSpPr>
        <p:sp>
          <p:nvSpPr>
            <p:cNvPr id="12" name="TekstSylinder 11"/>
            <p:cNvSpPr txBox="1"/>
            <p:nvPr/>
          </p:nvSpPr>
          <p:spPr>
            <a:xfrm>
              <a:off x="375483" y="3052115"/>
              <a:ext cx="2294218" cy="307777"/>
            </a:xfrm>
            <a:prstGeom prst="rect">
              <a:avLst/>
            </a:prstGeom>
            <a:noFill/>
          </p:spPr>
          <p:txBody>
            <a:bodyPr wrap="non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rPr>
                <a:t>Dessverre ble forskriften</a:t>
              </a:r>
            </a:p>
          </p:txBody>
        </p:sp>
        <p:pic>
          <p:nvPicPr>
            <p:cNvPr id="15" name="Bilde 14"/>
            <p:cNvPicPr>
              <a:picLocks noChangeAspect="1"/>
            </p:cNvPicPr>
            <p:nvPr/>
          </p:nvPicPr>
          <p:blipFill>
            <a:blip r:embed="rId3"/>
            <a:stretch>
              <a:fillRect/>
            </a:stretch>
          </p:blipFill>
          <p:spPr>
            <a:xfrm>
              <a:off x="626428" y="3359892"/>
              <a:ext cx="8420100" cy="1247775"/>
            </a:xfrm>
            <a:prstGeom prst="rect">
              <a:avLst/>
            </a:prstGeom>
          </p:spPr>
        </p:pic>
      </p:grpSp>
      <p:sp>
        <p:nvSpPr>
          <p:cNvPr id="3" name="TekstSylinder 2">
            <a:extLst>
              <a:ext uri="{FF2B5EF4-FFF2-40B4-BE49-F238E27FC236}">
                <a16:creationId xmlns:a16="http://schemas.microsoft.com/office/drawing/2014/main" id="{8176EDC0-8A1E-0268-7804-BBF4C29F8E7C}"/>
              </a:ext>
            </a:extLst>
          </p:cNvPr>
          <p:cNvSpPr txBox="1"/>
          <p:nvPr/>
        </p:nvSpPr>
        <p:spPr>
          <a:xfrm>
            <a:off x="273883" y="4525115"/>
            <a:ext cx="8028160" cy="307777"/>
          </a:xfrm>
          <a:prstGeom prst="rect">
            <a:avLst/>
          </a:prstGeom>
          <a:noFill/>
        </p:spPr>
        <p:txBody>
          <a:bodyPr wrap="non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rPr>
              <a:t>C) her åpner for variasjon, men utkastet var krystallklart og ville gitt </a:t>
            </a:r>
            <a:r>
              <a:rPr kumimoji="0" lang="nb-NO" sz="1400" b="1" i="0" u="none" strike="noStrike" kern="1200" cap="none" spc="0" normalizeH="0" baseline="0" noProof="0" dirty="0" err="1">
                <a:ln>
                  <a:noFill/>
                </a:ln>
                <a:solidFill>
                  <a:prstClr val="black"/>
                </a:solidFill>
                <a:effectLst/>
                <a:uLnTx/>
                <a:uFillTx/>
                <a:latin typeface="Arial" panose="020B0604020202020204"/>
                <a:ea typeface="+mn-ea"/>
                <a:cs typeface="+mn-cs"/>
              </a:rPr>
              <a:t>entyd</a:t>
            </a:r>
            <a:r>
              <a:rPr lang="nb-NO" b="1" dirty="0" err="1">
                <a:solidFill>
                  <a:prstClr val="black"/>
                </a:solidFill>
                <a:latin typeface="Arial" panose="020B0604020202020204"/>
              </a:rPr>
              <a:t>ig</a:t>
            </a:r>
            <a:r>
              <a:rPr lang="nb-NO" b="1" dirty="0">
                <a:solidFill>
                  <a:prstClr val="black"/>
                </a:solidFill>
                <a:latin typeface="Arial" panose="020B0604020202020204"/>
              </a:rPr>
              <a:t> implementasjon</a:t>
            </a:r>
            <a:endPar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352868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278017" y="322960"/>
            <a:ext cx="8371046" cy="512448"/>
          </a:xfrm>
        </p:spPr>
        <p:txBody>
          <a:bodyPr>
            <a:noAutofit/>
          </a:bodyPr>
          <a:lstStyle/>
          <a:p>
            <a:r>
              <a:rPr lang="nb-NO" sz="2400" dirty="0"/>
              <a:t>Eksempel - Godtgjørelse til </a:t>
            </a:r>
            <a:r>
              <a:rPr lang="nb-NO" sz="2400" dirty="0" err="1"/>
              <a:t>opphaver</a:t>
            </a:r>
            <a:r>
              <a:rPr lang="nb-NO" sz="2400" dirty="0"/>
              <a:t> for åndsverk</a:t>
            </a:r>
            <a:br>
              <a:rPr lang="nb-NO" sz="2400" dirty="0"/>
            </a:br>
            <a:r>
              <a:rPr lang="nb-NO" sz="2400" dirty="0"/>
              <a:t>	(slik informasjonsmodellen ble) </a:t>
            </a:r>
          </a:p>
        </p:txBody>
      </p:sp>
      <p:pic>
        <p:nvPicPr>
          <p:cNvPr id="4" name="Bilde 3"/>
          <p:cNvPicPr>
            <a:picLocks noChangeAspect="1"/>
          </p:cNvPicPr>
          <p:nvPr/>
        </p:nvPicPr>
        <p:blipFill>
          <a:blip r:embed="rId2"/>
          <a:stretch>
            <a:fillRect/>
          </a:stretch>
        </p:blipFill>
        <p:spPr>
          <a:xfrm>
            <a:off x="161809" y="1037416"/>
            <a:ext cx="8914275" cy="3841998"/>
          </a:xfrm>
          <a:prstGeom prst="rect">
            <a:avLst/>
          </a:prstGeom>
        </p:spPr>
      </p:pic>
      <p:cxnSp>
        <p:nvCxnSpPr>
          <p:cNvPr id="6" name="Rett pilkobling 5"/>
          <p:cNvCxnSpPr/>
          <p:nvPr/>
        </p:nvCxnSpPr>
        <p:spPr>
          <a:xfrm>
            <a:off x="2504440" y="2260600"/>
            <a:ext cx="723900" cy="4318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Rett pilkobling 6"/>
          <p:cNvCxnSpPr/>
          <p:nvPr/>
        </p:nvCxnSpPr>
        <p:spPr>
          <a:xfrm>
            <a:off x="4683760" y="3556000"/>
            <a:ext cx="723900" cy="43180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kstSylinder 7"/>
          <p:cNvSpPr txBox="1"/>
          <p:nvPr/>
        </p:nvSpPr>
        <p:spPr>
          <a:xfrm>
            <a:off x="30480" y="3707368"/>
            <a:ext cx="5433060" cy="73866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hlinkClick r:id="rId3"/>
              </a:rPr>
              <a:t>Utbetalt godtgjørelse i skatteleggingsperioden for bruk av åndsverk der opphavsretten ikke inngår i næringsvirksomhet hos mottaker</a:t>
            </a:r>
            <a:endParaRPr kumimoji="0" lang="nb-NO"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TekstSylinder 9"/>
          <p:cNvSpPr txBox="1"/>
          <p:nvPr/>
        </p:nvSpPr>
        <p:spPr>
          <a:xfrm>
            <a:off x="4412153" y="1737836"/>
            <a:ext cx="4404187" cy="738664"/>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dirty="0">
                <a:ln>
                  <a:noFill/>
                </a:ln>
                <a:solidFill>
                  <a:prstClr val="black"/>
                </a:solidFill>
                <a:effectLst/>
                <a:uLnTx/>
                <a:uFillTx/>
                <a:latin typeface="Arial" panose="020B0604020202020204"/>
                <a:ea typeface="+mn-ea"/>
                <a:cs typeface="+mn-cs"/>
                <a:hlinkClick r:id="rId3"/>
              </a:rPr>
              <a:t>Utbetalt godtgjørelse i skatteleggingsperioden for bruk av åndsverk der opphavsretten inngår i næringsvirksomhet hos mottaker</a:t>
            </a:r>
            <a:endParaRPr kumimoji="0" lang="nb-NO"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 name="TekstSylinder 10">
            <a:hlinkClick r:id="rId4"/>
          </p:cNvPr>
          <p:cNvSpPr txBox="1"/>
          <p:nvPr/>
        </p:nvSpPr>
        <p:spPr>
          <a:xfrm>
            <a:off x="5463540" y="4076700"/>
            <a:ext cx="3489960" cy="883920"/>
          </a:xfrm>
          <a:prstGeom prst="rect">
            <a:avLst/>
          </a:prstGeom>
          <a:noFill/>
        </p:spPr>
        <p:txBody>
          <a:bodyPr wrap="square" rtlCol="0">
            <a:spAutoFit/>
          </a:bodyPr>
          <a:lstStyle/>
          <a:p>
            <a:pPr marL="0" marR="0" lvl="0" indent="0" algn="l" defTabSz="683951"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2062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stretch>
            <a:fillRect/>
          </a:stretch>
        </p:blipFill>
        <p:spPr>
          <a:xfrm>
            <a:off x="1455821" y="1029904"/>
            <a:ext cx="6393748" cy="3996789"/>
          </a:xfrm>
          <a:prstGeom prst="rect">
            <a:avLst/>
          </a:prstGeom>
        </p:spPr>
      </p:pic>
      <p:sp>
        <p:nvSpPr>
          <p:cNvPr id="5" name="TekstSylinder 4"/>
          <p:cNvSpPr txBox="1"/>
          <p:nvPr/>
        </p:nvSpPr>
        <p:spPr>
          <a:xfrm>
            <a:off x="1532021" y="264695"/>
            <a:ext cx="5365571" cy="461665"/>
          </a:xfrm>
          <a:prstGeom prst="rect">
            <a:avLst/>
          </a:prstGeom>
          <a:noFill/>
        </p:spPr>
        <p:txBody>
          <a:bodyPr wrap="none" rtlCol="0">
            <a:spAutoFit/>
          </a:bodyPr>
          <a:lstStyle/>
          <a:p>
            <a:r>
              <a:rPr lang="nb-NO" sz="2400" b="1" dirty="0"/>
              <a:t>Sak til Skate (etatsledergruppering)</a:t>
            </a:r>
          </a:p>
        </p:txBody>
      </p:sp>
    </p:spTree>
    <p:extLst>
      <p:ext uri="{BB962C8B-B14F-4D97-AF65-F5344CB8AC3E}">
        <p14:creationId xmlns:p14="http://schemas.microsoft.com/office/powerpoint/2010/main" val="95398867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a:extLst>
              <a:ext uri="{FF2B5EF4-FFF2-40B4-BE49-F238E27FC236}">
                <a16:creationId xmlns:a16="http://schemas.microsoft.com/office/drawing/2014/main" id="{19748989-8E48-4074-A23A-D2989B634023}"/>
              </a:ext>
            </a:extLst>
          </p:cNvPr>
          <p:cNvGraphicFramePr>
            <a:graphicFrameLocks noChangeAspect="1"/>
          </p:cNvGraphicFramePr>
          <p:nvPr>
            <p:custDataLst>
              <p:tags r:id="rId1"/>
            </p:custDataLst>
          </p:nvPr>
        </p:nvGraphicFramePr>
        <p:xfrm>
          <a:off x="33416" y="19361"/>
          <a:ext cx="1577" cy="1577"/>
        </p:xfrm>
        <a:graphic>
          <a:graphicData uri="http://schemas.openxmlformats.org/presentationml/2006/ole">
            <mc:AlternateContent xmlns:mc="http://schemas.openxmlformats.org/markup-compatibility/2006">
              <mc:Choice xmlns:v="urn:schemas-microsoft-com:vml" Requires="v">
                <p:oleObj name="think-cell Slide" r:id="rId4" imgW="349" imgH="349" progId="TCLayout.ActiveDocument.1">
                  <p:embed/>
                </p:oleObj>
              </mc:Choice>
              <mc:Fallback>
                <p:oleObj name="think-cell Slide" r:id="rId4" imgW="349" imgH="349" progId="TCLayout.ActiveDocument.1">
                  <p:embed/>
                  <p:pic>
                    <p:nvPicPr>
                      <p:cNvPr id="75" name="Object 74" hidden="1">
                        <a:extLst>
                          <a:ext uri="{FF2B5EF4-FFF2-40B4-BE49-F238E27FC236}">
                            <a16:creationId xmlns:a16="http://schemas.microsoft.com/office/drawing/2014/main" id="{19748989-8E48-4074-A23A-D2989B634023}"/>
                          </a:ext>
                        </a:extLst>
                      </p:cNvPr>
                      <p:cNvPicPr/>
                      <p:nvPr/>
                    </p:nvPicPr>
                    <p:blipFill>
                      <a:blip r:embed="rId5"/>
                      <a:stretch>
                        <a:fillRect/>
                      </a:stretch>
                    </p:blipFill>
                    <p:spPr>
                      <a:xfrm>
                        <a:off x="33416" y="19361"/>
                        <a:ext cx="1577" cy="157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67EA9A-ED80-41B4-B7E9-5DA5106DC0C7}"/>
              </a:ext>
            </a:extLst>
          </p:cNvPr>
          <p:cNvSpPr>
            <a:spLocks noGrp="1"/>
          </p:cNvSpPr>
          <p:nvPr>
            <p:ph type="title"/>
          </p:nvPr>
        </p:nvSpPr>
        <p:spPr>
          <a:xfrm>
            <a:off x="994112" y="375208"/>
            <a:ext cx="7331128" cy="595593"/>
          </a:xfrm>
        </p:spPr>
        <p:txBody>
          <a:bodyPr vert="horz">
            <a:noAutofit/>
          </a:bodyPr>
          <a:lstStyle/>
          <a:p>
            <a:r>
              <a:rPr lang="nb-NO" sz="1800" dirty="0"/>
              <a:t>Skatteetatens forretningsmål </a:t>
            </a:r>
            <a:r>
              <a:rPr lang="nb-NO" sz="1800" i="1" dirty="0"/>
              <a:t>krever</a:t>
            </a:r>
            <a:r>
              <a:rPr lang="nb-NO" sz="1800" dirty="0"/>
              <a:t> god forvaltning av informasjon</a:t>
            </a:r>
          </a:p>
        </p:txBody>
      </p:sp>
      <p:grpSp>
        <p:nvGrpSpPr>
          <p:cNvPr id="5" name="Group 525"/>
          <p:cNvGrpSpPr/>
          <p:nvPr/>
        </p:nvGrpSpPr>
        <p:grpSpPr>
          <a:xfrm>
            <a:off x="1066112" y="2923301"/>
            <a:ext cx="470606" cy="470610"/>
            <a:chOff x="7098164" y="3360405"/>
            <a:chExt cx="202814" cy="202816"/>
          </a:xfrm>
          <a:solidFill>
            <a:schemeClr val="accent1"/>
          </a:solidFill>
        </p:grpSpPr>
        <p:sp>
          <p:nvSpPr>
            <p:cNvPr id="6" name="Freeform 131"/>
            <p:cNvSpPr>
              <a:spLocks noEditPoints="1"/>
            </p:cNvSpPr>
            <p:nvPr/>
          </p:nvSpPr>
          <p:spPr bwMode="auto">
            <a:xfrm>
              <a:off x="7098164" y="3360405"/>
              <a:ext cx="202814" cy="202816"/>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9 w 61"/>
                <a:gd name="T11" fmla="*/ 59 h 61"/>
                <a:gd name="T12" fmla="*/ 3 w 61"/>
                <a:gd name="T13" fmla="*/ 59 h 61"/>
                <a:gd name="T14" fmla="*/ 3 w 61"/>
                <a:gd name="T15" fmla="*/ 2 h 61"/>
                <a:gd name="T16" fmla="*/ 59 w 61"/>
                <a:gd name="T17" fmla="*/ 2 h 61"/>
                <a:gd name="T18" fmla="*/ 59 w 61"/>
                <a:gd name="T1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9" y="59"/>
                  </a:moveTo>
                  <a:lnTo>
                    <a:pt x="3" y="59"/>
                  </a:lnTo>
                  <a:lnTo>
                    <a:pt x="3" y="2"/>
                  </a:lnTo>
                  <a:lnTo>
                    <a:pt x="59" y="2"/>
                  </a:lnTo>
                  <a:lnTo>
                    <a:pt x="5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7" name="Freeform 132"/>
            <p:cNvSpPr>
              <a:spLocks noEditPoints="1"/>
            </p:cNvSpPr>
            <p:nvPr/>
          </p:nvSpPr>
          <p:spPr bwMode="auto">
            <a:xfrm>
              <a:off x="7118113" y="3383680"/>
              <a:ext cx="162916" cy="159592"/>
            </a:xfrm>
            <a:custGeom>
              <a:avLst/>
              <a:gdLst>
                <a:gd name="T0" fmla="*/ 13 w 153"/>
                <a:gd name="T1" fmla="*/ 56 h 149"/>
                <a:gd name="T2" fmla="*/ 22 w 153"/>
                <a:gd name="T3" fmla="*/ 52 h 149"/>
                <a:gd name="T4" fmla="*/ 49 w 153"/>
                <a:gd name="T5" fmla="*/ 64 h 149"/>
                <a:gd name="T6" fmla="*/ 48 w 153"/>
                <a:gd name="T7" fmla="*/ 71 h 149"/>
                <a:gd name="T8" fmla="*/ 52 w 153"/>
                <a:gd name="T9" fmla="*/ 84 h 149"/>
                <a:gd name="T10" fmla="*/ 34 w 153"/>
                <a:gd name="T11" fmla="*/ 98 h 149"/>
                <a:gd name="T12" fmla="*/ 27 w 153"/>
                <a:gd name="T13" fmla="*/ 96 h 149"/>
                <a:gd name="T14" fmla="*/ 14 w 153"/>
                <a:gd name="T15" fmla="*/ 109 h 149"/>
                <a:gd name="T16" fmla="*/ 27 w 153"/>
                <a:gd name="T17" fmla="*/ 122 h 149"/>
                <a:gd name="T18" fmla="*/ 40 w 153"/>
                <a:gd name="T19" fmla="*/ 109 h 149"/>
                <a:gd name="T20" fmla="*/ 39 w 153"/>
                <a:gd name="T21" fmla="*/ 105 h 149"/>
                <a:gd name="T22" fmla="*/ 58 w 153"/>
                <a:gd name="T23" fmla="*/ 90 h 149"/>
                <a:gd name="T24" fmla="*/ 73 w 153"/>
                <a:gd name="T25" fmla="*/ 96 h 149"/>
                <a:gd name="T26" fmla="*/ 79 w 153"/>
                <a:gd name="T27" fmla="*/ 95 h 149"/>
                <a:gd name="T28" fmla="*/ 96 w 153"/>
                <a:gd name="T29" fmla="*/ 128 h 149"/>
                <a:gd name="T30" fmla="*/ 93 w 153"/>
                <a:gd name="T31" fmla="*/ 137 h 149"/>
                <a:gd name="T32" fmla="*/ 106 w 153"/>
                <a:gd name="T33" fmla="*/ 149 h 149"/>
                <a:gd name="T34" fmla="*/ 119 w 153"/>
                <a:gd name="T35" fmla="*/ 137 h 149"/>
                <a:gd name="T36" fmla="*/ 106 w 153"/>
                <a:gd name="T37" fmla="*/ 124 h 149"/>
                <a:gd name="T38" fmla="*/ 104 w 153"/>
                <a:gd name="T39" fmla="*/ 124 h 149"/>
                <a:gd name="T40" fmla="*/ 87 w 153"/>
                <a:gd name="T41" fmla="*/ 91 h 149"/>
                <a:gd name="T42" fmla="*/ 98 w 153"/>
                <a:gd name="T43" fmla="*/ 71 h 149"/>
                <a:gd name="T44" fmla="*/ 98 w 153"/>
                <a:gd name="T45" fmla="*/ 70 h 149"/>
                <a:gd name="T46" fmla="*/ 129 w 153"/>
                <a:gd name="T47" fmla="*/ 64 h 149"/>
                <a:gd name="T48" fmla="*/ 140 w 153"/>
                <a:gd name="T49" fmla="*/ 70 h 149"/>
                <a:gd name="T50" fmla="*/ 153 w 153"/>
                <a:gd name="T51" fmla="*/ 57 h 149"/>
                <a:gd name="T52" fmla="*/ 140 w 153"/>
                <a:gd name="T53" fmla="*/ 44 h 149"/>
                <a:gd name="T54" fmla="*/ 128 w 153"/>
                <a:gd name="T55" fmla="*/ 55 h 149"/>
                <a:gd name="T56" fmla="*/ 96 w 153"/>
                <a:gd name="T57" fmla="*/ 62 h 149"/>
                <a:gd name="T58" fmla="*/ 77 w 153"/>
                <a:gd name="T59" fmla="*/ 46 h 149"/>
                <a:gd name="T60" fmla="*/ 77 w 153"/>
                <a:gd name="T61" fmla="*/ 25 h 149"/>
                <a:gd name="T62" fmla="*/ 86 w 153"/>
                <a:gd name="T63" fmla="*/ 13 h 149"/>
                <a:gd name="T64" fmla="*/ 73 w 153"/>
                <a:gd name="T65" fmla="*/ 0 h 149"/>
                <a:gd name="T66" fmla="*/ 60 w 153"/>
                <a:gd name="T67" fmla="*/ 13 h 149"/>
                <a:gd name="T68" fmla="*/ 69 w 153"/>
                <a:gd name="T69" fmla="*/ 25 h 149"/>
                <a:gd name="T70" fmla="*/ 69 w 153"/>
                <a:gd name="T71" fmla="*/ 46 h 149"/>
                <a:gd name="T72" fmla="*/ 53 w 153"/>
                <a:gd name="T73" fmla="*/ 56 h 149"/>
                <a:gd name="T74" fmla="*/ 25 w 153"/>
                <a:gd name="T75" fmla="*/ 44 h 149"/>
                <a:gd name="T76" fmla="*/ 25 w 153"/>
                <a:gd name="T77" fmla="*/ 43 h 149"/>
                <a:gd name="T78" fmla="*/ 13 w 153"/>
                <a:gd name="T79" fmla="*/ 30 h 149"/>
                <a:gd name="T80" fmla="*/ 0 w 153"/>
                <a:gd name="T81" fmla="*/ 43 h 149"/>
                <a:gd name="T82" fmla="*/ 13 w 153"/>
                <a:gd name="T83" fmla="*/ 56 h 149"/>
                <a:gd name="T84" fmla="*/ 73 w 153"/>
                <a:gd name="T85" fmla="*/ 56 h 149"/>
                <a:gd name="T86" fmla="*/ 87 w 153"/>
                <a:gd name="T87" fmla="*/ 71 h 149"/>
                <a:gd name="T88" fmla="*/ 73 w 153"/>
                <a:gd name="T89" fmla="*/ 85 h 149"/>
                <a:gd name="T90" fmla="*/ 59 w 153"/>
                <a:gd name="T91" fmla="*/ 71 h 149"/>
                <a:gd name="T92" fmla="*/ 73 w 153"/>
                <a:gd name="T93" fmla="*/ 5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149">
                  <a:moveTo>
                    <a:pt x="13" y="56"/>
                  </a:moveTo>
                  <a:cubicBezTo>
                    <a:pt x="16" y="56"/>
                    <a:pt x="19" y="55"/>
                    <a:pt x="22" y="52"/>
                  </a:cubicBezTo>
                  <a:cubicBezTo>
                    <a:pt x="49" y="64"/>
                    <a:pt x="49" y="64"/>
                    <a:pt x="49" y="64"/>
                  </a:cubicBezTo>
                  <a:cubicBezTo>
                    <a:pt x="48" y="66"/>
                    <a:pt x="48" y="68"/>
                    <a:pt x="48" y="71"/>
                  </a:cubicBezTo>
                  <a:cubicBezTo>
                    <a:pt x="48" y="76"/>
                    <a:pt x="49" y="80"/>
                    <a:pt x="52" y="84"/>
                  </a:cubicBezTo>
                  <a:cubicBezTo>
                    <a:pt x="34" y="98"/>
                    <a:pt x="34" y="98"/>
                    <a:pt x="34" y="98"/>
                  </a:cubicBezTo>
                  <a:cubicBezTo>
                    <a:pt x="32" y="97"/>
                    <a:pt x="29" y="96"/>
                    <a:pt x="27" y="96"/>
                  </a:cubicBezTo>
                  <a:cubicBezTo>
                    <a:pt x="20" y="96"/>
                    <a:pt x="14" y="102"/>
                    <a:pt x="14" y="109"/>
                  </a:cubicBezTo>
                  <a:cubicBezTo>
                    <a:pt x="14" y="116"/>
                    <a:pt x="20" y="122"/>
                    <a:pt x="27" y="122"/>
                  </a:cubicBezTo>
                  <a:cubicBezTo>
                    <a:pt x="34" y="122"/>
                    <a:pt x="40" y="116"/>
                    <a:pt x="40" y="109"/>
                  </a:cubicBezTo>
                  <a:cubicBezTo>
                    <a:pt x="40" y="108"/>
                    <a:pt x="40" y="106"/>
                    <a:pt x="39" y="105"/>
                  </a:cubicBezTo>
                  <a:cubicBezTo>
                    <a:pt x="58" y="90"/>
                    <a:pt x="58" y="90"/>
                    <a:pt x="58" y="90"/>
                  </a:cubicBezTo>
                  <a:cubicBezTo>
                    <a:pt x="62" y="94"/>
                    <a:pt x="67" y="96"/>
                    <a:pt x="73" y="96"/>
                  </a:cubicBezTo>
                  <a:cubicBezTo>
                    <a:pt x="75" y="96"/>
                    <a:pt x="77" y="95"/>
                    <a:pt x="79" y="95"/>
                  </a:cubicBezTo>
                  <a:cubicBezTo>
                    <a:pt x="96" y="128"/>
                    <a:pt x="96" y="128"/>
                    <a:pt x="96" y="128"/>
                  </a:cubicBezTo>
                  <a:cubicBezTo>
                    <a:pt x="94" y="130"/>
                    <a:pt x="93" y="133"/>
                    <a:pt x="93" y="137"/>
                  </a:cubicBezTo>
                  <a:cubicBezTo>
                    <a:pt x="93" y="144"/>
                    <a:pt x="99" y="149"/>
                    <a:pt x="106" y="149"/>
                  </a:cubicBezTo>
                  <a:cubicBezTo>
                    <a:pt x="113" y="149"/>
                    <a:pt x="119" y="144"/>
                    <a:pt x="119" y="137"/>
                  </a:cubicBezTo>
                  <a:cubicBezTo>
                    <a:pt x="119" y="129"/>
                    <a:pt x="113" y="124"/>
                    <a:pt x="106" y="124"/>
                  </a:cubicBezTo>
                  <a:cubicBezTo>
                    <a:pt x="105" y="124"/>
                    <a:pt x="104" y="124"/>
                    <a:pt x="104" y="124"/>
                  </a:cubicBezTo>
                  <a:cubicBezTo>
                    <a:pt x="87" y="91"/>
                    <a:pt x="87" y="91"/>
                    <a:pt x="87" y="91"/>
                  </a:cubicBezTo>
                  <a:cubicBezTo>
                    <a:pt x="94" y="87"/>
                    <a:pt x="98" y="79"/>
                    <a:pt x="98" y="71"/>
                  </a:cubicBezTo>
                  <a:cubicBezTo>
                    <a:pt x="98" y="71"/>
                    <a:pt x="98" y="71"/>
                    <a:pt x="98" y="70"/>
                  </a:cubicBezTo>
                  <a:cubicBezTo>
                    <a:pt x="129" y="64"/>
                    <a:pt x="129" y="64"/>
                    <a:pt x="129" y="64"/>
                  </a:cubicBezTo>
                  <a:cubicBezTo>
                    <a:pt x="132" y="68"/>
                    <a:pt x="136" y="70"/>
                    <a:pt x="140" y="70"/>
                  </a:cubicBezTo>
                  <a:cubicBezTo>
                    <a:pt x="147" y="70"/>
                    <a:pt x="153" y="64"/>
                    <a:pt x="153" y="57"/>
                  </a:cubicBezTo>
                  <a:cubicBezTo>
                    <a:pt x="153" y="50"/>
                    <a:pt x="147" y="44"/>
                    <a:pt x="140" y="44"/>
                  </a:cubicBezTo>
                  <a:cubicBezTo>
                    <a:pt x="134" y="44"/>
                    <a:pt x="128" y="49"/>
                    <a:pt x="128" y="55"/>
                  </a:cubicBezTo>
                  <a:cubicBezTo>
                    <a:pt x="96" y="62"/>
                    <a:pt x="96" y="62"/>
                    <a:pt x="96" y="62"/>
                  </a:cubicBezTo>
                  <a:cubicBezTo>
                    <a:pt x="93" y="54"/>
                    <a:pt x="86" y="48"/>
                    <a:pt x="77" y="46"/>
                  </a:cubicBezTo>
                  <a:cubicBezTo>
                    <a:pt x="77" y="25"/>
                    <a:pt x="77" y="25"/>
                    <a:pt x="77" y="25"/>
                  </a:cubicBezTo>
                  <a:cubicBezTo>
                    <a:pt x="82" y="23"/>
                    <a:pt x="86" y="18"/>
                    <a:pt x="86" y="13"/>
                  </a:cubicBezTo>
                  <a:cubicBezTo>
                    <a:pt x="86" y="6"/>
                    <a:pt x="80" y="0"/>
                    <a:pt x="73" y="0"/>
                  </a:cubicBezTo>
                  <a:cubicBezTo>
                    <a:pt x="66" y="0"/>
                    <a:pt x="60" y="6"/>
                    <a:pt x="60" y="13"/>
                  </a:cubicBezTo>
                  <a:cubicBezTo>
                    <a:pt x="60" y="18"/>
                    <a:pt x="64" y="23"/>
                    <a:pt x="69" y="25"/>
                  </a:cubicBezTo>
                  <a:cubicBezTo>
                    <a:pt x="69" y="46"/>
                    <a:pt x="69" y="46"/>
                    <a:pt x="69" y="46"/>
                  </a:cubicBezTo>
                  <a:cubicBezTo>
                    <a:pt x="62" y="47"/>
                    <a:pt x="56" y="51"/>
                    <a:pt x="53" y="56"/>
                  </a:cubicBezTo>
                  <a:cubicBezTo>
                    <a:pt x="25" y="44"/>
                    <a:pt x="25" y="44"/>
                    <a:pt x="25" y="44"/>
                  </a:cubicBezTo>
                  <a:cubicBezTo>
                    <a:pt x="25" y="44"/>
                    <a:pt x="25" y="44"/>
                    <a:pt x="25" y="43"/>
                  </a:cubicBezTo>
                  <a:cubicBezTo>
                    <a:pt x="25" y="36"/>
                    <a:pt x="20" y="30"/>
                    <a:pt x="13" y="30"/>
                  </a:cubicBezTo>
                  <a:cubicBezTo>
                    <a:pt x="6" y="30"/>
                    <a:pt x="0" y="36"/>
                    <a:pt x="0" y="43"/>
                  </a:cubicBezTo>
                  <a:cubicBezTo>
                    <a:pt x="0" y="50"/>
                    <a:pt x="6" y="56"/>
                    <a:pt x="13" y="56"/>
                  </a:cubicBezTo>
                  <a:close/>
                  <a:moveTo>
                    <a:pt x="73" y="56"/>
                  </a:moveTo>
                  <a:cubicBezTo>
                    <a:pt x="81" y="56"/>
                    <a:pt x="87" y="63"/>
                    <a:pt x="87" y="71"/>
                  </a:cubicBezTo>
                  <a:cubicBezTo>
                    <a:pt x="87" y="79"/>
                    <a:pt x="81" y="85"/>
                    <a:pt x="73" y="85"/>
                  </a:cubicBezTo>
                  <a:cubicBezTo>
                    <a:pt x="65" y="85"/>
                    <a:pt x="59" y="79"/>
                    <a:pt x="59" y="71"/>
                  </a:cubicBezTo>
                  <a:cubicBezTo>
                    <a:pt x="59" y="63"/>
                    <a:pt x="65" y="56"/>
                    <a:pt x="7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grpSp>
      <p:grpSp>
        <p:nvGrpSpPr>
          <p:cNvPr id="8" name="Group 132"/>
          <p:cNvGrpSpPr/>
          <p:nvPr/>
        </p:nvGrpSpPr>
        <p:grpSpPr>
          <a:xfrm>
            <a:off x="1066112" y="1314589"/>
            <a:ext cx="478303" cy="472172"/>
            <a:chOff x="3162300" y="1958975"/>
            <a:chExt cx="123825" cy="122238"/>
          </a:xfrm>
          <a:solidFill>
            <a:schemeClr val="accent1"/>
          </a:solidFill>
        </p:grpSpPr>
        <p:sp>
          <p:nvSpPr>
            <p:cNvPr id="9" name="Freeform 133"/>
            <p:cNvSpPr>
              <a:spLocks noEditPoints="1"/>
            </p:cNvSpPr>
            <p:nvPr/>
          </p:nvSpPr>
          <p:spPr bwMode="auto">
            <a:xfrm>
              <a:off x="3181350" y="1982788"/>
              <a:ext cx="85725" cy="73025"/>
            </a:xfrm>
            <a:custGeom>
              <a:avLst/>
              <a:gdLst>
                <a:gd name="T0" fmla="*/ 199 w 398"/>
                <a:gd name="T1" fmla="*/ 0 h 340"/>
                <a:gd name="T2" fmla="*/ 179 w 398"/>
                <a:gd name="T3" fmla="*/ 11 h 340"/>
                <a:gd name="T4" fmla="*/ 9 w 398"/>
                <a:gd name="T5" fmla="*/ 306 h 340"/>
                <a:gd name="T6" fmla="*/ 29 w 398"/>
                <a:gd name="T7" fmla="*/ 340 h 340"/>
                <a:gd name="T8" fmla="*/ 369 w 398"/>
                <a:gd name="T9" fmla="*/ 340 h 340"/>
                <a:gd name="T10" fmla="*/ 389 w 398"/>
                <a:gd name="T11" fmla="*/ 306 h 340"/>
                <a:gd name="T12" fmla="*/ 219 w 398"/>
                <a:gd name="T13" fmla="*/ 11 h 340"/>
                <a:gd name="T14" fmla="*/ 199 w 398"/>
                <a:gd name="T15" fmla="*/ 0 h 340"/>
                <a:gd name="T16" fmla="*/ 31 w 398"/>
                <a:gd name="T17" fmla="*/ 316 h 340"/>
                <a:gd name="T18" fmla="*/ 199 w 398"/>
                <a:gd name="T19" fmla="*/ 25 h 340"/>
                <a:gd name="T20" fmla="*/ 367 w 398"/>
                <a:gd name="T21" fmla="*/ 316 h 340"/>
                <a:gd name="T22" fmla="*/ 31 w 398"/>
                <a:gd name="T23" fmla="*/ 316 h 340"/>
                <a:gd name="T24" fmla="*/ 187 w 398"/>
                <a:gd name="T25" fmla="*/ 123 h 340"/>
                <a:gd name="T26" fmla="*/ 187 w 398"/>
                <a:gd name="T27" fmla="*/ 223 h 340"/>
                <a:gd name="T28" fmla="*/ 211 w 398"/>
                <a:gd name="T29" fmla="*/ 223 h 340"/>
                <a:gd name="T30" fmla="*/ 211 w 398"/>
                <a:gd name="T31" fmla="*/ 123 h 340"/>
                <a:gd name="T32" fmla="*/ 187 w 398"/>
                <a:gd name="T33" fmla="*/ 123 h 340"/>
                <a:gd name="T34" fmla="*/ 181 w 398"/>
                <a:gd name="T35" fmla="*/ 266 h 340"/>
                <a:gd name="T36" fmla="*/ 199 w 398"/>
                <a:gd name="T37" fmla="*/ 284 h 340"/>
                <a:gd name="T38" fmla="*/ 217 w 398"/>
                <a:gd name="T39" fmla="*/ 266 h 340"/>
                <a:gd name="T40" fmla="*/ 199 w 398"/>
                <a:gd name="T41" fmla="*/ 248 h 340"/>
                <a:gd name="T42" fmla="*/ 181 w 398"/>
                <a:gd name="T43" fmla="*/ 26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8" h="340">
                  <a:moveTo>
                    <a:pt x="199" y="0"/>
                  </a:moveTo>
                  <a:cubicBezTo>
                    <a:pt x="191" y="0"/>
                    <a:pt x="183" y="4"/>
                    <a:pt x="179" y="11"/>
                  </a:cubicBezTo>
                  <a:cubicBezTo>
                    <a:pt x="9" y="306"/>
                    <a:pt x="9" y="306"/>
                    <a:pt x="9" y="306"/>
                  </a:cubicBezTo>
                  <a:cubicBezTo>
                    <a:pt x="0" y="321"/>
                    <a:pt x="11" y="340"/>
                    <a:pt x="29" y="340"/>
                  </a:cubicBezTo>
                  <a:cubicBezTo>
                    <a:pt x="369" y="340"/>
                    <a:pt x="369" y="340"/>
                    <a:pt x="369" y="340"/>
                  </a:cubicBezTo>
                  <a:cubicBezTo>
                    <a:pt x="387" y="340"/>
                    <a:pt x="398" y="321"/>
                    <a:pt x="389" y="306"/>
                  </a:cubicBezTo>
                  <a:cubicBezTo>
                    <a:pt x="219" y="11"/>
                    <a:pt x="219" y="11"/>
                    <a:pt x="219" y="11"/>
                  </a:cubicBezTo>
                  <a:cubicBezTo>
                    <a:pt x="215" y="4"/>
                    <a:pt x="207" y="0"/>
                    <a:pt x="199" y="0"/>
                  </a:cubicBezTo>
                  <a:close/>
                  <a:moveTo>
                    <a:pt x="31" y="316"/>
                  </a:moveTo>
                  <a:cubicBezTo>
                    <a:pt x="199" y="25"/>
                    <a:pt x="199" y="25"/>
                    <a:pt x="199" y="25"/>
                  </a:cubicBezTo>
                  <a:cubicBezTo>
                    <a:pt x="367" y="316"/>
                    <a:pt x="367" y="316"/>
                    <a:pt x="367" y="316"/>
                  </a:cubicBezTo>
                  <a:lnTo>
                    <a:pt x="31" y="316"/>
                  </a:lnTo>
                  <a:close/>
                  <a:moveTo>
                    <a:pt x="187" y="123"/>
                  </a:moveTo>
                  <a:cubicBezTo>
                    <a:pt x="187" y="223"/>
                    <a:pt x="187" y="223"/>
                    <a:pt x="187" y="223"/>
                  </a:cubicBezTo>
                  <a:cubicBezTo>
                    <a:pt x="211" y="223"/>
                    <a:pt x="211" y="223"/>
                    <a:pt x="211" y="223"/>
                  </a:cubicBezTo>
                  <a:cubicBezTo>
                    <a:pt x="211" y="123"/>
                    <a:pt x="211" y="123"/>
                    <a:pt x="211" y="123"/>
                  </a:cubicBezTo>
                  <a:lnTo>
                    <a:pt x="187" y="123"/>
                  </a:lnTo>
                  <a:close/>
                  <a:moveTo>
                    <a:pt x="181" y="266"/>
                  </a:moveTo>
                  <a:cubicBezTo>
                    <a:pt x="181" y="276"/>
                    <a:pt x="189" y="284"/>
                    <a:pt x="199" y="284"/>
                  </a:cubicBezTo>
                  <a:cubicBezTo>
                    <a:pt x="209" y="284"/>
                    <a:pt x="217" y="276"/>
                    <a:pt x="217" y="266"/>
                  </a:cubicBezTo>
                  <a:cubicBezTo>
                    <a:pt x="217" y="256"/>
                    <a:pt x="209" y="248"/>
                    <a:pt x="199" y="248"/>
                  </a:cubicBezTo>
                  <a:cubicBezTo>
                    <a:pt x="189" y="248"/>
                    <a:pt x="181" y="256"/>
                    <a:pt x="181"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34"/>
            <p:cNvSpPr>
              <a:spLocks noEditPoints="1"/>
            </p:cNvSpPr>
            <p:nvPr/>
          </p:nvSpPr>
          <p:spPr bwMode="auto">
            <a:xfrm>
              <a:off x="3162300" y="1958975"/>
              <a:ext cx="123825" cy="122238"/>
            </a:xfrm>
            <a:custGeom>
              <a:avLst/>
              <a:gdLst>
                <a:gd name="T0" fmla="*/ 0 w 78"/>
                <a:gd name="T1" fmla="*/ 0 h 77"/>
                <a:gd name="T2" fmla="*/ 0 w 78"/>
                <a:gd name="T3" fmla="*/ 77 h 77"/>
                <a:gd name="T4" fmla="*/ 78 w 78"/>
                <a:gd name="T5" fmla="*/ 77 h 77"/>
                <a:gd name="T6" fmla="*/ 78 w 78"/>
                <a:gd name="T7" fmla="*/ 0 h 77"/>
                <a:gd name="T8" fmla="*/ 0 w 78"/>
                <a:gd name="T9" fmla="*/ 0 h 77"/>
                <a:gd name="T10" fmla="*/ 74 w 78"/>
                <a:gd name="T11" fmla="*/ 74 h 77"/>
                <a:gd name="T12" fmla="*/ 3 w 78"/>
                <a:gd name="T13" fmla="*/ 74 h 77"/>
                <a:gd name="T14" fmla="*/ 3 w 78"/>
                <a:gd name="T15" fmla="*/ 3 h 77"/>
                <a:gd name="T16" fmla="*/ 74 w 78"/>
                <a:gd name="T17" fmla="*/ 3 h 77"/>
                <a:gd name="T18" fmla="*/ 74 w 78"/>
                <a:gd name="T19" fmla="*/ 7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7">
                  <a:moveTo>
                    <a:pt x="0" y="0"/>
                  </a:moveTo>
                  <a:lnTo>
                    <a:pt x="0" y="77"/>
                  </a:lnTo>
                  <a:lnTo>
                    <a:pt x="78" y="77"/>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457"/>
          <p:cNvGrpSpPr/>
          <p:nvPr/>
        </p:nvGrpSpPr>
        <p:grpSpPr>
          <a:xfrm>
            <a:off x="1066112" y="3713565"/>
            <a:ext cx="478323" cy="478323"/>
            <a:chOff x="2441384" y="3360806"/>
            <a:chExt cx="206140" cy="206140"/>
          </a:xfrm>
          <a:solidFill>
            <a:schemeClr val="accent1"/>
          </a:solidFill>
        </p:grpSpPr>
        <p:sp>
          <p:nvSpPr>
            <p:cNvPr id="12" name="Freeform 64"/>
            <p:cNvSpPr>
              <a:spLocks noEditPoints="1"/>
            </p:cNvSpPr>
            <p:nvPr/>
          </p:nvSpPr>
          <p:spPr bwMode="auto">
            <a:xfrm>
              <a:off x="2441384" y="3360806"/>
              <a:ext cx="206140" cy="206140"/>
            </a:xfrm>
            <a:custGeom>
              <a:avLst/>
              <a:gdLst>
                <a:gd name="T0" fmla="*/ 0 w 62"/>
                <a:gd name="T1" fmla="*/ 0 h 62"/>
                <a:gd name="T2" fmla="*/ 0 w 62"/>
                <a:gd name="T3" fmla="*/ 62 h 62"/>
                <a:gd name="T4" fmla="*/ 62 w 62"/>
                <a:gd name="T5" fmla="*/ 62 h 62"/>
                <a:gd name="T6" fmla="*/ 62 w 62"/>
                <a:gd name="T7" fmla="*/ 0 h 62"/>
                <a:gd name="T8" fmla="*/ 0 w 62"/>
                <a:gd name="T9" fmla="*/ 0 h 62"/>
                <a:gd name="T10" fmla="*/ 60 w 62"/>
                <a:gd name="T11" fmla="*/ 59 h 62"/>
                <a:gd name="T12" fmla="*/ 3 w 62"/>
                <a:gd name="T13" fmla="*/ 59 h 62"/>
                <a:gd name="T14" fmla="*/ 3 w 62"/>
                <a:gd name="T15" fmla="*/ 3 h 62"/>
                <a:gd name="T16" fmla="*/ 60 w 62"/>
                <a:gd name="T17" fmla="*/ 3 h 62"/>
                <a:gd name="T18" fmla="*/ 60 w 62"/>
                <a:gd name="T1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0" y="0"/>
                  </a:moveTo>
                  <a:lnTo>
                    <a:pt x="0" y="62"/>
                  </a:lnTo>
                  <a:lnTo>
                    <a:pt x="62" y="62"/>
                  </a:lnTo>
                  <a:lnTo>
                    <a:pt x="62" y="0"/>
                  </a:lnTo>
                  <a:lnTo>
                    <a:pt x="0" y="0"/>
                  </a:lnTo>
                  <a:close/>
                  <a:moveTo>
                    <a:pt x="60" y="59"/>
                  </a:moveTo>
                  <a:lnTo>
                    <a:pt x="3" y="59"/>
                  </a:lnTo>
                  <a:lnTo>
                    <a:pt x="3" y="3"/>
                  </a:lnTo>
                  <a:lnTo>
                    <a:pt x="60" y="3"/>
                  </a:lnTo>
                  <a:lnTo>
                    <a:pt x="60"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3" name="Freeform 65"/>
            <p:cNvSpPr>
              <a:spLocks/>
            </p:cNvSpPr>
            <p:nvPr/>
          </p:nvSpPr>
          <p:spPr bwMode="auto">
            <a:xfrm>
              <a:off x="2614276" y="3523724"/>
              <a:ext cx="9973" cy="9976"/>
            </a:xfrm>
            <a:custGeom>
              <a:avLst/>
              <a:gdLst>
                <a:gd name="T0" fmla="*/ 3 w 3"/>
                <a:gd name="T1" fmla="*/ 0 h 3"/>
                <a:gd name="T2" fmla="*/ 2 w 3"/>
                <a:gd name="T3" fmla="*/ 0 h 3"/>
                <a:gd name="T4" fmla="*/ 1 w 3"/>
                <a:gd name="T5" fmla="*/ 0 h 3"/>
                <a:gd name="T6" fmla="*/ 0 w 3"/>
                <a:gd name="T7" fmla="*/ 0 h 3"/>
                <a:gd name="T8" fmla="*/ 0 w 3"/>
                <a:gd name="T9" fmla="*/ 1 h 3"/>
                <a:gd name="T10" fmla="*/ 0 w 3"/>
                <a:gd name="T11" fmla="*/ 3 h 3"/>
                <a:gd name="T12" fmla="*/ 3 w 3"/>
                <a:gd name="T13" fmla="*/ 3 h 3"/>
                <a:gd name="T14" fmla="*/ 3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0"/>
                  </a:moveTo>
                  <a:lnTo>
                    <a:pt x="2" y="0"/>
                  </a:lnTo>
                  <a:lnTo>
                    <a:pt x="1" y="0"/>
                  </a:lnTo>
                  <a:lnTo>
                    <a:pt x="0" y="0"/>
                  </a:lnTo>
                  <a:lnTo>
                    <a:pt x="0" y="1"/>
                  </a:lnTo>
                  <a:lnTo>
                    <a:pt x="0" y="3"/>
                  </a:lnTo>
                  <a:lnTo>
                    <a:pt x="3" y="3"/>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4" name="Rectangle 66"/>
            <p:cNvSpPr>
              <a:spLocks noChangeArrowheads="1"/>
            </p:cNvSpPr>
            <p:nvPr/>
          </p:nvSpPr>
          <p:spPr bwMode="auto">
            <a:xfrm>
              <a:off x="2607626" y="3523724"/>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5" name="Rectangle 67"/>
            <p:cNvSpPr>
              <a:spLocks noChangeArrowheads="1"/>
            </p:cNvSpPr>
            <p:nvPr/>
          </p:nvSpPr>
          <p:spPr bwMode="auto">
            <a:xfrm>
              <a:off x="2597653" y="3523724"/>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6" name="Freeform 68"/>
            <p:cNvSpPr>
              <a:spLocks/>
            </p:cNvSpPr>
            <p:nvPr/>
          </p:nvSpPr>
          <p:spPr bwMode="auto">
            <a:xfrm>
              <a:off x="2584353" y="3523724"/>
              <a:ext cx="9973" cy="9976"/>
            </a:xfrm>
            <a:custGeom>
              <a:avLst/>
              <a:gdLst>
                <a:gd name="T0" fmla="*/ 3 w 3"/>
                <a:gd name="T1" fmla="*/ 1 h 3"/>
                <a:gd name="T2" fmla="*/ 3 w 3"/>
                <a:gd name="T3" fmla="*/ 0 h 3"/>
                <a:gd name="T4" fmla="*/ 3 w 3"/>
                <a:gd name="T5" fmla="*/ 0 h 3"/>
                <a:gd name="T6" fmla="*/ 2 w 3"/>
                <a:gd name="T7" fmla="*/ 0 h 3"/>
                <a:gd name="T8" fmla="*/ 0 w 3"/>
                <a:gd name="T9" fmla="*/ 0 h 3"/>
                <a:gd name="T10" fmla="*/ 0 w 3"/>
                <a:gd name="T11" fmla="*/ 3 h 3"/>
                <a:gd name="T12" fmla="*/ 3 w 3"/>
                <a:gd name="T13" fmla="*/ 3 h 3"/>
                <a:gd name="T14" fmla="*/ 3 w 3"/>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1"/>
                  </a:moveTo>
                  <a:lnTo>
                    <a:pt x="3" y="0"/>
                  </a:lnTo>
                  <a:lnTo>
                    <a:pt x="3" y="0"/>
                  </a:lnTo>
                  <a:lnTo>
                    <a:pt x="2" y="0"/>
                  </a:lnTo>
                  <a:lnTo>
                    <a:pt x="0" y="0"/>
                  </a:lnTo>
                  <a:lnTo>
                    <a:pt x="0" y="3"/>
                  </a:lnTo>
                  <a:lnTo>
                    <a:pt x="3" y="3"/>
                  </a:lnTo>
                  <a:lnTo>
                    <a:pt x="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7" name="Rectangle 69"/>
            <p:cNvSpPr>
              <a:spLocks noChangeArrowheads="1"/>
            </p:cNvSpPr>
            <p:nvPr/>
          </p:nvSpPr>
          <p:spPr bwMode="auto">
            <a:xfrm>
              <a:off x="2584353" y="3513749"/>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8" name="Rectangle 70"/>
            <p:cNvSpPr>
              <a:spLocks noChangeArrowheads="1"/>
            </p:cNvSpPr>
            <p:nvPr/>
          </p:nvSpPr>
          <p:spPr bwMode="auto">
            <a:xfrm>
              <a:off x="2584353" y="3507099"/>
              <a:ext cx="9973" cy="33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19" name="Freeform 71"/>
            <p:cNvSpPr>
              <a:spLocks/>
            </p:cNvSpPr>
            <p:nvPr/>
          </p:nvSpPr>
          <p:spPr bwMode="auto">
            <a:xfrm>
              <a:off x="2584353" y="3493799"/>
              <a:ext cx="9973" cy="9976"/>
            </a:xfrm>
            <a:custGeom>
              <a:avLst/>
              <a:gdLst>
                <a:gd name="T0" fmla="*/ 3 w 3"/>
                <a:gd name="T1" fmla="*/ 3 h 3"/>
                <a:gd name="T2" fmla="*/ 3 w 3"/>
                <a:gd name="T3" fmla="*/ 3 h 3"/>
                <a:gd name="T4" fmla="*/ 3 w 3"/>
                <a:gd name="T5" fmla="*/ 1 h 3"/>
                <a:gd name="T6" fmla="*/ 3 w 3"/>
                <a:gd name="T7" fmla="*/ 0 h 3"/>
                <a:gd name="T8" fmla="*/ 0 w 3"/>
                <a:gd name="T9" fmla="*/ 0 h 3"/>
                <a:gd name="T10" fmla="*/ 0 w 3"/>
                <a:gd name="T11" fmla="*/ 3 h 3"/>
                <a:gd name="T12" fmla="*/ 2 w 3"/>
                <a:gd name="T13" fmla="*/ 3 h 3"/>
                <a:gd name="T14" fmla="*/ 3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3"/>
                  </a:moveTo>
                  <a:lnTo>
                    <a:pt x="3" y="3"/>
                  </a:lnTo>
                  <a:lnTo>
                    <a:pt x="3" y="1"/>
                  </a:lnTo>
                  <a:lnTo>
                    <a:pt x="3" y="0"/>
                  </a:lnTo>
                  <a:lnTo>
                    <a:pt x="0" y="0"/>
                  </a:lnTo>
                  <a:lnTo>
                    <a:pt x="0" y="3"/>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0" name="Rectangle 72"/>
            <p:cNvSpPr>
              <a:spLocks noChangeArrowheads="1"/>
            </p:cNvSpPr>
            <p:nvPr/>
          </p:nvSpPr>
          <p:spPr bwMode="auto">
            <a:xfrm>
              <a:off x="2597653" y="3493799"/>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1" name="Rectangle 73"/>
            <p:cNvSpPr>
              <a:spLocks noChangeArrowheads="1"/>
            </p:cNvSpPr>
            <p:nvPr/>
          </p:nvSpPr>
          <p:spPr bwMode="auto">
            <a:xfrm>
              <a:off x="2607626" y="3493799"/>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2" name="Freeform 74"/>
            <p:cNvSpPr>
              <a:spLocks/>
            </p:cNvSpPr>
            <p:nvPr/>
          </p:nvSpPr>
          <p:spPr bwMode="auto">
            <a:xfrm>
              <a:off x="2614276" y="3493799"/>
              <a:ext cx="9973" cy="9976"/>
            </a:xfrm>
            <a:custGeom>
              <a:avLst/>
              <a:gdLst>
                <a:gd name="T0" fmla="*/ 3 w 3"/>
                <a:gd name="T1" fmla="*/ 3 h 3"/>
                <a:gd name="T2" fmla="*/ 3 w 3"/>
                <a:gd name="T3" fmla="*/ 0 h 3"/>
                <a:gd name="T4" fmla="*/ 0 w 3"/>
                <a:gd name="T5" fmla="*/ 0 h 3"/>
                <a:gd name="T6" fmla="*/ 0 w 3"/>
                <a:gd name="T7" fmla="*/ 1 h 3"/>
                <a:gd name="T8" fmla="*/ 0 w 3"/>
                <a:gd name="T9" fmla="*/ 3 h 3"/>
                <a:gd name="T10" fmla="*/ 0 w 3"/>
                <a:gd name="T11" fmla="*/ 3 h 3"/>
                <a:gd name="T12" fmla="*/ 2 w 3"/>
                <a:gd name="T13" fmla="*/ 3 h 3"/>
                <a:gd name="T14" fmla="*/ 3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3"/>
                  </a:moveTo>
                  <a:lnTo>
                    <a:pt x="3" y="0"/>
                  </a:lnTo>
                  <a:lnTo>
                    <a:pt x="0" y="0"/>
                  </a:lnTo>
                  <a:lnTo>
                    <a:pt x="0" y="1"/>
                  </a:lnTo>
                  <a:lnTo>
                    <a:pt x="0" y="3"/>
                  </a:lnTo>
                  <a:lnTo>
                    <a:pt x="0" y="3"/>
                  </a:lnTo>
                  <a:lnTo>
                    <a:pt x="2" y="3"/>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3" name="Rectangle 75"/>
            <p:cNvSpPr>
              <a:spLocks noChangeArrowheads="1"/>
            </p:cNvSpPr>
            <p:nvPr/>
          </p:nvSpPr>
          <p:spPr bwMode="auto">
            <a:xfrm>
              <a:off x="2614276" y="3507099"/>
              <a:ext cx="9973" cy="33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4" name="Rectangle 76"/>
            <p:cNvSpPr>
              <a:spLocks noChangeArrowheads="1"/>
            </p:cNvSpPr>
            <p:nvPr/>
          </p:nvSpPr>
          <p:spPr bwMode="auto">
            <a:xfrm>
              <a:off x="2614276" y="3513749"/>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5" name="Freeform 77"/>
            <p:cNvSpPr>
              <a:spLocks noEditPoints="1"/>
            </p:cNvSpPr>
            <p:nvPr/>
          </p:nvSpPr>
          <p:spPr bwMode="auto">
            <a:xfrm>
              <a:off x="2464659" y="3397380"/>
              <a:ext cx="99745" cy="136320"/>
            </a:xfrm>
            <a:custGeom>
              <a:avLst/>
              <a:gdLst>
                <a:gd name="T0" fmla="*/ 12 w 30"/>
                <a:gd name="T1" fmla="*/ 29 h 41"/>
                <a:gd name="T2" fmla="*/ 8 w 30"/>
                <a:gd name="T3" fmla="*/ 29 h 41"/>
                <a:gd name="T4" fmla="*/ 8 w 30"/>
                <a:gd name="T5" fmla="*/ 22 h 41"/>
                <a:gd name="T6" fmla="*/ 23 w 30"/>
                <a:gd name="T7" fmla="*/ 22 h 41"/>
                <a:gd name="T8" fmla="*/ 23 w 30"/>
                <a:gd name="T9" fmla="*/ 29 h 41"/>
                <a:gd name="T10" fmla="*/ 19 w 30"/>
                <a:gd name="T11" fmla="*/ 29 h 41"/>
                <a:gd name="T12" fmla="*/ 19 w 30"/>
                <a:gd name="T13" fmla="*/ 41 h 41"/>
                <a:gd name="T14" fmla="*/ 30 w 30"/>
                <a:gd name="T15" fmla="*/ 41 h 41"/>
                <a:gd name="T16" fmla="*/ 30 w 30"/>
                <a:gd name="T17" fmla="*/ 29 h 41"/>
                <a:gd name="T18" fmla="*/ 26 w 30"/>
                <a:gd name="T19" fmla="*/ 29 h 41"/>
                <a:gd name="T20" fmla="*/ 26 w 30"/>
                <a:gd name="T21" fmla="*/ 11 h 41"/>
                <a:gd name="T22" fmla="*/ 30 w 30"/>
                <a:gd name="T23" fmla="*/ 11 h 41"/>
                <a:gd name="T24" fmla="*/ 30 w 30"/>
                <a:gd name="T25" fmla="*/ 0 h 41"/>
                <a:gd name="T26" fmla="*/ 19 w 30"/>
                <a:gd name="T27" fmla="*/ 0 h 41"/>
                <a:gd name="T28" fmla="*/ 19 w 30"/>
                <a:gd name="T29" fmla="*/ 11 h 41"/>
                <a:gd name="T30" fmla="*/ 23 w 30"/>
                <a:gd name="T31" fmla="*/ 11 h 41"/>
                <a:gd name="T32" fmla="*/ 23 w 30"/>
                <a:gd name="T33" fmla="*/ 19 h 41"/>
                <a:gd name="T34" fmla="*/ 5 w 30"/>
                <a:gd name="T35" fmla="*/ 19 h 41"/>
                <a:gd name="T36" fmla="*/ 5 w 30"/>
                <a:gd name="T37" fmla="*/ 29 h 41"/>
                <a:gd name="T38" fmla="*/ 0 w 30"/>
                <a:gd name="T39" fmla="*/ 29 h 41"/>
                <a:gd name="T40" fmla="*/ 0 w 30"/>
                <a:gd name="T41" fmla="*/ 41 h 41"/>
                <a:gd name="T42" fmla="*/ 12 w 30"/>
                <a:gd name="T43" fmla="*/ 41 h 41"/>
                <a:gd name="T44" fmla="*/ 12 w 30"/>
                <a:gd name="T45" fmla="*/ 29 h 41"/>
                <a:gd name="T46" fmla="*/ 28 w 30"/>
                <a:gd name="T47" fmla="*/ 38 h 41"/>
                <a:gd name="T48" fmla="*/ 21 w 30"/>
                <a:gd name="T49" fmla="*/ 38 h 41"/>
                <a:gd name="T50" fmla="*/ 21 w 30"/>
                <a:gd name="T51" fmla="*/ 32 h 41"/>
                <a:gd name="T52" fmla="*/ 28 w 30"/>
                <a:gd name="T53" fmla="*/ 32 h 41"/>
                <a:gd name="T54" fmla="*/ 28 w 30"/>
                <a:gd name="T55" fmla="*/ 38 h 41"/>
                <a:gd name="T56" fmla="*/ 21 w 30"/>
                <a:gd name="T57" fmla="*/ 2 h 41"/>
                <a:gd name="T58" fmla="*/ 28 w 30"/>
                <a:gd name="T59" fmla="*/ 2 h 41"/>
                <a:gd name="T60" fmla="*/ 28 w 30"/>
                <a:gd name="T61" fmla="*/ 9 h 41"/>
                <a:gd name="T62" fmla="*/ 21 w 30"/>
                <a:gd name="T63" fmla="*/ 9 h 41"/>
                <a:gd name="T64" fmla="*/ 21 w 30"/>
                <a:gd name="T65" fmla="*/ 2 h 41"/>
                <a:gd name="T66" fmla="*/ 9 w 30"/>
                <a:gd name="T67" fmla="*/ 38 h 41"/>
                <a:gd name="T68" fmla="*/ 3 w 30"/>
                <a:gd name="T69" fmla="*/ 38 h 41"/>
                <a:gd name="T70" fmla="*/ 3 w 30"/>
                <a:gd name="T71" fmla="*/ 32 h 41"/>
                <a:gd name="T72" fmla="*/ 9 w 30"/>
                <a:gd name="T73" fmla="*/ 32 h 41"/>
                <a:gd name="T74" fmla="*/ 9 w 30"/>
                <a:gd name="T75" fmla="*/ 38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41">
                  <a:moveTo>
                    <a:pt x="12" y="29"/>
                  </a:moveTo>
                  <a:lnTo>
                    <a:pt x="8" y="29"/>
                  </a:lnTo>
                  <a:lnTo>
                    <a:pt x="8" y="22"/>
                  </a:lnTo>
                  <a:lnTo>
                    <a:pt x="23" y="22"/>
                  </a:lnTo>
                  <a:lnTo>
                    <a:pt x="23" y="29"/>
                  </a:lnTo>
                  <a:lnTo>
                    <a:pt x="19" y="29"/>
                  </a:lnTo>
                  <a:lnTo>
                    <a:pt x="19" y="41"/>
                  </a:lnTo>
                  <a:lnTo>
                    <a:pt x="30" y="41"/>
                  </a:lnTo>
                  <a:lnTo>
                    <a:pt x="30" y="29"/>
                  </a:lnTo>
                  <a:lnTo>
                    <a:pt x="26" y="29"/>
                  </a:lnTo>
                  <a:lnTo>
                    <a:pt x="26" y="11"/>
                  </a:lnTo>
                  <a:lnTo>
                    <a:pt x="30" y="11"/>
                  </a:lnTo>
                  <a:lnTo>
                    <a:pt x="30" y="0"/>
                  </a:lnTo>
                  <a:lnTo>
                    <a:pt x="19" y="0"/>
                  </a:lnTo>
                  <a:lnTo>
                    <a:pt x="19" y="11"/>
                  </a:lnTo>
                  <a:lnTo>
                    <a:pt x="23" y="11"/>
                  </a:lnTo>
                  <a:lnTo>
                    <a:pt x="23" y="19"/>
                  </a:lnTo>
                  <a:lnTo>
                    <a:pt x="5" y="19"/>
                  </a:lnTo>
                  <a:lnTo>
                    <a:pt x="5" y="29"/>
                  </a:lnTo>
                  <a:lnTo>
                    <a:pt x="0" y="29"/>
                  </a:lnTo>
                  <a:lnTo>
                    <a:pt x="0" y="41"/>
                  </a:lnTo>
                  <a:lnTo>
                    <a:pt x="12" y="41"/>
                  </a:lnTo>
                  <a:lnTo>
                    <a:pt x="12" y="29"/>
                  </a:lnTo>
                  <a:close/>
                  <a:moveTo>
                    <a:pt x="28" y="38"/>
                  </a:moveTo>
                  <a:lnTo>
                    <a:pt x="21" y="38"/>
                  </a:lnTo>
                  <a:lnTo>
                    <a:pt x="21" y="32"/>
                  </a:lnTo>
                  <a:lnTo>
                    <a:pt x="28" y="32"/>
                  </a:lnTo>
                  <a:lnTo>
                    <a:pt x="28" y="38"/>
                  </a:lnTo>
                  <a:close/>
                  <a:moveTo>
                    <a:pt x="21" y="2"/>
                  </a:moveTo>
                  <a:lnTo>
                    <a:pt x="28" y="2"/>
                  </a:lnTo>
                  <a:lnTo>
                    <a:pt x="28" y="9"/>
                  </a:lnTo>
                  <a:lnTo>
                    <a:pt x="21" y="9"/>
                  </a:lnTo>
                  <a:lnTo>
                    <a:pt x="21" y="2"/>
                  </a:lnTo>
                  <a:close/>
                  <a:moveTo>
                    <a:pt x="9" y="38"/>
                  </a:moveTo>
                  <a:lnTo>
                    <a:pt x="3" y="38"/>
                  </a:lnTo>
                  <a:lnTo>
                    <a:pt x="3" y="32"/>
                  </a:lnTo>
                  <a:lnTo>
                    <a:pt x="9" y="32"/>
                  </a:lnTo>
                  <a:lnTo>
                    <a:pt x="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6" name="Rectangle 78"/>
            <p:cNvSpPr>
              <a:spLocks noChangeArrowheads="1"/>
            </p:cNvSpPr>
            <p:nvPr/>
          </p:nvSpPr>
          <p:spPr bwMode="auto">
            <a:xfrm>
              <a:off x="2554429" y="3460551"/>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7" name="Rectangle 79"/>
            <p:cNvSpPr>
              <a:spLocks noChangeArrowheads="1"/>
            </p:cNvSpPr>
            <p:nvPr/>
          </p:nvSpPr>
          <p:spPr bwMode="auto">
            <a:xfrm>
              <a:off x="2564404" y="3460551"/>
              <a:ext cx="9973"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8" name="Rectangle 80"/>
            <p:cNvSpPr>
              <a:spLocks noChangeArrowheads="1"/>
            </p:cNvSpPr>
            <p:nvPr/>
          </p:nvSpPr>
          <p:spPr bwMode="auto">
            <a:xfrm>
              <a:off x="2577704" y="3460551"/>
              <a:ext cx="6650"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29" name="Rectangle 81"/>
            <p:cNvSpPr>
              <a:spLocks noChangeArrowheads="1"/>
            </p:cNvSpPr>
            <p:nvPr/>
          </p:nvSpPr>
          <p:spPr bwMode="auto">
            <a:xfrm>
              <a:off x="2587677" y="3460551"/>
              <a:ext cx="9973"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30" name="Rectangle 82"/>
            <p:cNvSpPr>
              <a:spLocks noChangeArrowheads="1"/>
            </p:cNvSpPr>
            <p:nvPr/>
          </p:nvSpPr>
          <p:spPr bwMode="auto">
            <a:xfrm>
              <a:off x="2600977" y="3460551"/>
              <a:ext cx="9973"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31" name="Rectangle 83"/>
            <p:cNvSpPr>
              <a:spLocks noChangeArrowheads="1"/>
            </p:cNvSpPr>
            <p:nvPr/>
          </p:nvSpPr>
          <p:spPr bwMode="auto">
            <a:xfrm>
              <a:off x="2600977" y="3473850"/>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sp>
          <p:nvSpPr>
            <p:cNvPr id="32" name="Rectangle 84"/>
            <p:cNvSpPr>
              <a:spLocks noChangeArrowheads="1"/>
            </p:cNvSpPr>
            <p:nvPr/>
          </p:nvSpPr>
          <p:spPr bwMode="auto">
            <a:xfrm>
              <a:off x="2600977" y="3483826"/>
              <a:ext cx="9973"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4400"/>
            </a:p>
          </p:txBody>
        </p:sp>
      </p:grpSp>
      <p:grpSp>
        <p:nvGrpSpPr>
          <p:cNvPr id="33" name="Group 225"/>
          <p:cNvGrpSpPr/>
          <p:nvPr/>
        </p:nvGrpSpPr>
        <p:grpSpPr>
          <a:xfrm>
            <a:off x="1066112" y="2114848"/>
            <a:ext cx="471654" cy="471654"/>
            <a:chOff x="4287838" y="1854201"/>
            <a:chExt cx="149225" cy="149225"/>
          </a:xfrm>
          <a:solidFill>
            <a:schemeClr val="accent1"/>
          </a:solidFill>
        </p:grpSpPr>
        <p:sp>
          <p:nvSpPr>
            <p:cNvPr id="34" name="Freeform 159"/>
            <p:cNvSpPr>
              <a:spLocks noEditPoints="1"/>
            </p:cNvSpPr>
            <p:nvPr/>
          </p:nvSpPr>
          <p:spPr bwMode="auto">
            <a:xfrm>
              <a:off x="4287838" y="1854201"/>
              <a:ext cx="149225" cy="149225"/>
            </a:xfrm>
            <a:custGeom>
              <a:avLst/>
              <a:gdLst>
                <a:gd name="T0" fmla="*/ 0 w 94"/>
                <a:gd name="T1" fmla="*/ 0 h 94"/>
                <a:gd name="T2" fmla="*/ 0 w 94"/>
                <a:gd name="T3" fmla="*/ 94 h 94"/>
                <a:gd name="T4" fmla="*/ 94 w 94"/>
                <a:gd name="T5" fmla="*/ 94 h 94"/>
                <a:gd name="T6" fmla="*/ 94 w 94"/>
                <a:gd name="T7" fmla="*/ 0 h 94"/>
                <a:gd name="T8" fmla="*/ 0 w 94"/>
                <a:gd name="T9" fmla="*/ 0 h 94"/>
                <a:gd name="T10" fmla="*/ 90 w 94"/>
                <a:gd name="T11" fmla="*/ 90 h 94"/>
                <a:gd name="T12" fmla="*/ 4 w 94"/>
                <a:gd name="T13" fmla="*/ 90 h 94"/>
                <a:gd name="T14" fmla="*/ 4 w 94"/>
                <a:gd name="T15" fmla="*/ 4 h 94"/>
                <a:gd name="T16" fmla="*/ 90 w 94"/>
                <a:gd name="T17" fmla="*/ 4 h 94"/>
                <a:gd name="T18" fmla="*/ 90 w 94"/>
                <a:gd name="T19" fmla="*/ 9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94">
                  <a:moveTo>
                    <a:pt x="0" y="0"/>
                  </a:moveTo>
                  <a:lnTo>
                    <a:pt x="0" y="94"/>
                  </a:lnTo>
                  <a:lnTo>
                    <a:pt x="94" y="94"/>
                  </a:lnTo>
                  <a:lnTo>
                    <a:pt x="94" y="0"/>
                  </a:lnTo>
                  <a:lnTo>
                    <a:pt x="0" y="0"/>
                  </a:lnTo>
                  <a:close/>
                  <a:moveTo>
                    <a:pt x="90" y="90"/>
                  </a:moveTo>
                  <a:lnTo>
                    <a:pt x="4" y="90"/>
                  </a:lnTo>
                  <a:lnTo>
                    <a:pt x="4" y="4"/>
                  </a:lnTo>
                  <a:lnTo>
                    <a:pt x="90" y="4"/>
                  </a:lnTo>
                  <a:lnTo>
                    <a:pt x="90"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35" name="Line 160"/>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36" name="Line 161"/>
            <p:cNvSpPr>
              <a:spLocks noChangeShapeType="1"/>
            </p:cNvSpPr>
            <p:nvPr/>
          </p:nvSpPr>
          <p:spPr bwMode="auto">
            <a:xfrm>
              <a:off x="4375150" y="18843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sp>
          <p:nvSpPr>
            <p:cNvPr id="37" name="Freeform 162"/>
            <p:cNvSpPr>
              <a:spLocks noEditPoints="1"/>
            </p:cNvSpPr>
            <p:nvPr/>
          </p:nvSpPr>
          <p:spPr bwMode="auto">
            <a:xfrm>
              <a:off x="4308475" y="1881188"/>
              <a:ext cx="101600" cy="96838"/>
            </a:xfrm>
            <a:custGeom>
              <a:avLst/>
              <a:gdLst>
                <a:gd name="T0" fmla="*/ 94 w 131"/>
                <a:gd name="T1" fmla="*/ 106 h 125"/>
                <a:gd name="T2" fmla="*/ 112 w 131"/>
                <a:gd name="T3" fmla="*/ 125 h 125"/>
                <a:gd name="T4" fmla="*/ 131 w 131"/>
                <a:gd name="T5" fmla="*/ 106 h 125"/>
                <a:gd name="T6" fmla="*/ 112 w 131"/>
                <a:gd name="T7" fmla="*/ 87 h 125"/>
                <a:gd name="T8" fmla="*/ 97 w 131"/>
                <a:gd name="T9" fmla="*/ 95 h 125"/>
                <a:gd name="T10" fmla="*/ 97 w 131"/>
                <a:gd name="T11" fmla="*/ 96 h 125"/>
                <a:gd name="T12" fmla="*/ 38 w 131"/>
                <a:gd name="T13" fmla="*/ 65 h 125"/>
                <a:gd name="T14" fmla="*/ 38 w 131"/>
                <a:gd name="T15" fmla="*/ 64 h 125"/>
                <a:gd name="T16" fmla="*/ 38 w 131"/>
                <a:gd name="T17" fmla="*/ 62 h 125"/>
                <a:gd name="T18" fmla="*/ 38 w 131"/>
                <a:gd name="T19" fmla="*/ 60 h 125"/>
                <a:gd name="T20" fmla="*/ 38 w 131"/>
                <a:gd name="T21" fmla="*/ 60 h 125"/>
                <a:gd name="T22" fmla="*/ 97 w 131"/>
                <a:gd name="T23" fmla="*/ 29 h 125"/>
                <a:gd name="T24" fmla="*/ 97 w 131"/>
                <a:gd name="T25" fmla="*/ 29 h 125"/>
                <a:gd name="T26" fmla="*/ 112 w 131"/>
                <a:gd name="T27" fmla="*/ 37 h 125"/>
                <a:gd name="T28" fmla="*/ 131 w 131"/>
                <a:gd name="T29" fmla="*/ 18 h 125"/>
                <a:gd name="T30" fmla="*/ 112 w 131"/>
                <a:gd name="T31" fmla="*/ 0 h 125"/>
                <a:gd name="T32" fmla="*/ 94 w 131"/>
                <a:gd name="T33" fmla="*/ 18 h 125"/>
                <a:gd name="T34" fmla="*/ 94 w 131"/>
                <a:gd name="T35" fmla="*/ 21 h 125"/>
                <a:gd name="T36" fmla="*/ 94 w 131"/>
                <a:gd name="T37" fmla="*/ 21 h 125"/>
                <a:gd name="T38" fmla="*/ 35 w 131"/>
                <a:gd name="T39" fmla="*/ 52 h 125"/>
                <a:gd name="T40" fmla="*/ 34 w 131"/>
                <a:gd name="T41" fmla="*/ 52 h 125"/>
                <a:gd name="T42" fmla="*/ 19 w 131"/>
                <a:gd name="T43" fmla="*/ 44 h 125"/>
                <a:gd name="T44" fmla="*/ 0 w 131"/>
                <a:gd name="T45" fmla="*/ 62 h 125"/>
                <a:gd name="T46" fmla="*/ 19 w 131"/>
                <a:gd name="T47" fmla="*/ 81 h 125"/>
                <a:gd name="T48" fmla="*/ 34 w 131"/>
                <a:gd name="T49" fmla="*/ 73 h 125"/>
                <a:gd name="T50" fmla="*/ 35 w 131"/>
                <a:gd name="T51" fmla="*/ 73 h 125"/>
                <a:gd name="T52" fmla="*/ 94 w 131"/>
                <a:gd name="T53" fmla="*/ 104 h 125"/>
                <a:gd name="T54" fmla="*/ 94 w 131"/>
                <a:gd name="T55" fmla="*/ 104 h 125"/>
                <a:gd name="T56" fmla="*/ 94 w 131"/>
                <a:gd name="T57" fmla="*/ 106 h 125"/>
                <a:gd name="T58" fmla="*/ 112 w 131"/>
                <a:gd name="T59" fmla="*/ 96 h 125"/>
                <a:gd name="T60" fmla="*/ 123 w 131"/>
                <a:gd name="T61" fmla="*/ 106 h 125"/>
                <a:gd name="T62" fmla="*/ 112 w 131"/>
                <a:gd name="T63" fmla="*/ 117 h 125"/>
                <a:gd name="T64" fmla="*/ 102 w 131"/>
                <a:gd name="T65" fmla="*/ 106 h 125"/>
                <a:gd name="T66" fmla="*/ 112 w 131"/>
                <a:gd name="T67" fmla="*/ 96 h 125"/>
                <a:gd name="T68" fmla="*/ 112 w 131"/>
                <a:gd name="T69" fmla="*/ 8 h 125"/>
                <a:gd name="T70" fmla="*/ 123 w 131"/>
                <a:gd name="T71" fmla="*/ 18 h 125"/>
                <a:gd name="T72" fmla="*/ 112 w 131"/>
                <a:gd name="T73" fmla="*/ 29 h 125"/>
                <a:gd name="T74" fmla="*/ 102 w 131"/>
                <a:gd name="T75" fmla="*/ 18 h 125"/>
                <a:gd name="T76" fmla="*/ 112 w 131"/>
                <a:gd name="T77" fmla="*/ 8 h 125"/>
                <a:gd name="T78" fmla="*/ 19 w 131"/>
                <a:gd name="T79" fmla="*/ 73 h 125"/>
                <a:gd name="T80" fmla="*/ 9 w 131"/>
                <a:gd name="T81" fmla="*/ 62 h 125"/>
                <a:gd name="T82" fmla="*/ 19 w 131"/>
                <a:gd name="T83" fmla="*/ 52 h 125"/>
                <a:gd name="T84" fmla="*/ 30 w 131"/>
                <a:gd name="T85" fmla="*/ 62 h 125"/>
                <a:gd name="T86" fmla="*/ 19 w 131"/>
                <a:gd name="T87" fmla="*/ 7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 h="125">
                  <a:moveTo>
                    <a:pt x="94" y="106"/>
                  </a:moveTo>
                  <a:cubicBezTo>
                    <a:pt x="94" y="117"/>
                    <a:pt x="102" y="125"/>
                    <a:pt x="112" y="125"/>
                  </a:cubicBezTo>
                  <a:cubicBezTo>
                    <a:pt x="123" y="125"/>
                    <a:pt x="131" y="117"/>
                    <a:pt x="131" y="106"/>
                  </a:cubicBezTo>
                  <a:cubicBezTo>
                    <a:pt x="131" y="96"/>
                    <a:pt x="123" y="87"/>
                    <a:pt x="112" y="87"/>
                  </a:cubicBezTo>
                  <a:cubicBezTo>
                    <a:pt x="106" y="87"/>
                    <a:pt x="101" y="90"/>
                    <a:pt x="97" y="95"/>
                  </a:cubicBezTo>
                  <a:cubicBezTo>
                    <a:pt x="97" y="96"/>
                    <a:pt x="97" y="96"/>
                    <a:pt x="97" y="96"/>
                  </a:cubicBezTo>
                  <a:cubicBezTo>
                    <a:pt x="38" y="65"/>
                    <a:pt x="38" y="65"/>
                    <a:pt x="38" y="65"/>
                  </a:cubicBezTo>
                  <a:cubicBezTo>
                    <a:pt x="38" y="64"/>
                    <a:pt x="38" y="64"/>
                    <a:pt x="38" y="64"/>
                  </a:cubicBezTo>
                  <a:cubicBezTo>
                    <a:pt x="38" y="64"/>
                    <a:pt x="38" y="63"/>
                    <a:pt x="38" y="62"/>
                  </a:cubicBezTo>
                  <a:cubicBezTo>
                    <a:pt x="38" y="62"/>
                    <a:pt x="38" y="61"/>
                    <a:pt x="38" y="60"/>
                  </a:cubicBezTo>
                  <a:cubicBezTo>
                    <a:pt x="38" y="60"/>
                    <a:pt x="38" y="60"/>
                    <a:pt x="38" y="60"/>
                  </a:cubicBezTo>
                  <a:cubicBezTo>
                    <a:pt x="97" y="29"/>
                    <a:pt x="97" y="29"/>
                    <a:pt x="97" y="29"/>
                  </a:cubicBezTo>
                  <a:cubicBezTo>
                    <a:pt x="97" y="29"/>
                    <a:pt x="97" y="29"/>
                    <a:pt x="97" y="29"/>
                  </a:cubicBezTo>
                  <a:cubicBezTo>
                    <a:pt x="101" y="34"/>
                    <a:pt x="106" y="37"/>
                    <a:pt x="112" y="37"/>
                  </a:cubicBezTo>
                  <a:cubicBezTo>
                    <a:pt x="123" y="37"/>
                    <a:pt x="131" y="29"/>
                    <a:pt x="131" y="18"/>
                  </a:cubicBezTo>
                  <a:cubicBezTo>
                    <a:pt x="131" y="8"/>
                    <a:pt x="123" y="0"/>
                    <a:pt x="112" y="0"/>
                  </a:cubicBezTo>
                  <a:cubicBezTo>
                    <a:pt x="102" y="0"/>
                    <a:pt x="94" y="8"/>
                    <a:pt x="94" y="18"/>
                  </a:cubicBezTo>
                  <a:cubicBezTo>
                    <a:pt x="94" y="19"/>
                    <a:pt x="94" y="20"/>
                    <a:pt x="94" y="21"/>
                  </a:cubicBezTo>
                  <a:cubicBezTo>
                    <a:pt x="94" y="21"/>
                    <a:pt x="94" y="21"/>
                    <a:pt x="94" y="21"/>
                  </a:cubicBezTo>
                  <a:cubicBezTo>
                    <a:pt x="35" y="52"/>
                    <a:pt x="35" y="52"/>
                    <a:pt x="35" y="52"/>
                  </a:cubicBezTo>
                  <a:cubicBezTo>
                    <a:pt x="34" y="52"/>
                    <a:pt x="34" y="52"/>
                    <a:pt x="34" y="52"/>
                  </a:cubicBezTo>
                  <a:cubicBezTo>
                    <a:pt x="31" y="47"/>
                    <a:pt x="25" y="44"/>
                    <a:pt x="19" y="44"/>
                  </a:cubicBezTo>
                  <a:cubicBezTo>
                    <a:pt x="9" y="44"/>
                    <a:pt x="0" y="52"/>
                    <a:pt x="0" y="62"/>
                  </a:cubicBezTo>
                  <a:cubicBezTo>
                    <a:pt x="0" y="73"/>
                    <a:pt x="9" y="81"/>
                    <a:pt x="19" y="81"/>
                  </a:cubicBezTo>
                  <a:cubicBezTo>
                    <a:pt x="25" y="81"/>
                    <a:pt x="31" y="78"/>
                    <a:pt x="34" y="73"/>
                  </a:cubicBezTo>
                  <a:cubicBezTo>
                    <a:pt x="35" y="73"/>
                    <a:pt x="35" y="73"/>
                    <a:pt x="35" y="73"/>
                  </a:cubicBezTo>
                  <a:cubicBezTo>
                    <a:pt x="94" y="104"/>
                    <a:pt x="94" y="104"/>
                    <a:pt x="94" y="104"/>
                  </a:cubicBezTo>
                  <a:cubicBezTo>
                    <a:pt x="94" y="104"/>
                    <a:pt x="94" y="104"/>
                    <a:pt x="94" y="104"/>
                  </a:cubicBezTo>
                  <a:cubicBezTo>
                    <a:pt x="94" y="105"/>
                    <a:pt x="94" y="106"/>
                    <a:pt x="94" y="106"/>
                  </a:cubicBezTo>
                  <a:close/>
                  <a:moveTo>
                    <a:pt x="112" y="96"/>
                  </a:moveTo>
                  <a:cubicBezTo>
                    <a:pt x="118" y="96"/>
                    <a:pt x="123" y="100"/>
                    <a:pt x="123" y="106"/>
                  </a:cubicBezTo>
                  <a:cubicBezTo>
                    <a:pt x="123" y="112"/>
                    <a:pt x="118" y="117"/>
                    <a:pt x="112" y="117"/>
                  </a:cubicBezTo>
                  <a:cubicBezTo>
                    <a:pt x="107" y="117"/>
                    <a:pt x="102" y="112"/>
                    <a:pt x="102" y="106"/>
                  </a:cubicBezTo>
                  <a:cubicBezTo>
                    <a:pt x="102" y="100"/>
                    <a:pt x="107" y="96"/>
                    <a:pt x="112" y="96"/>
                  </a:cubicBezTo>
                  <a:close/>
                  <a:moveTo>
                    <a:pt x="112" y="8"/>
                  </a:moveTo>
                  <a:cubicBezTo>
                    <a:pt x="118" y="8"/>
                    <a:pt x="123" y="13"/>
                    <a:pt x="123" y="18"/>
                  </a:cubicBezTo>
                  <a:cubicBezTo>
                    <a:pt x="123" y="24"/>
                    <a:pt x="118" y="29"/>
                    <a:pt x="112" y="29"/>
                  </a:cubicBezTo>
                  <a:cubicBezTo>
                    <a:pt x="107" y="29"/>
                    <a:pt x="102" y="24"/>
                    <a:pt x="102" y="18"/>
                  </a:cubicBezTo>
                  <a:cubicBezTo>
                    <a:pt x="102" y="13"/>
                    <a:pt x="107" y="8"/>
                    <a:pt x="112" y="8"/>
                  </a:cubicBezTo>
                  <a:close/>
                  <a:moveTo>
                    <a:pt x="19" y="73"/>
                  </a:moveTo>
                  <a:cubicBezTo>
                    <a:pt x="13" y="73"/>
                    <a:pt x="9" y="68"/>
                    <a:pt x="9" y="62"/>
                  </a:cubicBezTo>
                  <a:cubicBezTo>
                    <a:pt x="9" y="57"/>
                    <a:pt x="13" y="52"/>
                    <a:pt x="19" y="52"/>
                  </a:cubicBezTo>
                  <a:cubicBezTo>
                    <a:pt x="25" y="52"/>
                    <a:pt x="30" y="57"/>
                    <a:pt x="30" y="62"/>
                  </a:cubicBezTo>
                  <a:cubicBezTo>
                    <a:pt x="30" y="68"/>
                    <a:pt x="25" y="73"/>
                    <a:pt x="19"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3200"/>
            </a:p>
          </p:txBody>
        </p:sp>
      </p:grpSp>
      <p:sp>
        <p:nvSpPr>
          <p:cNvPr id="38" name="Rektangel 37"/>
          <p:cNvSpPr/>
          <p:nvPr/>
        </p:nvSpPr>
        <p:spPr>
          <a:xfrm>
            <a:off x="1916022" y="2141135"/>
            <a:ext cx="7000999" cy="461665"/>
          </a:xfrm>
          <a:prstGeom prst="rect">
            <a:avLst/>
          </a:prstGeom>
        </p:spPr>
        <p:txBody>
          <a:bodyPr wrap="square">
            <a:spAutoFit/>
          </a:bodyPr>
          <a:lstStyle/>
          <a:p>
            <a:pPr lvl="0"/>
            <a:r>
              <a:rPr lang="nb-NO" sz="1200" b="1">
                <a:solidFill>
                  <a:schemeClr val="accent1"/>
                </a:solidFill>
              </a:rPr>
              <a:t>Deling av informasjon med økosystemer</a:t>
            </a:r>
          </a:p>
          <a:p>
            <a:pPr lvl="0"/>
            <a:r>
              <a:rPr lang="nb-NO" sz="1200"/>
              <a:t>Samhandlingsevne og bedre tjenester ved gjenbruk og viderebruk</a:t>
            </a:r>
          </a:p>
        </p:txBody>
      </p:sp>
      <p:sp>
        <p:nvSpPr>
          <p:cNvPr id="39" name="Rektangel 38"/>
          <p:cNvSpPr/>
          <p:nvPr/>
        </p:nvSpPr>
        <p:spPr>
          <a:xfrm>
            <a:off x="1916022" y="1314589"/>
            <a:ext cx="7000999" cy="461665"/>
          </a:xfrm>
          <a:prstGeom prst="rect">
            <a:avLst/>
          </a:prstGeom>
        </p:spPr>
        <p:txBody>
          <a:bodyPr wrap="square">
            <a:spAutoFit/>
          </a:bodyPr>
          <a:lstStyle/>
          <a:p>
            <a:pPr lvl="0"/>
            <a:r>
              <a:rPr lang="nb-NO" sz="1200" b="1">
                <a:solidFill>
                  <a:schemeClr val="accent1"/>
                </a:solidFill>
              </a:rPr>
              <a:t>RBT</a:t>
            </a:r>
          </a:p>
          <a:p>
            <a:pPr lvl="0"/>
            <a:r>
              <a:rPr lang="nb-NO" sz="1200"/>
              <a:t>Beslutningsstøtte og prediksjoner</a:t>
            </a:r>
          </a:p>
        </p:txBody>
      </p:sp>
      <p:sp>
        <p:nvSpPr>
          <p:cNvPr id="40" name="Rektangel 39"/>
          <p:cNvSpPr/>
          <p:nvPr/>
        </p:nvSpPr>
        <p:spPr>
          <a:xfrm>
            <a:off x="1916022" y="2914680"/>
            <a:ext cx="7000999" cy="461665"/>
          </a:xfrm>
          <a:prstGeom prst="rect">
            <a:avLst/>
          </a:prstGeom>
        </p:spPr>
        <p:txBody>
          <a:bodyPr wrap="square">
            <a:spAutoFit/>
          </a:bodyPr>
          <a:lstStyle/>
          <a:p>
            <a:pPr lvl="0"/>
            <a:r>
              <a:rPr lang="nb-NO" sz="1200" b="1" err="1">
                <a:solidFill>
                  <a:schemeClr val="accent1"/>
                </a:solidFill>
              </a:rPr>
              <a:t>Tax</a:t>
            </a:r>
            <a:r>
              <a:rPr lang="nb-NO" sz="1200" b="1">
                <a:solidFill>
                  <a:schemeClr val="accent1"/>
                </a:solidFill>
              </a:rPr>
              <a:t> 2030: Digitale økosystemer</a:t>
            </a:r>
          </a:p>
          <a:p>
            <a:pPr lvl="0"/>
            <a:r>
              <a:rPr lang="nb-NO" sz="1200"/>
              <a:t>Etterlevelse ved hendelsesbasert samhandling i sanntid</a:t>
            </a:r>
          </a:p>
        </p:txBody>
      </p:sp>
      <p:sp>
        <p:nvSpPr>
          <p:cNvPr id="41" name="Rektangel 40"/>
          <p:cNvSpPr/>
          <p:nvPr/>
        </p:nvSpPr>
        <p:spPr>
          <a:xfrm>
            <a:off x="1916022" y="3713565"/>
            <a:ext cx="7000999" cy="461665"/>
          </a:xfrm>
          <a:prstGeom prst="rect">
            <a:avLst/>
          </a:prstGeom>
        </p:spPr>
        <p:txBody>
          <a:bodyPr wrap="square">
            <a:spAutoFit/>
          </a:bodyPr>
          <a:lstStyle/>
          <a:p>
            <a:pPr lvl="0"/>
            <a:r>
              <a:rPr lang="nb-NO" sz="1200" b="1">
                <a:solidFill>
                  <a:schemeClr val="accent1"/>
                </a:solidFill>
              </a:rPr>
              <a:t>Virksomhetsstyring- og utvikling</a:t>
            </a:r>
          </a:p>
          <a:p>
            <a:pPr lvl="0"/>
            <a:r>
              <a:rPr lang="nb-NO" sz="1200"/>
              <a:t>Operativ styringsinformasjon og innsikt til strategisk utvikling</a:t>
            </a:r>
          </a:p>
        </p:txBody>
      </p:sp>
    </p:spTree>
    <p:extLst>
      <p:ext uri="{BB962C8B-B14F-4D97-AF65-F5344CB8AC3E}">
        <p14:creationId xmlns:p14="http://schemas.microsoft.com/office/powerpoint/2010/main" val="12331078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Plassholder for innhold 2">
            <a:extLst>
              <a:ext uri="{FF2B5EF4-FFF2-40B4-BE49-F238E27FC236}">
                <a16:creationId xmlns:a16="http://schemas.microsoft.com/office/drawing/2014/main" id="{A6F3570C-563A-47F0-8497-92F2AAF6796E}"/>
              </a:ext>
            </a:extLst>
          </p:cNvPr>
          <p:cNvSpPr>
            <a:spLocks noGrp="1"/>
          </p:cNvSpPr>
          <p:nvPr>
            <p:ph idx="4294967295"/>
          </p:nvPr>
        </p:nvSpPr>
        <p:spPr>
          <a:xfrm>
            <a:off x="357677" y="1141462"/>
            <a:ext cx="5414129" cy="3638677"/>
          </a:xfrm>
          <a:ln>
            <a:noFill/>
          </a:ln>
        </p:spPr>
        <p:txBody>
          <a:bodyPr vert="horz" lIns="53633" tIns="53633" rIns="0" bIns="0" rtlCol="0" anchor="t">
            <a:normAutofit/>
          </a:bodyPr>
          <a:lstStyle/>
          <a:p>
            <a:pPr marL="168865" indent="-168865"/>
            <a:r>
              <a:rPr lang="nb-NO" dirty="0">
                <a:solidFill>
                  <a:srgbClr val="000000"/>
                </a:solidFill>
                <a:ea typeface="+mn-lt"/>
                <a:cs typeface="Arial"/>
              </a:rPr>
              <a:t>Datasentriske produkter (fagområder)</a:t>
            </a:r>
          </a:p>
          <a:p>
            <a:pPr marL="168865" indent="-168865"/>
            <a:r>
              <a:rPr lang="nb-NO" dirty="0">
                <a:solidFill>
                  <a:srgbClr val="000000"/>
                </a:solidFill>
                <a:ea typeface="+mn-lt"/>
                <a:cs typeface="Arial"/>
              </a:rPr>
              <a:t>Produktledelse som forvaltningsmodell</a:t>
            </a:r>
            <a:endParaRPr lang="nb-NO" dirty="0">
              <a:solidFill>
                <a:srgbClr val="000000"/>
              </a:solidFill>
              <a:ea typeface="+mn-lt"/>
              <a:cs typeface="+mn-lt"/>
            </a:endParaRPr>
          </a:p>
          <a:p>
            <a:pPr marL="168865" indent="-168865"/>
            <a:r>
              <a:rPr lang="nb-NO" dirty="0">
                <a:solidFill>
                  <a:srgbClr val="000000"/>
                </a:solidFill>
                <a:ea typeface="+mn-lt"/>
                <a:cs typeface="Arial"/>
              </a:rPr>
              <a:t>Bedre prosesser for styring og forvaltning</a:t>
            </a:r>
          </a:p>
          <a:p>
            <a:pPr marL="504678" lvl="1" indent="-168865"/>
            <a:r>
              <a:rPr lang="nb-NO" dirty="0">
                <a:solidFill>
                  <a:srgbClr val="000000"/>
                </a:solidFill>
                <a:ea typeface="+mn-lt"/>
                <a:cs typeface="Arial"/>
              </a:rPr>
              <a:t>Standardisering</a:t>
            </a:r>
          </a:p>
          <a:p>
            <a:pPr marL="504678" lvl="1" indent="-168865"/>
            <a:r>
              <a:rPr lang="nb-NO" dirty="0">
                <a:solidFill>
                  <a:srgbClr val="000000"/>
                </a:solidFill>
                <a:ea typeface="+mn-lt"/>
                <a:cs typeface="Arial"/>
              </a:rPr>
              <a:t>Informasjonsarkitektur</a:t>
            </a:r>
          </a:p>
          <a:p>
            <a:pPr marL="504678" lvl="1" indent="-168865"/>
            <a:r>
              <a:rPr lang="nb-NO" dirty="0">
                <a:solidFill>
                  <a:srgbClr val="000000"/>
                </a:solidFill>
                <a:ea typeface="+mn-lt"/>
                <a:cs typeface="Arial"/>
              </a:rPr>
              <a:t>Datakvalitet</a:t>
            </a:r>
          </a:p>
          <a:p>
            <a:pPr marL="504678" lvl="1" indent="-168865"/>
            <a:r>
              <a:rPr lang="nb-NO" dirty="0">
                <a:solidFill>
                  <a:srgbClr val="000000"/>
                </a:solidFill>
                <a:ea typeface="+mn-lt"/>
                <a:cs typeface="Arial"/>
              </a:rPr>
              <a:t>Regulatoriske krav</a:t>
            </a:r>
          </a:p>
          <a:p>
            <a:pPr marL="168865" indent="-168865"/>
            <a:endParaRPr lang="nb-NO" dirty="0"/>
          </a:p>
          <a:p>
            <a:pPr marL="168865" indent="-168865"/>
            <a:r>
              <a:rPr lang="nb-NO" dirty="0">
                <a:cs typeface="Arial"/>
              </a:rPr>
              <a:t>De to viktige utviklingstiltakene for etaten fremover</a:t>
            </a:r>
          </a:p>
          <a:p>
            <a:pPr marL="506595" lvl="1" indent="-168865"/>
            <a:r>
              <a:rPr lang="nb-NO" sz="1490" dirty="0">
                <a:cs typeface="Arial"/>
              </a:rPr>
              <a:t>Fremtidens innkreving</a:t>
            </a:r>
          </a:p>
          <a:p>
            <a:pPr marL="506595" lvl="1" indent="-168865"/>
            <a:r>
              <a:rPr lang="nb-NO" sz="1490" dirty="0">
                <a:cs typeface="Arial"/>
              </a:rPr>
              <a:t>Informasjons- og analyseplattform</a:t>
            </a:r>
          </a:p>
          <a:p>
            <a:pPr marL="170782" indent="-168865"/>
            <a:endParaRPr lang="nb-NO" sz="2024" dirty="0">
              <a:cs typeface="Arial"/>
            </a:endParaRPr>
          </a:p>
          <a:p>
            <a:pPr marL="506595" lvl="1" indent="-168865"/>
            <a:endParaRPr lang="nb-NO" sz="1788" dirty="0">
              <a:cs typeface="Arial"/>
            </a:endParaRPr>
          </a:p>
        </p:txBody>
      </p:sp>
      <p:sp>
        <p:nvSpPr>
          <p:cNvPr id="24" name="Tittel 1">
            <a:extLst>
              <a:ext uri="{FF2B5EF4-FFF2-40B4-BE49-F238E27FC236}">
                <a16:creationId xmlns:a16="http://schemas.microsoft.com/office/drawing/2014/main" id="{817DDD3D-2E62-4C4B-A176-A07A98DB51E0}"/>
              </a:ext>
            </a:extLst>
          </p:cNvPr>
          <p:cNvSpPr>
            <a:spLocks noGrp="1"/>
          </p:cNvSpPr>
          <p:nvPr>
            <p:ph type="title" idx="4294967295"/>
          </p:nvPr>
        </p:nvSpPr>
        <p:spPr>
          <a:xfrm>
            <a:off x="1028617" y="302937"/>
            <a:ext cx="8365292" cy="346484"/>
          </a:xfrm>
        </p:spPr>
        <p:txBody>
          <a:bodyPr>
            <a:normAutofit/>
          </a:bodyPr>
          <a:lstStyle/>
          <a:p>
            <a:r>
              <a:rPr lang="nb-NO" sz="2086"/>
              <a:t>Vi beveger oss i riktig retning, men det er ikke nok…</a:t>
            </a:r>
          </a:p>
        </p:txBody>
      </p:sp>
      <p:grpSp>
        <p:nvGrpSpPr>
          <p:cNvPr id="18" name="Gruppe 17">
            <a:extLst>
              <a:ext uri="{FF2B5EF4-FFF2-40B4-BE49-F238E27FC236}">
                <a16:creationId xmlns:a16="http://schemas.microsoft.com/office/drawing/2014/main" id="{5D550464-756E-447E-8427-A66B3A254C7E}"/>
              </a:ext>
            </a:extLst>
          </p:cNvPr>
          <p:cNvGrpSpPr/>
          <p:nvPr/>
        </p:nvGrpSpPr>
        <p:grpSpPr>
          <a:xfrm>
            <a:off x="5677232" y="1236253"/>
            <a:ext cx="3436520" cy="3097207"/>
            <a:chOff x="6042590" y="1553055"/>
            <a:chExt cx="4400297" cy="4089155"/>
          </a:xfrm>
        </p:grpSpPr>
        <p:sp>
          <p:nvSpPr>
            <p:cNvPr id="19" name="Delvis sirkel 20">
              <a:extLst>
                <a:ext uri="{FF2B5EF4-FFF2-40B4-BE49-F238E27FC236}">
                  <a16:creationId xmlns:a16="http://schemas.microsoft.com/office/drawing/2014/main" id="{140E1F0B-BEF0-4384-972D-16EF570E8114}"/>
                </a:ext>
              </a:extLst>
            </p:cNvPr>
            <p:cNvSpPr/>
            <p:nvPr/>
          </p:nvSpPr>
          <p:spPr>
            <a:xfrm rot="7219304">
              <a:off x="7212695" y="1085595"/>
              <a:ext cx="1839322" cy="2774242"/>
            </a:xfrm>
            <a:custGeom>
              <a:avLst/>
              <a:gdLst>
                <a:gd name="connsiteX0" fmla="*/ 1840183 w 3701612"/>
                <a:gd name="connsiteY0" fmla="*/ 3701582 h 3701612"/>
                <a:gd name="connsiteX1" fmla="*/ 245868 w 3701612"/>
                <a:gd name="connsiteY1" fmla="*/ 2772575 h 3701612"/>
                <a:gd name="connsiteX2" fmla="*/ 246845 w 3701612"/>
                <a:gd name="connsiteY2" fmla="*/ 927340 h 3701612"/>
                <a:gd name="connsiteX3" fmla="*/ 1850806 w 3701612"/>
                <a:gd name="connsiteY3" fmla="*/ 1850806 h 3701612"/>
                <a:gd name="connsiteX4" fmla="*/ 1840183 w 3701612"/>
                <a:gd name="connsiteY4" fmla="*/ 3701582 h 3701612"/>
                <a:gd name="connsiteX0" fmla="*/ 1777622 w 1788245"/>
                <a:gd name="connsiteY0" fmla="*/ 2774242 h 2774242"/>
                <a:gd name="connsiteX1" fmla="*/ 183307 w 1788245"/>
                <a:gd name="connsiteY1" fmla="*/ 1845235 h 2774242"/>
                <a:gd name="connsiteX2" fmla="*/ 184284 w 1788245"/>
                <a:gd name="connsiteY2" fmla="*/ 0 h 2774242"/>
                <a:gd name="connsiteX3" fmla="*/ 1053489 w 1788245"/>
                <a:gd name="connsiteY3" fmla="*/ 493210 h 2774242"/>
                <a:gd name="connsiteX4" fmla="*/ 1788245 w 1788245"/>
                <a:gd name="connsiteY4" fmla="*/ 923466 h 2774242"/>
                <a:gd name="connsiteX5" fmla="*/ 1777622 w 1788245"/>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1053489 w 1783483"/>
                <a:gd name="connsiteY3" fmla="*/ 493210 h 2774242"/>
                <a:gd name="connsiteX4" fmla="*/ 1783483 w 1783483"/>
                <a:gd name="connsiteY4" fmla="*/ 1842628 h 2774242"/>
                <a:gd name="connsiteX5" fmla="*/ 1777622 w 1783483"/>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986814 w 1783483"/>
                <a:gd name="connsiteY3" fmla="*/ 474160 h 2774242"/>
                <a:gd name="connsiteX4" fmla="*/ 1783483 w 1783483"/>
                <a:gd name="connsiteY4" fmla="*/ 1842628 h 2774242"/>
                <a:gd name="connsiteX5" fmla="*/ 1777622 w 1783483"/>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86814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814826 w 1821359"/>
                <a:gd name="connsiteY0" fmla="*/ 2774242 h 2774242"/>
                <a:gd name="connsiteX1" fmla="*/ 220511 w 1821359"/>
                <a:gd name="connsiteY1" fmla="*/ 1845235 h 2774242"/>
                <a:gd name="connsiteX2" fmla="*/ 221488 w 1821359"/>
                <a:gd name="connsiteY2" fmla="*/ 0 h 2774242"/>
                <a:gd name="connsiteX3" fmla="*/ 1009769 w 1821359"/>
                <a:gd name="connsiteY3" fmla="*/ 474160 h 2774242"/>
                <a:gd name="connsiteX4" fmla="*/ 1820687 w 1821359"/>
                <a:gd name="connsiteY4" fmla="*/ 1842628 h 2774242"/>
                <a:gd name="connsiteX5" fmla="*/ 1814826 w 1821359"/>
                <a:gd name="connsiteY5" fmla="*/ 2774242 h 2774242"/>
                <a:gd name="connsiteX0" fmla="*/ 1823274 w 1829807"/>
                <a:gd name="connsiteY0" fmla="*/ 2774242 h 2774242"/>
                <a:gd name="connsiteX1" fmla="*/ 228959 w 1829807"/>
                <a:gd name="connsiteY1" fmla="*/ 1845235 h 2774242"/>
                <a:gd name="connsiteX2" fmla="*/ 229936 w 1829807"/>
                <a:gd name="connsiteY2" fmla="*/ 0 h 2774242"/>
                <a:gd name="connsiteX3" fmla="*/ 1018217 w 1829807"/>
                <a:gd name="connsiteY3" fmla="*/ 474160 h 2774242"/>
                <a:gd name="connsiteX4" fmla="*/ 1829135 w 1829807"/>
                <a:gd name="connsiteY4" fmla="*/ 1842628 h 2774242"/>
                <a:gd name="connsiteX5" fmla="*/ 1823274 w 1829807"/>
                <a:gd name="connsiteY5" fmla="*/ 2774242 h 2774242"/>
                <a:gd name="connsiteX0" fmla="*/ 1830175 w 1836708"/>
                <a:gd name="connsiteY0" fmla="*/ 2774242 h 2774242"/>
                <a:gd name="connsiteX1" fmla="*/ 235860 w 1836708"/>
                <a:gd name="connsiteY1" fmla="*/ 1845235 h 2774242"/>
                <a:gd name="connsiteX2" fmla="*/ 236837 w 1836708"/>
                <a:gd name="connsiteY2" fmla="*/ 0 h 2774242"/>
                <a:gd name="connsiteX3" fmla="*/ 1025118 w 1836708"/>
                <a:gd name="connsiteY3" fmla="*/ 474160 h 2774242"/>
                <a:gd name="connsiteX4" fmla="*/ 1836036 w 1836708"/>
                <a:gd name="connsiteY4" fmla="*/ 1842628 h 2774242"/>
                <a:gd name="connsiteX5" fmla="*/ 1830175 w 1836708"/>
                <a:gd name="connsiteY5" fmla="*/ 2774242 h 2774242"/>
                <a:gd name="connsiteX0" fmla="*/ 1824989 w 1831522"/>
                <a:gd name="connsiteY0" fmla="*/ 2774242 h 2774242"/>
                <a:gd name="connsiteX1" fmla="*/ 230674 w 1831522"/>
                <a:gd name="connsiteY1" fmla="*/ 1845235 h 2774242"/>
                <a:gd name="connsiteX2" fmla="*/ 231651 w 1831522"/>
                <a:gd name="connsiteY2" fmla="*/ 0 h 2774242"/>
                <a:gd name="connsiteX3" fmla="*/ 1019932 w 1831522"/>
                <a:gd name="connsiteY3" fmla="*/ 474160 h 2774242"/>
                <a:gd name="connsiteX4" fmla="*/ 1830850 w 1831522"/>
                <a:gd name="connsiteY4" fmla="*/ 1842628 h 2774242"/>
                <a:gd name="connsiteX5" fmla="*/ 1824989 w 1831522"/>
                <a:gd name="connsiteY5" fmla="*/ 2774242 h 2774242"/>
                <a:gd name="connsiteX0" fmla="*/ 1842527 w 1849060"/>
                <a:gd name="connsiteY0" fmla="*/ 2774242 h 2774242"/>
                <a:gd name="connsiteX1" fmla="*/ 248212 w 1849060"/>
                <a:gd name="connsiteY1" fmla="*/ 1845235 h 2774242"/>
                <a:gd name="connsiteX2" fmla="*/ 249189 w 1849060"/>
                <a:gd name="connsiteY2" fmla="*/ 0 h 2774242"/>
                <a:gd name="connsiteX3" fmla="*/ 1037470 w 1849060"/>
                <a:gd name="connsiteY3" fmla="*/ 474160 h 2774242"/>
                <a:gd name="connsiteX4" fmla="*/ 1848388 w 1849060"/>
                <a:gd name="connsiteY4" fmla="*/ 1842628 h 2774242"/>
                <a:gd name="connsiteX5" fmla="*/ 1842527 w 1849060"/>
                <a:gd name="connsiteY5" fmla="*/ 2774242 h 2774242"/>
                <a:gd name="connsiteX0" fmla="*/ 1826710 w 1833243"/>
                <a:gd name="connsiteY0" fmla="*/ 2774242 h 2774242"/>
                <a:gd name="connsiteX1" fmla="*/ 232395 w 1833243"/>
                <a:gd name="connsiteY1" fmla="*/ 1845235 h 2774242"/>
                <a:gd name="connsiteX2" fmla="*/ 233372 w 1833243"/>
                <a:gd name="connsiteY2" fmla="*/ 0 h 2774242"/>
                <a:gd name="connsiteX3" fmla="*/ 1021653 w 1833243"/>
                <a:gd name="connsiteY3" fmla="*/ 474160 h 2774242"/>
                <a:gd name="connsiteX4" fmla="*/ 1832571 w 1833243"/>
                <a:gd name="connsiteY4" fmla="*/ 1842628 h 2774242"/>
                <a:gd name="connsiteX5" fmla="*/ 1826710 w 1833243"/>
                <a:gd name="connsiteY5" fmla="*/ 2774242 h 2774242"/>
                <a:gd name="connsiteX0" fmla="*/ 1831919 w 1838452"/>
                <a:gd name="connsiteY0" fmla="*/ 2774242 h 2774242"/>
                <a:gd name="connsiteX1" fmla="*/ 237604 w 1838452"/>
                <a:gd name="connsiteY1" fmla="*/ 1845235 h 2774242"/>
                <a:gd name="connsiteX2" fmla="*/ 238581 w 1838452"/>
                <a:gd name="connsiteY2" fmla="*/ 0 h 2774242"/>
                <a:gd name="connsiteX3" fmla="*/ 1026862 w 1838452"/>
                <a:gd name="connsiteY3" fmla="*/ 474160 h 2774242"/>
                <a:gd name="connsiteX4" fmla="*/ 1837780 w 1838452"/>
                <a:gd name="connsiteY4" fmla="*/ 1842628 h 2774242"/>
                <a:gd name="connsiteX5" fmla="*/ 1831919 w 1838452"/>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424" h="2774242">
                  <a:moveTo>
                    <a:pt x="1831919" y="2774242"/>
                  </a:moveTo>
                  <a:cubicBezTo>
                    <a:pt x="1172997" y="2770460"/>
                    <a:pt x="565776" y="2416633"/>
                    <a:pt x="237604" y="1845235"/>
                  </a:cubicBezTo>
                  <a:cubicBezTo>
                    <a:pt x="-90568" y="1273837"/>
                    <a:pt x="-67942" y="549187"/>
                    <a:pt x="238581" y="0"/>
                  </a:cubicBezTo>
                  <a:cubicBezTo>
                    <a:pt x="501341" y="158053"/>
                    <a:pt x="654856" y="244669"/>
                    <a:pt x="1026862" y="474160"/>
                  </a:cubicBezTo>
                  <a:cubicBezTo>
                    <a:pt x="1295585" y="930316"/>
                    <a:pt x="1564307" y="1405523"/>
                    <a:pt x="1833030" y="1842628"/>
                  </a:cubicBezTo>
                  <a:cubicBezTo>
                    <a:pt x="1835826" y="2362716"/>
                    <a:pt x="1833873" y="2463704"/>
                    <a:pt x="1831919" y="2774242"/>
                  </a:cubicBezTo>
                  <a:close/>
                </a:path>
              </a:pathLst>
            </a:custGeom>
            <a:solidFill>
              <a:srgbClr val="E5E5E5"/>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black"/>
                </a:solidFill>
                <a:latin typeface="Arial" panose="020B0604020202020204"/>
              </a:endParaRPr>
            </a:p>
          </p:txBody>
        </p:sp>
        <p:sp>
          <p:nvSpPr>
            <p:cNvPr id="20" name="Delvis sirkel 20">
              <a:extLst>
                <a:ext uri="{FF2B5EF4-FFF2-40B4-BE49-F238E27FC236}">
                  <a16:creationId xmlns:a16="http://schemas.microsoft.com/office/drawing/2014/main" id="{C8B81EF1-7597-4151-9AFE-518A3AF5FF2C}"/>
                </a:ext>
              </a:extLst>
            </p:cNvPr>
            <p:cNvSpPr/>
            <p:nvPr/>
          </p:nvSpPr>
          <p:spPr>
            <a:xfrm>
              <a:off x="6042590" y="2867968"/>
              <a:ext cx="1843361" cy="2774242"/>
            </a:xfrm>
            <a:custGeom>
              <a:avLst/>
              <a:gdLst>
                <a:gd name="connsiteX0" fmla="*/ 1840183 w 3701612"/>
                <a:gd name="connsiteY0" fmla="*/ 3701582 h 3701612"/>
                <a:gd name="connsiteX1" fmla="*/ 245868 w 3701612"/>
                <a:gd name="connsiteY1" fmla="*/ 2772575 h 3701612"/>
                <a:gd name="connsiteX2" fmla="*/ 246845 w 3701612"/>
                <a:gd name="connsiteY2" fmla="*/ 927340 h 3701612"/>
                <a:gd name="connsiteX3" fmla="*/ 1850806 w 3701612"/>
                <a:gd name="connsiteY3" fmla="*/ 1850806 h 3701612"/>
                <a:gd name="connsiteX4" fmla="*/ 1840183 w 3701612"/>
                <a:gd name="connsiteY4" fmla="*/ 3701582 h 3701612"/>
                <a:gd name="connsiteX0" fmla="*/ 1777622 w 1788245"/>
                <a:gd name="connsiteY0" fmla="*/ 2774242 h 2774242"/>
                <a:gd name="connsiteX1" fmla="*/ 183307 w 1788245"/>
                <a:gd name="connsiteY1" fmla="*/ 1845235 h 2774242"/>
                <a:gd name="connsiteX2" fmla="*/ 184284 w 1788245"/>
                <a:gd name="connsiteY2" fmla="*/ 0 h 2774242"/>
                <a:gd name="connsiteX3" fmla="*/ 1053489 w 1788245"/>
                <a:gd name="connsiteY3" fmla="*/ 493210 h 2774242"/>
                <a:gd name="connsiteX4" fmla="*/ 1788245 w 1788245"/>
                <a:gd name="connsiteY4" fmla="*/ 923466 h 2774242"/>
                <a:gd name="connsiteX5" fmla="*/ 1777622 w 1788245"/>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1053489 w 1783483"/>
                <a:gd name="connsiteY3" fmla="*/ 493210 h 2774242"/>
                <a:gd name="connsiteX4" fmla="*/ 1783483 w 1783483"/>
                <a:gd name="connsiteY4" fmla="*/ 1842628 h 2774242"/>
                <a:gd name="connsiteX5" fmla="*/ 1777622 w 1783483"/>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986814 w 1783483"/>
                <a:gd name="connsiteY3" fmla="*/ 474160 h 2774242"/>
                <a:gd name="connsiteX4" fmla="*/ 1783483 w 1783483"/>
                <a:gd name="connsiteY4" fmla="*/ 1842628 h 2774242"/>
                <a:gd name="connsiteX5" fmla="*/ 1777622 w 1783483"/>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86814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814826 w 1821359"/>
                <a:gd name="connsiteY0" fmla="*/ 2774242 h 2774242"/>
                <a:gd name="connsiteX1" fmla="*/ 220511 w 1821359"/>
                <a:gd name="connsiteY1" fmla="*/ 1845235 h 2774242"/>
                <a:gd name="connsiteX2" fmla="*/ 221488 w 1821359"/>
                <a:gd name="connsiteY2" fmla="*/ 0 h 2774242"/>
                <a:gd name="connsiteX3" fmla="*/ 1009769 w 1821359"/>
                <a:gd name="connsiteY3" fmla="*/ 474160 h 2774242"/>
                <a:gd name="connsiteX4" fmla="*/ 1820687 w 1821359"/>
                <a:gd name="connsiteY4" fmla="*/ 1842628 h 2774242"/>
                <a:gd name="connsiteX5" fmla="*/ 1814826 w 1821359"/>
                <a:gd name="connsiteY5" fmla="*/ 2774242 h 2774242"/>
                <a:gd name="connsiteX0" fmla="*/ 1823274 w 1829807"/>
                <a:gd name="connsiteY0" fmla="*/ 2774242 h 2774242"/>
                <a:gd name="connsiteX1" fmla="*/ 228959 w 1829807"/>
                <a:gd name="connsiteY1" fmla="*/ 1845235 h 2774242"/>
                <a:gd name="connsiteX2" fmla="*/ 229936 w 1829807"/>
                <a:gd name="connsiteY2" fmla="*/ 0 h 2774242"/>
                <a:gd name="connsiteX3" fmla="*/ 1018217 w 1829807"/>
                <a:gd name="connsiteY3" fmla="*/ 474160 h 2774242"/>
                <a:gd name="connsiteX4" fmla="*/ 1829135 w 1829807"/>
                <a:gd name="connsiteY4" fmla="*/ 1842628 h 2774242"/>
                <a:gd name="connsiteX5" fmla="*/ 1823274 w 1829807"/>
                <a:gd name="connsiteY5" fmla="*/ 2774242 h 2774242"/>
                <a:gd name="connsiteX0" fmla="*/ 1830175 w 1836708"/>
                <a:gd name="connsiteY0" fmla="*/ 2774242 h 2774242"/>
                <a:gd name="connsiteX1" fmla="*/ 235860 w 1836708"/>
                <a:gd name="connsiteY1" fmla="*/ 1845235 h 2774242"/>
                <a:gd name="connsiteX2" fmla="*/ 236837 w 1836708"/>
                <a:gd name="connsiteY2" fmla="*/ 0 h 2774242"/>
                <a:gd name="connsiteX3" fmla="*/ 1025118 w 1836708"/>
                <a:gd name="connsiteY3" fmla="*/ 474160 h 2774242"/>
                <a:gd name="connsiteX4" fmla="*/ 1836036 w 1836708"/>
                <a:gd name="connsiteY4" fmla="*/ 1842628 h 2774242"/>
                <a:gd name="connsiteX5" fmla="*/ 1830175 w 1836708"/>
                <a:gd name="connsiteY5" fmla="*/ 2774242 h 2774242"/>
                <a:gd name="connsiteX0" fmla="*/ 1824989 w 1831522"/>
                <a:gd name="connsiteY0" fmla="*/ 2774242 h 2774242"/>
                <a:gd name="connsiteX1" fmla="*/ 230674 w 1831522"/>
                <a:gd name="connsiteY1" fmla="*/ 1845235 h 2774242"/>
                <a:gd name="connsiteX2" fmla="*/ 231651 w 1831522"/>
                <a:gd name="connsiteY2" fmla="*/ 0 h 2774242"/>
                <a:gd name="connsiteX3" fmla="*/ 1019932 w 1831522"/>
                <a:gd name="connsiteY3" fmla="*/ 474160 h 2774242"/>
                <a:gd name="connsiteX4" fmla="*/ 1830850 w 1831522"/>
                <a:gd name="connsiteY4" fmla="*/ 1842628 h 2774242"/>
                <a:gd name="connsiteX5" fmla="*/ 1824989 w 1831522"/>
                <a:gd name="connsiteY5" fmla="*/ 2774242 h 2774242"/>
                <a:gd name="connsiteX0" fmla="*/ 1842527 w 1849060"/>
                <a:gd name="connsiteY0" fmla="*/ 2774242 h 2774242"/>
                <a:gd name="connsiteX1" fmla="*/ 248212 w 1849060"/>
                <a:gd name="connsiteY1" fmla="*/ 1845235 h 2774242"/>
                <a:gd name="connsiteX2" fmla="*/ 249189 w 1849060"/>
                <a:gd name="connsiteY2" fmla="*/ 0 h 2774242"/>
                <a:gd name="connsiteX3" fmla="*/ 1037470 w 1849060"/>
                <a:gd name="connsiteY3" fmla="*/ 474160 h 2774242"/>
                <a:gd name="connsiteX4" fmla="*/ 1848388 w 1849060"/>
                <a:gd name="connsiteY4" fmla="*/ 1842628 h 2774242"/>
                <a:gd name="connsiteX5" fmla="*/ 1842527 w 1849060"/>
                <a:gd name="connsiteY5" fmla="*/ 2774242 h 2774242"/>
                <a:gd name="connsiteX0" fmla="*/ 1826710 w 1833243"/>
                <a:gd name="connsiteY0" fmla="*/ 2774242 h 2774242"/>
                <a:gd name="connsiteX1" fmla="*/ 232395 w 1833243"/>
                <a:gd name="connsiteY1" fmla="*/ 1845235 h 2774242"/>
                <a:gd name="connsiteX2" fmla="*/ 233372 w 1833243"/>
                <a:gd name="connsiteY2" fmla="*/ 0 h 2774242"/>
                <a:gd name="connsiteX3" fmla="*/ 1021653 w 1833243"/>
                <a:gd name="connsiteY3" fmla="*/ 474160 h 2774242"/>
                <a:gd name="connsiteX4" fmla="*/ 1832571 w 1833243"/>
                <a:gd name="connsiteY4" fmla="*/ 1842628 h 2774242"/>
                <a:gd name="connsiteX5" fmla="*/ 1826710 w 1833243"/>
                <a:gd name="connsiteY5" fmla="*/ 2774242 h 2774242"/>
                <a:gd name="connsiteX0" fmla="*/ 1831919 w 1838452"/>
                <a:gd name="connsiteY0" fmla="*/ 2774242 h 2774242"/>
                <a:gd name="connsiteX1" fmla="*/ 237604 w 1838452"/>
                <a:gd name="connsiteY1" fmla="*/ 1845235 h 2774242"/>
                <a:gd name="connsiteX2" fmla="*/ 238581 w 1838452"/>
                <a:gd name="connsiteY2" fmla="*/ 0 h 2774242"/>
                <a:gd name="connsiteX3" fmla="*/ 1026862 w 1838452"/>
                <a:gd name="connsiteY3" fmla="*/ 474160 h 2774242"/>
                <a:gd name="connsiteX4" fmla="*/ 1837780 w 1838452"/>
                <a:gd name="connsiteY4" fmla="*/ 1842628 h 2774242"/>
                <a:gd name="connsiteX5" fmla="*/ 1831919 w 1838452"/>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424" h="2774242">
                  <a:moveTo>
                    <a:pt x="1831919" y="2774242"/>
                  </a:moveTo>
                  <a:cubicBezTo>
                    <a:pt x="1172997" y="2770460"/>
                    <a:pt x="565776" y="2416633"/>
                    <a:pt x="237604" y="1845235"/>
                  </a:cubicBezTo>
                  <a:cubicBezTo>
                    <a:pt x="-90568" y="1273837"/>
                    <a:pt x="-67942" y="549187"/>
                    <a:pt x="238581" y="0"/>
                  </a:cubicBezTo>
                  <a:cubicBezTo>
                    <a:pt x="501341" y="158053"/>
                    <a:pt x="654856" y="244669"/>
                    <a:pt x="1026862" y="474160"/>
                  </a:cubicBezTo>
                  <a:cubicBezTo>
                    <a:pt x="1295585" y="930316"/>
                    <a:pt x="1564307" y="1405523"/>
                    <a:pt x="1833030" y="1842628"/>
                  </a:cubicBezTo>
                  <a:cubicBezTo>
                    <a:pt x="1835826" y="2362716"/>
                    <a:pt x="1833873" y="2463704"/>
                    <a:pt x="1831919" y="2774242"/>
                  </a:cubicBezTo>
                  <a:close/>
                </a:path>
              </a:pathLst>
            </a:custGeom>
            <a:solidFill>
              <a:srgbClr val="E5E5E5"/>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black"/>
                </a:solidFill>
                <a:latin typeface="Arial" panose="020B0604020202020204"/>
              </a:endParaRPr>
            </a:p>
          </p:txBody>
        </p:sp>
        <p:grpSp>
          <p:nvGrpSpPr>
            <p:cNvPr id="21" name="Gruppe 20">
              <a:extLst>
                <a:ext uri="{FF2B5EF4-FFF2-40B4-BE49-F238E27FC236}">
                  <a16:creationId xmlns:a16="http://schemas.microsoft.com/office/drawing/2014/main" id="{590AD167-37CF-426D-93D6-9FC170234A70}"/>
                </a:ext>
              </a:extLst>
            </p:cNvPr>
            <p:cNvGrpSpPr/>
            <p:nvPr/>
          </p:nvGrpSpPr>
          <p:grpSpPr>
            <a:xfrm>
              <a:off x="7434300" y="3305264"/>
              <a:ext cx="1265800" cy="1091207"/>
              <a:chOff x="5815259" y="3938676"/>
              <a:chExt cx="1265800" cy="1091207"/>
            </a:xfrm>
          </p:grpSpPr>
          <p:sp>
            <p:nvSpPr>
              <p:cNvPr id="30" name="Likebent trekant 29">
                <a:extLst>
                  <a:ext uri="{FF2B5EF4-FFF2-40B4-BE49-F238E27FC236}">
                    <a16:creationId xmlns:a16="http://schemas.microsoft.com/office/drawing/2014/main" id="{24995384-C052-4120-B6B3-01390834AC9E}"/>
                  </a:ext>
                </a:extLst>
              </p:cNvPr>
              <p:cNvSpPr/>
              <p:nvPr/>
            </p:nvSpPr>
            <p:spPr>
              <a:xfrm flipV="1">
                <a:off x="5815259" y="3938676"/>
                <a:ext cx="1265800" cy="1091207"/>
              </a:xfrm>
              <a:prstGeom prst="triangle">
                <a:avLst/>
              </a:prstGeom>
              <a:solidFill>
                <a:schemeClr val="bg2">
                  <a:lumMod val="50000"/>
                </a:schemeClr>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white"/>
                  </a:solidFill>
                  <a:latin typeface="Arial" panose="020B0604020202020204"/>
                </a:endParaRPr>
              </a:p>
            </p:txBody>
          </p:sp>
          <p:sp>
            <p:nvSpPr>
              <p:cNvPr id="31" name="TekstSylinder 30">
                <a:extLst>
                  <a:ext uri="{FF2B5EF4-FFF2-40B4-BE49-F238E27FC236}">
                    <a16:creationId xmlns:a16="http://schemas.microsoft.com/office/drawing/2014/main" id="{991FB238-B512-4CA0-A7D6-D583D1696098}"/>
                  </a:ext>
                </a:extLst>
              </p:cNvPr>
              <p:cNvSpPr txBox="1"/>
              <p:nvPr/>
            </p:nvSpPr>
            <p:spPr>
              <a:xfrm>
                <a:off x="5919944" y="4028511"/>
                <a:ext cx="1089647" cy="485249"/>
              </a:xfrm>
              <a:prstGeom prst="rect">
                <a:avLst/>
              </a:prstGeom>
              <a:noFill/>
            </p:spPr>
            <p:txBody>
              <a:bodyPr wrap="square" rtlCol="0">
                <a:spAutoFit/>
              </a:bodyPr>
              <a:lstStyle/>
              <a:p>
                <a:pPr algn="ctr" defTabSz="681137"/>
                <a:r>
                  <a:rPr lang="nb-NO" sz="894">
                    <a:solidFill>
                      <a:prstClr val="white">
                        <a:lumMod val="95000"/>
                      </a:prstClr>
                    </a:solidFill>
                    <a:latin typeface="Arial" panose="020B0604020202020204"/>
                  </a:rPr>
                  <a:t>Informasjons-styring</a:t>
                </a:r>
              </a:p>
            </p:txBody>
          </p:sp>
        </p:grpSp>
        <p:sp>
          <p:nvSpPr>
            <p:cNvPr id="22" name="Delvis sirkel 20">
              <a:extLst>
                <a:ext uri="{FF2B5EF4-FFF2-40B4-BE49-F238E27FC236}">
                  <a16:creationId xmlns:a16="http://schemas.microsoft.com/office/drawing/2014/main" id="{0C5D532A-DBFB-4437-84DD-B8F208A52A8C}"/>
                </a:ext>
              </a:extLst>
            </p:cNvPr>
            <p:cNvSpPr/>
            <p:nvPr/>
          </p:nvSpPr>
          <p:spPr>
            <a:xfrm rot="14401808">
              <a:off x="8136105" y="2981018"/>
              <a:ext cx="1839322" cy="2774242"/>
            </a:xfrm>
            <a:custGeom>
              <a:avLst/>
              <a:gdLst>
                <a:gd name="connsiteX0" fmla="*/ 1840183 w 3701612"/>
                <a:gd name="connsiteY0" fmla="*/ 3701582 h 3701612"/>
                <a:gd name="connsiteX1" fmla="*/ 245868 w 3701612"/>
                <a:gd name="connsiteY1" fmla="*/ 2772575 h 3701612"/>
                <a:gd name="connsiteX2" fmla="*/ 246845 w 3701612"/>
                <a:gd name="connsiteY2" fmla="*/ 927340 h 3701612"/>
                <a:gd name="connsiteX3" fmla="*/ 1850806 w 3701612"/>
                <a:gd name="connsiteY3" fmla="*/ 1850806 h 3701612"/>
                <a:gd name="connsiteX4" fmla="*/ 1840183 w 3701612"/>
                <a:gd name="connsiteY4" fmla="*/ 3701582 h 3701612"/>
                <a:gd name="connsiteX0" fmla="*/ 1777622 w 1788245"/>
                <a:gd name="connsiteY0" fmla="*/ 2774242 h 2774242"/>
                <a:gd name="connsiteX1" fmla="*/ 183307 w 1788245"/>
                <a:gd name="connsiteY1" fmla="*/ 1845235 h 2774242"/>
                <a:gd name="connsiteX2" fmla="*/ 184284 w 1788245"/>
                <a:gd name="connsiteY2" fmla="*/ 0 h 2774242"/>
                <a:gd name="connsiteX3" fmla="*/ 1053489 w 1788245"/>
                <a:gd name="connsiteY3" fmla="*/ 493210 h 2774242"/>
                <a:gd name="connsiteX4" fmla="*/ 1788245 w 1788245"/>
                <a:gd name="connsiteY4" fmla="*/ 923466 h 2774242"/>
                <a:gd name="connsiteX5" fmla="*/ 1777622 w 1788245"/>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1053489 w 1783483"/>
                <a:gd name="connsiteY3" fmla="*/ 493210 h 2774242"/>
                <a:gd name="connsiteX4" fmla="*/ 1783483 w 1783483"/>
                <a:gd name="connsiteY4" fmla="*/ 1842628 h 2774242"/>
                <a:gd name="connsiteX5" fmla="*/ 1777622 w 1783483"/>
                <a:gd name="connsiteY5" fmla="*/ 2774242 h 2774242"/>
                <a:gd name="connsiteX0" fmla="*/ 1777622 w 1783483"/>
                <a:gd name="connsiteY0" fmla="*/ 2774242 h 2774242"/>
                <a:gd name="connsiteX1" fmla="*/ 183307 w 1783483"/>
                <a:gd name="connsiteY1" fmla="*/ 1845235 h 2774242"/>
                <a:gd name="connsiteX2" fmla="*/ 184284 w 1783483"/>
                <a:gd name="connsiteY2" fmla="*/ 0 h 2774242"/>
                <a:gd name="connsiteX3" fmla="*/ 986814 w 1783483"/>
                <a:gd name="connsiteY3" fmla="*/ 474160 h 2774242"/>
                <a:gd name="connsiteX4" fmla="*/ 1783483 w 1783483"/>
                <a:gd name="connsiteY4" fmla="*/ 1842628 h 2774242"/>
                <a:gd name="connsiteX5" fmla="*/ 1777622 w 1783483"/>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86814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777622 w 1784155"/>
                <a:gd name="connsiteY0" fmla="*/ 2774242 h 2774242"/>
                <a:gd name="connsiteX1" fmla="*/ 183307 w 1784155"/>
                <a:gd name="connsiteY1" fmla="*/ 1845235 h 2774242"/>
                <a:gd name="connsiteX2" fmla="*/ 184284 w 1784155"/>
                <a:gd name="connsiteY2" fmla="*/ 0 h 2774242"/>
                <a:gd name="connsiteX3" fmla="*/ 972565 w 1784155"/>
                <a:gd name="connsiteY3" fmla="*/ 474160 h 2774242"/>
                <a:gd name="connsiteX4" fmla="*/ 1783483 w 1784155"/>
                <a:gd name="connsiteY4" fmla="*/ 1842628 h 2774242"/>
                <a:gd name="connsiteX5" fmla="*/ 1777622 w 1784155"/>
                <a:gd name="connsiteY5" fmla="*/ 2774242 h 2774242"/>
                <a:gd name="connsiteX0" fmla="*/ 1814826 w 1821359"/>
                <a:gd name="connsiteY0" fmla="*/ 2774242 h 2774242"/>
                <a:gd name="connsiteX1" fmla="*/ 220511 w 1821359"/>
                <a:gd name="connsiteY1" fmla="*/ 1845235 h 2774242"/>
                <a:gd name="connsiteX2" fmla="*/ 221488 w 1821359"/>
                <a:gd name="connsiteY2" fmla="*/ 0 h 2774242"/>
                <a:gd name="connsiteX3" fmla="*/ 1009769 w 1821359"/>
                <a:gd name="connsiteY3" fmla="*/ 474160 h 2774242"/>
                <a:gd name="connsiteX4" fmla="*/ 1820687 w 1821359"/>
                <a:gd name="connsiteY4" fmla="*/ 1842628 h 2774242"/>
                <a:gd name="connsiteX5" fmla="*/ 1814826 w 1821359"/>
                <a:gd name="connsiteY5" fmla="*/ 2774242 h 2774242"/>
                <a:gd name="connsiteX0" fmla="*/ 1823274 w 1829807"/>
                <a:gd name="connsiteY0" fmla="*/ 2774242 h 2774242"/>
                <a:gd name="connsiteX1" fmla="*/ 228959 w 1829807"/>
                <a:gd name="connsiteY1" fmla="*/ 1845235 h 2774242"/>
                <a:gd name="connsiteX2" fmla="*/ 229936 w 1829807"/>
                <a:gd name="connsiteY2" fmla="*/ 0 h 2774242"/>
                <a:gd name="connsiteX3" fmla="*/ 1018217 w 1829807"/>
                <a:gd name="connsiteY3" fmla="*/ 474160 h 2774242"/>
                <a:gd name="connsiteX4" fmla="*/ 1829135 w 1829807"/>
                <a:gd name="connsiteY4" fmla="*/ 1842628 h 2774242"/>
                <a:gd name="connsiteX5" fmla="*/ 1823274 w 1829807"/>
                <a:gd name="connsiteY5" fmla="*/ 2774242 h 2774242"/>
                <a:gd name="connsiteX0" fmla="*/ 1830175 w 1836708"/>
                <a:gd name="connsiteY0" fmla="*/ 2774242 h 2774242"/>
                <a:gd name="connsiteX1" fmla="*/ 235860 w 1836708"/>
                <a:gd name="connsiteY1" fmla="*/ 1845235 h 2774242"/>
                <a:gd name="connsiteX2" fmla="*/ 236837 w 1836708"/>
                <a:gd name="connsiteY2" fmla="*/ 0 h 2774242"/>
                <a:gd name="connsiteX3" fmla="*/ 1025118 w 1836708"/>
                <a:gd name="connsiteY3" fmla="*/ 474160 h 2774242"/>
                <a:gd name="connsiteX4" fmla="*/ 1836036 w 1836708"/>
                <a:gd name="connsiteY4" fmla="*/ 1842628 h 2774242"/>
                <a:gd name="connsiteX5" fmla="*/ 1830175 w 1836708"/>
                <a:gd name="connsiteY5" fmla="*/ 2774242 h 2774242"/>
                <a:gd name="connsiteX0" fmla="*/ 1824989 w 1831522"/>
                <a:gd name="connsiteY0" fmla="*/ 2774242 h 2774242"/>
                <a:gd name="connsiteX1" fmla="*/ 230674 w 1831522"/>
                <a:gd name="connsiteY1" fmla="*/ 1845235 h 2774242"/>
                <a:gd name="connsiteX2" fmla="*/ 231651 w 1831522"/>
                <a:gd name="connsiteY2" fmla="*/ 0 h 2774242"/>
                <a:gd name="connsiteX3" fmla="*/ 1019932 w 1831522"/>
                <a:gd name="connsiteY3" fmla="*/ 474160 h 2774242"/>
                <a:gd name="connsiteX4" fmla="*/ 1830850 w 1831522"/>
                <a:gd name="connsiteY4" fmla="*/ 1842628 h 2774242"/>
                <a:gd name="connsiteX5" fmla="*/ 1824989 w 1831522"/>
                <a:gd name="connsiteY5" fmla="*/ 2774242 h 2774242"/>
                <a:gd name="connsiteX0" fmla="*/ 1842527 w 1849060"/>
                <a:gd name="connsiteY0" fmla="*/ 2774242 h 2774242"/>
                <a:gd name="connsiteX1" fmla="*/ 248212 w 1849060"/>
                <a:gd name="connsiteY1" fmla="*/ 1845235 h 2774242"/>
                <a:gd name="connsiteX2" fmla="*/ 249189 w 1849060"/>
                <a:gd name="connsiteY2" fmla="*/ 0 h 2774242"/>
                <a:gd name="connsiteX3" fmla="*/ 1037470 w 1849060"/>
                <a:gd name="connsiteY3" fmla="*/ 474160 h 2774242"/>
                <a:gd name="connsiteX4" fmla="*/ 1848388 w 1849060"/>
                <a:gd name="connsiteY4" fmla="*/ 1842628 h 2774242"/>
                <a:gd name="connsiteX5" fmla="*/ 1842527 w 1849060"/>
                <a:gd name="connsiteY5" fmla="*/ 2774242 h 2774242"/>
                <a:gd name="connsiteX0" fmla="*/ 1826710 w 1833243"/>
                <a:gd name="connsiteY0" fmla="*/ 2774242 h 2774242"/>
                <a:gd name="connsiteX1" fmla="*/ 232395 w 1833243"/>
                <a:gd name="connsiteY1" fmla="*/ 1845235 h 2774242"/>
                <a:gd name="connsiteX2" fmla="*/ 233372 w 1833243"/>
                <a:gd name="connsiteY2" fmla="*/ 0 h 2774242"/>
                <a:gd name="connsiteX3" fmla="*/ 1021653 w 1833243"/>
                <a:gd name="connsiteY3" fmla="*/ 474160 h 2774242"/>
                <a:gd name="connsiteX4" fmla="*/ 1832571 w 1833243"/>
                <a:gd name="connsiteY4" fmla="*/ 1842628 h 2774242"/>
                <a:gd name="connsiteX5" fmla="*/ 1826710 w 1833243"/>
                <a:gd name="connsiteY5" fmla="*/ 2774242 h 2774242"/>
                <a:gd name="connsiteX0" fmla="*/ 1831919 w 1838452"/>
                <a:gd name="connsiteY0" fmla="*/ 2774242 h 2774242"/>
                <a:gd name="connsiteX1" fmla="*/ 237604 w 1838452"/>
                <a:gd name="connsiteY1" fmla="*/ 1845235 h 2774242"/>
                <a:gd name="connsiteX2" fmla="*/ 238581 w 1838452"/>
                <a:gd name="connsiteY2" fmla="*/ 0 h 2774242"/>
                <a:gd name="connsiteX3" fmla="*/ 1026862 w 1838452"/>
                <a:gd name="connsiteY3" fmla="*/ 474160 h 2774242"/>
                <a:gd name="connsiteX4" fmla="*/ 1837780 w 1838452"/>
                <a:gd name="connsiteY4" fmla="*/ 1842628 h 2774242"/>
                <a:gd name="connsiteX5" fmla="*/ 1831919 w 1838452"/>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 name="connsiteX0" fmla="*/ 1831919 w 1834424"/>
                <a:gd name="connsiteY0" fmla="*/ 2774242 h 2774242"/>
                <a:gd name="connsiteX1" fmla="*/ 237604 w 1834424"/>
                <a:gd name="connsiteY1" fmla="*/ 1845235 h 2774242"/>
                <a:gd name="connsiteX2" fmla="*/ 238581 w 1834424"/>
                <a:gd name="connsiteY2" fmla="*/ 0 h 2774242"/>
                <a:gd name="connsiteX3" fmla="*/ 1026862 w 1834424"/>
                <a:gd name="connsiteY3" fmla="*/ 474160 h 2774242"/>
                <a:gd name="connsiteX4" fmla="*/ 1833030 w 1834424"/>
                <a:gd name="connsiteY4" fmla="*/ 1842628 h 2774242"/>
                <a:gd name="connsiteX5" fmla="*/ 1831919 w 1834424"/>
                <a:gd name="connsiteY5" fmla="*/ 2774242 h 277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4424" h="2774242">
                  <a:moveTo>
                    <a:pt x="1831919" y="2774242"/>
                  </a:moveTo>
                  <a:cubicBezTo>
                    <a:pt x="1172997" y="2770460"/>
                    <a:pt x="565776" y="2416633"/>
                    <a:pt x="237604" y="1845235"/>
                  </a:cubicBezTo>
                  <a:cubicBezTo>
                    <a:pt x="-90568" y="1273837"/>
                    <a:pt x="-67942" y="549187"/>
                    <a:pt x="238581" y="0"/>
                  </a:cubicBezTo>
                  <a:cubicBezTo>
                    <a:pt x="501341" y="158053"/>
                    <a:pt x="654856" y="244669"/>
                    <a:pt x="1026862" y="474160"/>
                  </a:cubicBezTo>
                  <a:cubicBezTo>
                    <a:pt x="1295585" y="930316"/>
                    <a:pt x="1564307" y="1405523"/>
                    <a:pt x="1833030" y="1842628"/>
                  </a:cubicBezTo>
                  <a:cubicBezTo>
                    <a:pt x="1835826" y="2362716"/>
                    <a:pt x="1833873" y="2463704"/>
                    <a:pt x="1831919" y="2774242"/>
                  </a:cubicBezTo>
                  <a:close/>
                </a:path>
              </a:pathLst>
            </a:custGeom>
            <a:solidFill>
              <a:srgbClr val="E5E5E5"/>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1137"/>
              <a:endParaRPr lang="nb-NO" sz="1341">
                <a:solidFill>
                  <a:prstClr val="black"/>
                </a:solidFill>
                <a:latin typeface="Arial" panose="020B0604020202020204"/>
              </a:endParaRPr>
            </a:p>
          </p:txBody>
        </p:sp>
        <p:sp>
          <p:nvSpPr>
            <p:cNvPr id="23" name="TekstSylinder 22">
              <a:extLst>
                <a:ext uri="{FF2B5EF4-FFF2-40B4-BE49-F238E27FC236}">
                  <a16:creationId xmlns:a16="http://schemas.microsoft.com/office/drawing/2014/main" id="{95E3E1FB-69D8-43F1-83EF-B87B680079B7}"/>
                </a:ext>
              </a:extLst>
            </p:cNvPr>
            <p:cNvSpPr txBox="1"/>
            <p:nvPr/>
          </p:nvSpPr>
          <p:spPr>
            <a:xfrm>
              <a:off x="8745857" y="4228437"/>
              <a:ext cx="1056428" cy="308676"/>
            </a:xfrm>
            <a:prstGeom prst="rect">
              <a:avLst/>
            </a:prstGeom>
            <a:noFill/>
          </p:spPr>
          <p:txBody>
            <a:bodyPr wrap="square" rtlCol="0">
              <a:spAutoFit/>
            </a:bodyPr>
            <a:lstStyle/>
            <a:p>
              <a:pPr algn="ctr" defTabSz="681137"/>
              <a:r>
                <a:rPr lang="nb-NO" sz="894">
                  <a:solidFill>
                    <a:srgbClr val="733D4A"/>
                  </a:solidFill>
                  <a:latin typeface="Arial" panose="020B0604020202020204"/>
                </a:rPr>
                <a:t>Datakvalitet</a:t>
              </a:r>
            </a:p>
          </p:txBody>
        </p:sp>
        <p:sp>
          <p:nvSpPr>
            <p:cNvPr id="25" name="TekstSylinder 24">
              <a:extLst>
                <a:ext uri="{FF2B5EF4-FFF2-40B4-BE49-F238E27FC236}">
                  <a16:creationId xmlns:a16="http://schemas.microsoft.com/office/drawing/2014/main" id="{765EACDD-4F4A-40F5-8CF2-416154C9FFF9}"/>
                </a:ext>
              </a:extLst>
            </p:cNvPr>
            <p:cNvSpPr txBox="1"/>
            <p:nvPr/>
          </p:nvSpPr>
          <p:spPr>
            <a:xfrm>
              <a:off x="7384683" y="2422143"/>
              <a:ext cx="1361174" cy="308676"/>
            </a:xfrm>
            <a:prstGeom prst="rect">
              <a:avLst/>
            </a:prstGeom>
            <a:noFill/>
          </p:spPr>
          <p:txBody>
            <a:bodyPr wrap="square" rtlCol="0">
              <a:spAutoFit/>
            </a:bodyPr>
            <a:lstStyle/>
            <a:p>
              <a:pPr algn="ctr" defTabSz="681137"/>
              <a:r>
                <a:rPr lang="nb-NO" sz="894">
                  <a:solidFill>
                    <a:srgbClr val="733D4A"/>
                  </a:solidFill>
                  <a:latin typeface="Arial" panose="020B0604020202020204"/>
                </a:rPr>
                <a:t>Standardisering</a:t>
              </a:r>
            </a:p>
          </p:txBody>
        </p:sp>
        <p:sp>
          <p:nvSpPr>
            <p:cNvPr id="26" name="TekstSylinder 25">
              <a:extLst>
                <a:ext uri="{FF2B5EF4-FFF2-40B4-BE49-F238E27FC236}">
                  <a16:creationId xmlns:a16="http://schemas.microsoft.com/office/drawing/2014/main" id="{B3945C8A-6541-40A4-80CE-FDD78A7E4E52}"/>
                </a:ext>
              </a:extLst>
            </p:cNvPr>
            <p:cNvSpPr txBox="1"/>
            <p:nvPr/>
          </p:nvSpPr>
          <p:spPr>
            <a:xfrm>
              <a:off x="6296507" y="4146544"/>
              <a:ext cx="1361174" cy="493400"/>
            </a:xfrm>
            <a:prstGeom prst="rect">
              <a:avLst/>
            </a:prstGeom>
            <a:noFill/>
          </p:spPr>
          <p:txBody>
            <a:bodyPr wrap="square" rtlCol="0">
              <a:spAutoFit/>
            </a:bodyPr>
            <a:lstStyle/>
            <a:p>
              <a:pPr algn="ctr" defTabSz="681137"/>
              <a:r>
                <a:rPr lang="nb-NO" sz="894">
                  <a:solidFill>
                    <a:srgbClr val="733D4A"/>
                  </a:solidFill>
                  <a:latin typeface="Arial" panose="020B0604020202020204"/>
                </a:rPr>
                <a:t>Informasjons-arkitektur</a:t>
              </a:r>
            </a:p>
          </p:txBody>
        </p:sp>
        <p:pic>
          <p:nvPicPr>
            <p:cNvPr id="27" name="Bilde 26">
              <a:extLst>
                <a:ext uri="{FF2B5EF4-FFF2-40B4-BE49-F238E27FC236}">
                  <a16:creationId xmlns:a16="http://schemas.microsoft.com/office/drawing/2014/main" id="{744B504D-344A-4312-B9BB-0DCED8CEDF3E}"/>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606397" y="3760271"/>
              <a:ext cx="343139" cy="332918"/>
            </a:xfrm>
            <a:prstGeom prst="rect">
              <a:avLst/>
            </a:prstGeom>
          </p:spPr>
        </p:pic>
        <p:pic>
          <p:nvPicPr>
            <p:cNvPr id="28" name="Bilde 27">
              <a:extLst>
                <a:ext uri="{FF2B5EF4-FFF2-40B4-BE49-F238E27FC236}">
                  <a16:creationId xmlns:a16="http://schemas.microsoft.com/office/drawing/2014/main" id="{E8FC8712-3B4D-4C99-9014-957EE817E32B}"/>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097116" y="3801592"/>
              <a:ext cx="456263" cy="442671"/>
            </a:xfrm>
            <a:prstGeom prst="rect">
              <a:avLst/>
            </a:prstGeom>
          </p:spPr>
        </p:pic>
        <p:pic>
          <p:nvPicPr>
            <p:cNvPr id="29" name="Graphic 10" descr="Håndtrykk med heldekkende fyll">
              <a:extLst>
                <a:ext uri="{FF2B5EF4-FFF2-40B4-BE49-F238E27FC236}">
                  <a16:creationId xmlns:a16="http://schemas.microsoft.com/office/drawing/2014/main" id="{F419DC34-56AB-4D0A-87C2-A3150F3A108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7801919" y="1945419"/>
              <a:ext cx="526702" cy="526702"/>
            </a:xfrm>
            <a:custGeom>
              <a:avLst/>
              <a:gdLst>
                <a:gd name="connsiteX0" fmla="*/ 0 w 1066800"/>
                <a:gd name="connsiteY0" fmla="*/ 0 h 1082162"/>
                <a:gd name="connsiteX1" fmla="*/ 1066800 w 1066800"/>
                <a:gd name="connsiteY1" fmla="*/ 0 h 1082162"/>
                <a:gd name="connsiteX2" fmla="*/ 1066800 w 1066800"/>
                <a:gd name="connsiteY2" fmla="*/ 1082162 h 1082162"/>
                <a:gd name="connsiteX3" fmla="*/ 0 w 1066800"/>
                <a:gd name="connsiteY3" fmla="*/ 1082162 h 1082162"/>
              </a:gdLst>
              <a:ahLst/>
              <a:cxnLst>
                <a:cxn ang="0">
                  <a:pos x="connsiteX0" y="connsiteY0"/>
                </a:cxn>
                <a:cxn ang="0">
                  <a:pos x="connsiteX1" y="connsiteY1"/>
                </a:cxn>
                <a:cxn ang="0">
                  <a:pos x="connsiteX2" y="connsiteY2"/>
                </a:cxn>
                <a:cxn ang="0">
                  <a:pos x="connsiteX3" y="connsiteY3"/>
                </a:cxn>
              </a:cxnLst>
              <a:rect l="l" t="t" r="r" b="b"/>
              <a:pathLst>
                <a:path w="1066800" h="1082162">
                  <a:moveTo>
                    <a:pt x="0" y="0"/>
                  </a:moveTo>
                  <a:lnTo>
                    <a:pt x="1066800" y="0"/>
                  </a:lnTo>
                  <a:lnTo>
                    <a:pt x="1066800" y="1082162"/>
                  </a:lnTo>
                  <a:lnTo>
                    <a:pt x="0" y="1082162"/>
                  </a:lnTo>
                  <a:close/>
                </a:path>
              </a:pathLst>
            </a:custGeom>
          </p:spPr>
        </p:pic>
      </p:grpSp>
      <p:sp>
        <p:nvSpPr>
          <p:cNvPr id="2" name="Rektangel 1"/>
          <p:cNvSpPr/>
          <p:nvPr/>
        </p:nvSpPr>
        <p:spPr>
          <a:xfrm>
            <a:off x="5677233" y="4520253"/>
            <a:ext cx="3187368" cy="259886"/>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a:solidFill>
                  <a:schemeClr val="accent1"/>
                </a:solidFill>
              </a:rPr>
              <a:t>Regulatoriske krav</a:t>
            </a:r>
            <a:endParaRPr lang="nb-NO" sz="1100">
              <a:solidFill>
                <a:schemeClr val="accent1"/>
              </a:solidFill>
            </a:endParaRPr>
          </a:p>
        </p:txBody>
      </p:sp>
    </p:spTree>
    <p:extLst>
      <p:ext uri="{BB962C8B-B14F-4D97-AF65-F5344CB8AC3E}">
        <p14:creationId xmlns:p14="http://schemas.microsoft.com/office/powerpoint/2010/main" val="4376609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F35F386C-1705-6F4D-B482-0347AF60097F}"/>
              </a:ext>
            </a:extLst>
          </p:cNvPr>
          <p:cNvSpPr txBox="1">
            <a:spLocks/>
          </p:cNvSpPr>
          <p:nvPr/>
        </p:nvSpPr>
        <p:spPr>
          <a:xfrm>
            <a:off x="1671457" y="239134"/>
            <a:ext cx="8312077" cy="971740"/>
          </a:xfrm>
          <a:prstGeom prst="rect">
            <a:avLst/>
          </a:prstGeom>
        </p:spPr>
        <p:txBody>
          <a:bodyPr vert="horz" lIns="0" tIns="0" rIns="0" bIns="0" rtlCol="0" anchor="t">
            <a:normAutofit/>
          </a:bodyPr>
          <a:lstStyle>
            <a:lvl1pPr algn="l" defTabSz="914446" rtl="0" eaLnBrk="1" latinLnBrk="0" hangingPunct="1">
              <a:lnSpc>
                <a:spcPct val="90000"/>
              </a:lnSpc>
              <a:spcBef>
                <a:spcPct val="0"/>
              </a:spcBef>
              <a:buNone/>
              <a:defRPr sz="4901" b="1" kern="1200">
                <a:solidFill>
                  <a:schemeClr val="tx1"/>
                </a:solidFill>
                <a:latin typeface="+mj-lt"/>
                <a:ea typeface="+mj-ea"/>
                <a:cs typeface="+mj-cs"/>
              </a:defRPr>
            </a:lvl1pPr>
          </a:lstStyle>
          <a:p>
            <a:pPr defTabSz="681171">
              <a:defRPr/>
            </a:pPr>
            <a:endParaRPr lang="nb-NO" sz="2980">
              <a:solidFill>
                <a:prstClr val="black"/>
              </a:solidFill>
              <a:latin typeface="Arial"/>
            </a:endParaRPr>
          </a:p>
        </p:txBody>
      </p:sp>
      <p:pic>
        <p:nvPicPr>
          <p:cNvPr id="9" name="Picture 8">
            <a:extLst>
              <a:ext uri="{FF2B5EF4-FFF2-40B4-BE49-F238E27FC236}">
                <a16:creationId xmlns:a16="http://schemas.microsoft.com/office/drawing/2014/main" id="{310BA96A-E482-E543-B742-41D0E01477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636" y="705140"/>
            <a:ext cx="8512315" cy="4788177"/>
          </a:xfrm>
          <a:prstGeom prst="rect">
            <a:avLst/>
          </a:prstGeom>
        </p:spPr>
      </p:pic>
      <p:sp>
        <p:nvSpPr>
          <p:cNvPr id="2" name="TekstSylinder 1">
            <a:extLst>
              <a:ext uri="{FF2B5EF4-FFF2-40B4-BE49-F238E27FC236}">
                <a16:creationId xmlns:a16="http://schemas.microsoft.com/office/drawing/2014/main" id="{06ED239E-BA25-17E2-0E90-817CA3498CA4}"/>
              </a:ext>
            </a:extLst>
          </p:cNvPr>
          <p:cNvSpPr txBox="1"/>
          <p:nvPr/>
        </p:nvSpPr>
        <p:spPr>
          <a:xfrm>
            <a:off x="2150669" y="107969"/>
            <a:ext cx="4363695" cy="523220"/>
          </a:xfrm>
          <a:prstGeom prst="rect">
            <a:avLst/>
          </a:prstGeom>
          <a:noFill/>
        </p:spPr>
        <p:txBody>
          <a:bodyPr wrap="none" rtlCol="0">
            <a:spAutoFit/>
          </a:bodyPr>
          <a:lstStyle/>
          <a:p>
            <a:r>
              <a:rPr lang="nb-NO" sz="2800" dirty="0"/>
              <a:t>Ny strategi – 5 ambisjoner</a:t>
            </a:r>
          </a:p>
        </p:txBody>
      </p:sp>
    </p:spTree>
    <p:extLst>
      <p:ext uri="{BB962C8B-B14F-4D97-AF65-F5344CB8AC3E}">
        <p14:creationId xmlns:p14="http://schemas.microsoft.com/office/powerpoint/2010/main" val="27316531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ktangel 24"/>
          <p:cNvSpPr/>
          <p:nvPr/>
        </p:nvSpPr>
        <p:spPr>
          <a:xfrm>
            <a:off x="1400569" y="2225488"/>
            <a:ext cx="5867566" cy="2480983"/>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Ellipse 3"/>
          <p:cNvSpPr/>
          <p:nvPr/>
        </p:nvSpPr>
        <p:spPr>
          <a:xfrm>
            <a:off x="2134077" y="2401985"/>
            <a:ext cx="1633819"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amle/</a:t>
            </a:r>
          </a:p>
          <a:p>
            <a:pPr algn="ctr"/>
            <a:r>
              <a:rPr lang="nb-NO" dirty="0"/>
              <a:t>etablere</a:t>
            </a:r>
          </a:p>
        </p:txBody>
      </p:sp>
      <p:sp>
        <p:nvSpPr>
          <p:cNvPr id="5" name="Ellipse 4"/>
          <p:cNvSpPr/>
          <p:nvPr/>
        </p:nvSpPr>
        <p:spPr>
          <a:xfrm>
            <a:off x="3273167" y="3732402"/>
            <a:ext cx="1902760" cy="8269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Lagre og vedlikeholde</a:t>
            </a:r>
            <a:endParaRPr lang="nb-NO" dirty="0"/>
          </a:p>
        </p:txBody>
      </p:sp>
      <p:sp>
        <p:nvSpPr>
          <p:cNvPr id="6" name="Ellipse 5"/>
          <p:cNvSpPr/>
          <p:nvPr/>
        </p:nvSpPr>
        <p:spPr>
          <a:xfrm>
            <a:off x="4694734" y="2404505"/>
            <a:ext cx="1902760" cy="82699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Bruke </a:t>
            </a:r>
          </a:p>
          <a:p>
            <a:pPr algn="ctr"/>
            <a:endParaRPr lang="nb-NO" dirty="0"/>
          </a:p>
        </p:txBody>
      </p:sp>
      <p:cxnSp>
        <p:nvCxnSpPr>
          <p:cNvPr id="9" name="Rett pilkobling 8"/>
          <p:cNvCxnSpPr/>
          <p:nvPr/>
        </p:nvCxnSpPr>
        <p:spPr>
          <a:xfrm>
            <a:off x="3402572" y="3263439"/>
            <a:ext cx="401660" cy="4815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Rett pilkobling 10"/>
          <p:cNvCxnSpPr/>
          <p:nvPr/>
        </p:nvCxnSpPr>
        <p:spPr>
          <a:xfrm flipV="1">
            <a:off x="4694734" y="3262595"/>
            <a:ext cx="408427" cy="4504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2" name="Kube 11"/>
          <p:cNvSpPr/>
          <p:nvPr/>
        </p:nvSpPr>
        <p:spPr>
          <a:xfrm>
            <a:off x="1400569" y="1081898"/>
            <a:ext cx="1764283" cy="724328"/>
          </a:xfrm>
          <a:prstGeom prst="cube">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Fag-system</a:t>
            </a:r>
          </a:p>
        </p:txBody>
      </p:sp>
      <p:sp>
        <p:nvSpPr>
          <p:cNvPr id="15" name="Kube 14"/>
          <p:cNvSpPr/>
          <p:nvPr/>
        </p:nvSpPr>
        <p:spPr>
          <a:xfrm>
            <a:off x="2964666" y="1080953"/>
            <a:ext cx="1350310" cy="724328"/>
          </a:xfrm>
          <a:prstGeom prst="cube">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Saks-behandling</a:t>
            </a:r>
          </a:p>
        </p:txBody>
      </p:sp>
      <p:sp>
        <p:nvSpPr>
          <p:cNvPr id="13" name="Kube 12"/>
          <p:cNvSpPr/>
          <p:nvPr/>
        </p:nvSpPr>
        <p:spPr>
          <a:xfrm>
            <a:off x="4440177" y="1080953"/>
            <a:ext cx="1329708" cy="724328"/>
          </a:xfrm>
          <a:prstGeom prst="cube">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Analyse</a:t>
            </a:r>
          </a:p>
        </p:txBody>
      </p:sp>
      <p:sp>
        <p:nvSpPr>
          <p:cNvPr id="14" name="Kube 13"/>
          <p:cNvSpPr/>
          <p:nvPr/>
        </p:nvSpPr>
        <p:spPr>
          <a:xfrm>
            <a:off x="5958758" y="1080953"/>
            <a:ext cx="1426799" cy="708875"/>
          </a:xfrm>
          <a:prstGeom prst="cube">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Ekstern</a:t>
            </a:r>
          </a:p>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a:ea typeface="+mn-ea"/>
                <a:cs typeface="+mn-cs"/>
              </a:rPr>
              <a:t>deling</a:t>
            </a:r>
          </a:p>
        </p:txBody>
      </p:sp>
      <p:sp>
        <p:nvSpPr>
          <p:cNvPr id="26" name="Pil høyre 25"/>
          <p:cNvSpPr/>
          <p:nvPr/>
        </p:nvSpPr>
        <p:spPr>
          <a:xfrm rot="5400000">
            <a:off x="1657350" y="1892674"/>
            <a:ext cx="295835" cy="275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Pil høyre 26"/>
          <p:cNvSpPr/>
          <p:nvPr/>
        </p:nvSpPr>
        <p:spPr>
          <a:xfrm rot="16200000">
            <a:off x="2192991" y="1880069"/>
            <a:ext cx="295835" cy="275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Pil høyre 27"/>
          <p:cNvSpPr/>
          <p:nvPr/>
        </p:nvSpPr>
        <p:spPr>
          <a:xfrm rot="5400000">
            <a:off x="3619978" y="1876401"/>
            <a:ext cx="295835" cy="275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il høyre 29"/>
          <p:cNvSpPr/>
          <p:nvPr/>
        </p:nvSpPr>
        <p:spPr>
          <a:xfrm rot="5400000">
            <a:off x="5087480" y="1937520"/>
            <a:ext cx="267241" cy="1540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Pil høyre 30"/>
          <p:cNvSpPr/>
          <p:nvPr/>
        </p:nvSpPr>
        <p:spPr>
          <a:xfrm rot="16200000">
            <a:off x="4591836" y="1864080"/>
            <a:ext cx="295835" cy="275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Pil høyre 31"/>
          <p:cNvSpPr/>
          <p:nvPr/>
        </p:nvSpPr>
        <p:spPr>
          <a:xfrm rot="16200000">
            <a:off x="3148455" y="1889675"/>
            <a:ext cx="281213" cy="22825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Pil høyre 32"/>
          <p:cNvSpPr/>
          <p:nvPr/>
        </p:nvSpPr>
        <p:spPr>
          <a:xfrm rot="16200000">
            <a:off x="6383901" y="1846977"/>
            <a:ext cx="295835" cy="27566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23" name="Bilde 22"/>
          <p:cNvPicPr>
            <a:picLocks noChangeAspect="1"/>
          </p:cNvPicPr>
          <p:nvPr/>
        </p:nvPicPr>
        <p:blipFill>
          <a:blip r:embed="rId2"/>
          <a:stretch>
            <a:fillRect/>
          </a:stretch>
        </p:blipFill>
        <p:spPr>
          <a:xfrm>
            <a:off x="-85924" y="70585"/>
            <a:ext cx="8511217" cy="5129960"/>
          </a:xfrm>
          <a:prstGeom prst="rect">
            <a:avLst/>
          </a:prstGeom>
        </p:spPr>
      </p:pic>
      <p:sp>
        <p:nvSpPr>
          <p:cNvPr id="3" name="TekstSylinder 2"/>
          <p:cNvSpPr txBox="1"/>
          <p:nvPr/>
        </p:nvSpPr>
        <p:spPr>
          <a:xfrm>
            <a:off x="3289061" y="2220067"/>
            <a:ext cx="2117888" cy="830997"/>
          </a:xfrm>
          <a:prstGeom prst="rect">
            <a:avLst/>
          </a:prstGeom>
          <a:noFill/>
        </p:spPr>
        <p:txBody>
          <a:bodyPr wrap="none" rtlCol="0">
            <a:spAutoFit/>
          </a:bodyPr>
          <a:lstStyle/>
          <a:p>
            <a:pPr algn="ctr"/>
            <a:r>
              <a:rPr lang="nb-NO" sz="2400" b="1" dirty="0">
                <a:solidFill>
                  <a:schemeClr val="bg1"/>
                </a:solidFill>
              </a:rPr>
              <a:t>Styring</a:t>
            </a:r>
          </a:p>
          <a:p>
            <a:pPr algn="ctr"/>
            <a:r>
              <a:rPr lang="nb-NO" sz="2400" b="1" dirty="0">
                <a:solidFill>
                  <a:schemeClr val="bg1"/>
                </a:solidFill>
              </a:rPr>
              <a:t>(</a:t>
            </a:r>
            <a:r>
              <a:rPr lang="nb-NO" sz="2400" b="1" dirty="0" err="1">
                <a:solidFill>
                  <a:schemeClr val="bg1"/>
                </a:solidFill>
              </a:rPr>
              <a:t>governance</a:t>
            </a:r>
            <a:r>
              <a:rPr lang="nb-NO" sz="2400" b="1" dirty="0">
                <a:solidFill>
                  <a:schemeClr val="bg1"/>
                </a:solidFill>
              </a:rPr>
              <a:t>)</a:t>
            </a:r>
          </a:p>
        </p:txBody>
      </p:sp>
    </p:spTree>
    <p:extLst>
      <p:ext uri="{BB962C8B-B14F-4D97-AF65-F5344CB8AC3E}">
        <p14:creationId xmlns:p14="http://schemas.microsoft.com/office/powerpoint/2010/main" val="1808112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stretch>
            <a:fillRect/>
          </a:stretch>
        </p:blipFill>
        <p:spPr>
          <a:xfrm>
            <a:off x="2210594" y="497438"/>
            <a:ext cx="4466431" cy="4338085"/>
          </a:xfrm>
          <a:prstGeom prst="rect">
            <a:avLst/>
          </a:prstGeom>
        </p:spPr>
      </p:pic>
    </p:spTree>
    <p:extLst>
      <p:ext uri="{BB962C8B-B14F-4D97-AF65-F5344CB8AC3E}">
        <p14:creationId xmlns:p14="http://schemas.microsoft.com/office/powerpoint/2010/main" val="240915327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493520" y="251678"/>
            <a:ext cx="8331224" cy="623248"/>
          </a:xfrm>
        </p:spPr>
        <p:txBody>
          <a:bodyPr/>
          <a:lstStyle/>
          <a:p>
            <a:r>
              <a:rPr lang="nb-NO" dirty="0"/>
              <a:t>Styring </a:t>
            </a:r>
            <a:r>
              <a:rPr lang="nb-NO" dirty="0" err="1"/>
              <a:t>vs</a:t>
            </a:r>
            <a:r>
              <a:rPr lang="nb-NO" dirty="0"/>
              <a:t> forvaltning</a:t>
            </a:r>
          </a:p>
        </p:txBody>
      </p:sp>
      <p:sp>
        <p:nvSpPr>
          <p:cNvPr id="3" name="Undertittel 2"/>
          <p:cNvSpPr>
            <a:spLocks noGrp="1"/>
          </p:cNvSpPr>
          <p:nvPr>
            <p:ph type="subTitle" idx="1"/>
          </p:nvPr>
        </p:nvSpPr>
        <p:spPr>
          <a:xfrm>
            <a:off x="933640" y="1187917"/>
            <a:ext cx="8331224" cy="346249"/>
          </a:xfrm>
        </p:spPr>
        <p:txBody>
          <a:bodyPr>
            <a:normAutofit lnSpcReduction="10000"/>
          </a:bodyPr>
          <a:lstStyle/>
          <a:p>
            <a:r>
              <a:rPr lang="nb-NO" dirty="0"/>
              <a:t>	data </a:t>
            </a:r>
            <a:r>
              <a:rPr lang="nb-NO" dirty="0" err="1"/>
              <a:t>governance</a:t>
            </a:r>
            <a:r>
              <a:rPr lang="nb-NO" dirty="0"/>
              <a:t> </a:t>
            </a:r>
            <a:r>
              <a:rPr lang="nb-NO" dirty="0" err="1"/>
              <a:t>vs</a:t>
            </a:r>
            <a:r>
              <a:rPr lang="nb-NO" dirty="0"/>
              <a:t> data management</a:t>
            </a:r>
          </a:p>
        </p:txBody>
      </p:sp>
      <p:pic>
        <p:nvPicPr>
          <p:cNvPr id="4" name="Bilde 3"/>
          <p:cNvPicPr>
            <a:picLocks noChangeAspect="1"/>
          </p:cNvPicPr>
          <p:nvPr/>
        </p:nvPicPr>
        <p:blipFill>
          <a:blip r:embed="rId2"/>
          <a:stretch>
            <a:fillRect/>
          </a:stretch>
        </p:blipFill>
        <p:spPr>
          <a:xfrm>
            <a:off x="2745679" y="2026919"/>
            <a:ext cx="2913453" cy="1767613"/>
          </a:xfrm>
          <a:prstGeom prst="rect">
            <a:avLst/>
          </a:prstGeom>
        </p:spPr>
      </p:pic>
      <p:sp>
        <p:nvSpPr>
          <p:cNvPr id="5" name="TekstSylinder 4"/>
          <p:cNvSpPr txBox="1"/>
          <p:nvPr/>
        </p:nvSpPr>
        <p:spPr>
          <a:xfrm>
            <a:off x="6118860" y="2681892"/>
            <a:ext cx="2462534" cy="738664"/>
          </a:xfrm>
          <a:prstGeom prst="rect">
            <a:avLst/>
          </a:prstGeom>
          <a:noFill/>
        </p:spPr>
        <p:txBody>
          <a:bodyPr wrap="none" rtlCol="0">
            <a:spAutoFit/>
          </a:bodyPr>
          <a:lstStyle/>
          <a:p>
            <a:endParaRPr lang="nb-NO" dirty="0"/>
          </a:p>
          <a:p>
            <a:pPr algn="ctr"/>
            <a:r>
              <a:rPr lang="nb-NO" dirty="0"/>
              <a:t>Forvalte standardisert </a:t>
            </a:r>
          </a:p>
          <a:p>
            <a:pPr algn="ctr"/>
            <a:r>
              <a:rPr lang="nb-NO" dirty="0"/>
              <a:t>informasjon med høy kvalitet</a:t>
            </a:r>
          </a:p>
        </p:txBody>
      </p:sp>
      <p:sp>
        <p:nvSpPr>
          <p:cNvPr id="6" name="Undertittel 2"/>
          <p:cNvSpPr txBox="1">
            <a:spLocks/>
          </p:cNvSpPr>
          <p:nvPr/>
        </p:nvSpPr>
        <p:spPr>
          <a:xfrm>
            <a:off x="6453997" y="2508768"/>
            <a:ext cx="2038160" cy="346249"/>
          </a:xfrm>
          <a:prstGeom prst="rect">
            <a:avLst/>
          </a:prstGeom>
        </p:spPr>
        <p:txBody>
          <a:bodyPr vert="horz" lIns="0" tIns="0" rIns="0" bIns="0" rtlCol="0">
            <a:normAutofit/>
          </a:bodyPr>
          <a:lstStyle>
            <a:lvl1pPr marL="0" indent="0" algn="l" defTabSz="681091" rtl="0" eaLnBrk="1" latinLnBrk="0" hangingPunct="1">
              <a:lnSpc>
                <a:spcPct val="90000"/>
              </a:lnSpc>
              <a:spcBef>
                <a:spcPts val="745"/>
              </a:spcBef>
              <a:buFont typeface="Arial" panose="020B0604020202020204" pitchFamily="34" charset="0"/>
              <a:buNone/>
              <a:defRPr sz="2500" b="1" kern="1200">
                <a:solidFill>
                  <a:schemeClr val="tx1"/>
                </a:solidFill>
                <a:latin typeface="+mn-lt"/>
                <a:ea typeface="+mn-ea"/>
                <a:cs typeface="+mn-cs"/>
              </a:defRPr>
            </a:lvl1pPr>
            <a:lvl2pPr marL="340545" indent="0" algn="ctr" defTabSz="681091" rtl="0" eaLnBrk="1" latinLnBrk="0" hangingPunct="1">
              <a:lnSpc>
                <a:spcPct val="90000"/>
              </a:lnSpc>
              <a:spcBef>
                <a:spcPts val="373"/>
              </a:spcBef>
              <a:buFont typeface="Arial" panose="020B0604020202020204" pitchFamily="34" charset="0"/>
              <a:buNone/>
              <a:defRPr sz="1500" kern="1200">
                <a:solidFill>
                  <a:schemeClr val="tx1"/>
                </a:solidFill>
                <a:latin typeface="+mn-lt"/>
                <a:ea typeface="+mn-ea"/>
                <a:cs typeface="+mn-cs"/>
              </a:defRPr>
            </a:lvl2pPr>
            <a:lvl3pPr marL="681091" indent="0" algn="ctr" defTabSz="681091" rtl="0" eaLnBrk="1" latinLnBrk="0" hangingPunct="1">
              <a:lnSpc>
                <a:spcPct val="90000"/>
              </a:lnSpc>
              <a:spcBef>
                <a:spcPts val="373"/>
              </a:spcBef>
              <a:buFont typeface="Arial" panose="020B0604020202020204" pitchFamily="34" charset="0"/>
              <a:buNone/>
              <a:defRPr sz="1300" kern="1200">
                <a:solidFill>
                  <a:schemeClr val="tx1"/>
                </a:solidFill>
                <a:latin typeface="+mn-lt"/>
                <a:ea typeface="+mn-ea"/>
                <a:cs typeface="+mn-cs"/>
              </a:defRPr>
            </a:lvl3pPr>
            <a:lvl4pPr marL="1021636"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4pPr>
            <a:lvl5pPr marL="1362183"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5pPr>
            <a:lvl6pPr marL="1702727"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6pPr>
            <a:lvl7pPr marL="2043272"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7pPr>
            <a:lvl8pPr marL="2383818"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8pPr>
            <a:lvl9pPr marL="2724363"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9pPr>
          </a:lstStyle>
          <a:p>
            <a:r>
              <a:rPr lang="nb-NO" dirty="0"/>
              <a:t>Forvaltning</a:t>
            </a:r>
          </a:p>
        </p:txBody>
      </p:sp>
      <p:sp>
        <p:nvSpPr>
          <p:cNvPr id="7" name="TekstSylinder 6"/>
          <p:cNvSpPr txBox="1"/>
          <p:nvPr/>
        </p:nvSpPr>
        <p:spPr>
          <a:xfrm>
            <a:off x="193908" y="2681893"/>
            <a:ext cx="2251707" cy="738664"/>
          </a:xfrm>
          <a:prstGeom prst="rect">
            <a:avLst/>
          </a:prstGeom>
          <a:noFill/>
        </p:spPr>
        <p:txBody>
          <a:bodyPr wrap="none" rtlCol="0">
            <a:spAutoFit/>
          </a:bodyPr>
          <a:lstStyle/>
          <a:p>
            <a:endParaRPr lang="nb-NO" dirty="0"/>
          </a:p>
          <a:p>
            <a:pPr algn="ctr"/>
            <a:r>
              <a:rPr lang="nb-NO" dirty="0"/>
              <a:t>Sikre at informasjon </a:t>
            </a:r>
          </a:p>
          <a:p>
            <a:pPr algn="ctr"/>
            <a:r>
              <a:rPr lang="nb-NO" dirty="0"/>
              <a:t>er forvaltet</a:t>
            </a:r>
          </a:p>
        </p:txBody>
      </p:sp>
      <p:sp>
        <p:nvSpPr>
          <p:cNvPr id="8" name="Undertittel 2"/>
          <p:cNvSpPr txBox="1">
            <a:spLocks/>
          </p:cNvSpPr>
          <p:nvPr/>
        </p:nvSpPr>
        <p:spPr>
          <a:xfrm>
            <a:off x="707519" y="2508654"/>
            <a:ext cx="2038160" cy="346249"/>
          </a:xfrm>
          <a:prstGeom prst="rect">
            <a:avLst/>
          </a:prstGeom>
        </p:spPr>
        <p:txBody>
          <a:bodyPr vert="horz" lIns="0" tIns="0" rIns="0" bIns="0" rtlCol="0">
            <a:normAutofit/>
          </a:bodyPr>
          <a:lstStyle>
            <a:lvl1pPr marL="0" indent="0" algn="l" defTabSz="681091" rtl="0" eaLnBrk="1" latinLnBrk="0" hangingPunct="1">
              <a:lnSpc>
                <a:spcPct val="90000"/>
              </a:lnSpc>
              <a:spcBef>
                <a:spcPts val="745"/>
              </a:spcBef>
              <a:buFont typeface="Arial" panose="020B0604020202020204" pitchFamily="34" charset="0"/>
              <a:buNone/>
              <a:defRPr sz="2500" b="1" kern="1200">
                <a:solidFill>
                  <a:schemeClr val="tx1"/>
                </a:solidFill>
                <a:latin typeface="+mn-lt"/>
                <a:ea typeface="+mn-ea"/>
                <a:cs typeface="+mn-cs"/>
              </a:defRPr>
            </a:lvl1pPr>
            <a:lvl2pPr marL="340545" indent="0" algn="ctr" defTabSz="681091" rtl="0" eaLnBrk="1" latinLnBrk="0" hangingPunct="1">
              <a:lnSpc>
                <a:spcPct val="90000"/>
              </a:lnSpc>
              <a:spcBef>
                <a:spcPts val="373"/>
              </a:spcBef>
              <a:buFont typeface="Arial" panose="020B0604020202020204" pitchFamily="34" charset="0"/>
              <a:buNone/>
              <a:defRPr sz="1500" kern="1200">
                <a:solidFill>
                  <a:schemeClr val="tx1"/>
                </a:solidFill>
                <a:latin typeface="+mn-lt"/>
                <a:ea typeface="+mn-ea"/>
                <a:cs typeface="+mn-cs"/>
              </a:defRPr>
            </a:lvl2pPr>
            <a:lvl3pPr marL="681091" indent="0" algn="ctr" defTabSz="681091" rtl="0" eaLnBrk="1" latinLnBrk="0" hangingPunct="1">
              <a:lnSpc>
                <a:spcPct val="90000"/>
              </a:lnSpc>
              <a:spcBef>
                <a:spcPts val="373"/>
              </a:spcBef>
              <a:buFont typeface="Arial" panose="020B0604020202020204" pitchFamily="34" charset="0"/>
              <a:buNone/>
              <a:defRPr sz="1300" kern="1200">
                <a:solidFill>
                  <a:schemeClr val="tx1"/>
                </a:solidFill>
                <a:latin typeface="+mn-lt"/>
                <a:ea typeface="+mn-ea"/>
                <a:cs typeface="+mn-cs"/>
              </a:defRPr>
            </a:lvl3pPr>
            <a:lvl4pPr marL="1021636"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4pPr>
            <a:lvl5pPr marL="1362183"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5pPr>
            <a:lvl6pPr marL="1702727"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6pPr>
            <a:lvl7pPr marL="2043272"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7pPr>
            <a:lvl8pPr marL="2383818"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8pPr>
            <a:lvl9pPr marL="2724363" indent="0" algn="ctr" defTabSz="681091" rtl="0" eaLnBrk="1" latinLnBrk="0" hangingPunct="1">
              <a:lnSpc>
                <a:spcPct val="90000"/>
              </a:lnSpc>
              <a:spcBef>
                <a:spcPts val="373"/>
              </a:spcBef>
              <a:buFont typeface="Arial" panose="020B0604020202020204" pitchFamily="34" charset="0"/>
              <a:buNone/>
              <a:defRPr sz="1200" kern="1200">
                <a:solidFill>
                  <a:schemeClr val="tx1"/>
                </a:solidFill>
                <a:latin typeface="+mn-lt"/>
                <a:ea typeface="+mn-ea"/>
                <a:cs typeface="+mn-cs"/>
              </a:defRPr>
            </a:lvl9pPr>
          </a:lstStyle>
          <a:p>
            <a:r>
              <a:rPr lang="nb-NO" dirty="0"/>
              <a:t>Styring</a:t>
            </a:r>
          </a:p>
        </p:txBody>
      </p:sp>
    </p:spTree>
    <p:extLst>
      <p:ext uri="{BB962C8B-B14F-4D97-AF65-F5344CB8AC3E}">
        <p14:creationId xmlns:p14="http://schemas.microsoft.com/office/powerpoint/2010/main" val="20849154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vrundet rektangel 14"/>
          <p:cNvSpPr/>
          <p:nvPr/>
        </p:nvSpPr>
        <p:spPr>
          <a:xfrm>
            <a:off x="268467" y="2408759"/>
            <a:ext cx="1071748" cy="168462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6800" tIns="45720" rIns="46800" bIns="45720" numCol="1" spcCol="0" rtlCol="0" fromWordArt="0" anchor="ctr" anchorCtr="0" forceAA="0" compatLnSpc="1">
            <a:prstTxWarp prst="textNoShape">
              <a:avLst/>
            </a:prstTxWarp>
            <a:noAutofit/>
          </a:bodyPr>
          <a:lstStyle/>
          <a:p>
            <a:pPr marL="0" marR="0" lvl="0" indent="0" algn="ctr" defTabSz="683951" rtl="0" eaLnBrk="1" fontAlgn="auto" latinLnBrk="0" hangingPunct="1">
              <a:lnSpc>
                <a:spcPct val="115000"/>
              </a:lnSpc>
              <a:spcBef>
                <a:spcPts val="0"/>
              </a:spcBef>
              <a:spcAft>
                <a:spcPts val="1500"/>
              </a:spcAft>
              <a:buClrTx/>
              <a:buSzTx/>
              <a:buFontTx/>
              <a:buNone/>
              <a:tabLst/>
              <a:defRPr/>
            </a:pPr>
            <a:r>
              <a:rPr kumimoji="0" lang="nb-NO" sz="11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Personvern &amp; informasjons-sikkerhet</a:t>
            </a:r>
            <a:endParaRPr kumimoji="0" lang="nb-NO" sz="9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16" name="Avrundet rektangel 15"/>
          <p:cNvSpPr/>
          <p:nvPr/>
        </p:nvSpPr>
        <p:spPr>
          <a:xfrm>
            <a:off x="268467" y="4232279"/>
            <a:ext cx="8258175" cy="745436"/>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683951" rtl="0" eaLnBrk="1" fontAlgn="auto" latinLnBrk="0" hangingPunct="1">
              <a:lnSpc>
                <a:spcPct val="115000"/>
              </a:lnSpc>
              <a:spcBef>
                <a:spcPts val="0"/>
              </a:spcBef>
              <a:spcAft>
                <a:spcPts val="600"/>
              </a:spcAft>
              <a:buClrTx/>
              <a:buSzTx/>
              <a:buFontTx/>
              <a:buNone/>
              <a:tabLst/>
              <a:defRPr/>
            </a:pPr>
            <a:r>
              <a:rPr kumimoji="0" lang="nb-NO" sz="16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Informasjonsteknologisk grunnlag</a:t>
            </a:r>
          </a:p>
          <a:p>
            <a:pPr marL="0" marR="0" lvl="0" indent="0" algn="ctr" defTabSz="683951" rtl="0" eaLnBrk="1" fontAlgn="auto" latinLnBrk="0" hangingPunct="1">
              <a:lnSpc>
                <a:spcPct val="115000"/>
              </a:lnSpc>
              <a:spcBef>
                <a:spcPts val="0"/>
              </a:spcBef>
              <a:spcAft>
                <a:spcPts val="1500"/>
              </a:spcAft>
              <a:buClrTx/>
              <a:buSzTx/>
              <a:buFontTx/>
              <a:buNone/>
              <a:tabLst/>
              <a:defRPr/>
            </a:pPr>
            <a:r>
              <a:rPr kumimoji="0" lang="nb-NO" sz="1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lagring, operasjoner, vedlikehold, sikkerhet, systemer, infrastruktur</a:t>
            </a:r>
          </a:p>
        </p:txBody>
      </p:sp>
      <p:sp>
        <p:nvSpPr>
          <p:cNvPr id="17" name="Avrundet rektangel 16"/>
          <p:cNvSpPr/>
          <p:nvPr/>
        </p:nvSpPr>
        <p:spPr>
          <a:xfrm>
            <a:off x="268467" y="1622375"/>
            <a:ext cx="8258175" cy="647492"/>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683951" rtl="0" eaLnBrk="1" fontAlgn="auto" latinLnBrk="0" hangingPunct="1">
              <a:lnSpc>
                <a:spcPct val="115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Informasjonsstyring</a:t>
            </a:r>
            <a:endParaRPr kumimoji="0" lang="nb-NO" sz="12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0" marR="0" lvl="0" indent="0" algn="ctr" defTabSz="683951" rtl="0" eaLnBrk="1" fontAlgn="auto" latinLnBrk="0" hangingPunct="1">
              <a:lnSpc>
                <a:spcPct val="115000"/>
              </a:lnSpc>
              <a:spcBef>
                <a:spcPts val="0"/>
              </a:spcBef>
              <a:spcAft>
                <a:spcPts val="1500"/>
              </a:spcAft>
              <a:buClrTx/>
              <a:buSzTx/>
              <a:buFontTx/>
              <a:buNone/>
              <a:tabLst/>
              <a:defRPr/>
            </a:pPr>
            <a:r>
              <a:rPr kumimoji="0" lang="nb-NO" sz="12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strategi, regelverk, standarder, rammeverk</a:t>
            </a:r>
          </a:p>
        </p:txBody>
      </p:sp>
      <p:sp>
        <p:nvSpPr>
          <p:cNvPr id="18" name="Avrundet rektangel 17"/>
          <p:cNvSpPr/>
          <p:nvPr/>
        </p:nvSpPr>
        <p:spPr>
          <a:xfrm>
            <a:off x="1455347" y="2408759"/>
            <a:ext cx="1071748" cy="168462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6800" tIns="45720" rIns="46800" bIns="45720" numCol="1" spcCol="0" rtlCol="0" fromWordArt="0" anchor="ctr" anchorCtr="0" forceAA="0" compatLnSpc="1">
            <a:prstTxWarp prst="textNoShape">
              <a:avLst/>
            </a:prstTxWarp>
            <a:noAutofit/>
          </a:bodyPr>
          <a:lstStyle/>
          <a:p>
            <a:pPr marL="0" marR="0" lvl="0" indent="0" algn="ctr" defTabSz="683951" rtl="0" eaLnBrk="1" fontAlgn="auto" latinLnBrk="0" hangingPunct="1">
              <a:lnSpc>
                <a:spcPct val="115000"/>
              </a:lnSpc>
              <a:spcBef>
                <a:spcPts val="0"/>
              </a:spcBef>
              <a:spcAft>
                <a:spcPts val="1500"/>
              </a:spcAft>
              <a:buClrTx/>
              <a:buSzTx/>
              <a:buFontTx/>
              <a:buNone/>
              <a:tabLst/>
              <a:defRPr/>
            </a:pPr>
            <a:r>
              <a:rPr kumimoji="0" lang="nb-NO" sz="11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Informasjons-modeller &amp; arkitektur</a:t>
            </a:r>
          </a:p>
        </p:txBody>
      </p:sp>
      <p:sp>
        <p:nvSpPr>
          <p:cNvPr id="19" name="Avrundet rektangel 18"/>
          <p:cNvSpPr/>
          <p:nvPr/>
        </p:nvSpPr>
        <p:spPr>
          <a:xfrm>
            <a:off x="2633518" y="2388738"/>
            <a:ext cx="1071748" cy="168462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6800" tIns="45720" rIns="46800" bIns="45720" numCol="1" spcCol="0" rtlCol="0" fromWordArt="0" anchor="ctr" anchorCtr="0" forceAA="0" compatLnSpc="1">
            <a:prstTxWarp prst="textNoShape">
              <a:avLst/>
            </a:prstTxWarp>
            <a:noAutofit/>
          </a:bodyPr>
          <a:lstStyle/>
          <a:p>
            <a:pPr marL="0" marR="0" lvl="0" indent="0" algn="ctr" defTabSz="683951" rtl="0" eaLnBrk="1" fontAlgn="auto" latinLnBrk="0" hangingPunct="1">
              <a:lnSpc>
                <a:spcPct val="115000"/>
              </a:lnSpc>
              <a:spcBef>
                <a:spcPts val="0"/>
              </a:spcBef>
              <a:spcAft>
                <a:spcPts val="1500"/>
              </a:spcAft>
              <a:buClrTx/>
              <a:buSzTx/>
              <a:buFontTx/>
              <a:buNone/>
              <a:tabLst/>
              <a:defRPr/>
            </a:pPr>
            <a:r>
              <a:rPr kumimoji="0" lang="nb-NO" sz="11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Metadata</a:t>
            </a:r>
            <a:endParaRPr kumimoji="0" lang="nb-NO" sz="9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
        <p:nvSpPr>
          <p:cNvPr id="20" name="Avrundet rektangel 19"/>
          <p:cNvSpPr/>
          <p:nvPr/>
        </p:nvSpPr>
        <p:spPr>
          <a:xfrm>
            <a:off x="268467" y="1129079"/>
            <a:ext cx="8258175" cy="374425"/>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683951" rtl="0" eaLnBrk="1" fontAlgn="auto" latinLnBrk="0" hangingPunct="1">
              <a:lnSpc>
                <a:spcPct val="115000"/>
              </a:lnSpc>
              <a:spcBef>
                <a:spcPts val="0"/>
              </a:spcBef>
              <a:spcAft>
                <a:spcPts val="1500"/>
              </a:spcAft>
              <a:buClrTx/>
              <a:buSzTx/>
              <a:buFontTx/>
              <a:buNone/>
              <a:tabLst/>
              <a:defRPr/>
            </a:pPr>
            <a:r>
              <a:rPr kumimoji="0" lang="nb-NO" sz="14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Informasjonsforvaltning i virksomheten</a:t>
            </a:r>
          </a:p>
        </p:txBody>
      </p:sp>
      <p:sp>
        <p:nvSpPr>
          <p:cNvPr id="22" name="Avrundet rektangel 21"/>
          <p:cNvSpPr/>
          <p:nvPr/>
        </p:nvSpPr>
        <p:spPr>
          <a:xfrm>
            <a:off x="6252702" y="2408759"/>
            <a:ext cx="1071748" cy="168462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6800" tIns="45720" rIns="46800" bIns="45720" numCol="1" spcCol="0" rtlCol="0" fromWordArt="0" anchor="ctr" anchorCtr="0" forceAA="0" compatLnSpc="1">
            <a:prstTxWarp prst="textNoShape">
              <a:avLst/>
            </a:prstTxWarp>
            <a:noAutofit/>
          </a:bodyPr>
          <a:lstStyle/>
          <a:p>
            <a:pPr marL="0" marR="0" lvl="0" indent="0" algn="ctr" defTabSz="683951" rtl="0" eaLnBrk="1" fontAlgn="auto" latinLnBrk="0" hangingPunct="1">
              <a:lnSpc>
                <a:spcPct val="115000"/>
              </a:lnSpc>
              <a:spcBef>
                <a:spcPts val="0"/>
              </a:spcBef>
              <a:spcAft>
                <a:spcPts val="1500"/>
              </a:spcAft>
              <a:buClrTx/>
              <a:buSzTx/>
              <a:buFontTx/>
              <a:buNone/>
              <a:tabLst/>
              <a:defRPr/>
            </a:pPr>
            <a:r>
              <a:rPr kumimoji="0" lang="nb-NO" sz="11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Referanse- &amp; masterdata</a:t>
            </a:r>
          </a:p>
        </p:txBody>
      </p:sp>
      <p:sp>
        <p:nvSpPr>
          <p:cNvPr id="23" name="Avrundet rektangel 22"/>
          <p:cNvSpPr/>
          <p:nvPr/>
        </p:nvSpPr>
        <p:spPr>
          <a:xfrm>
            <a:off x="7454894" y="2408759"/>
            <a:ext cx="1071748" cy="168462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6800" tIns="45720" rIns="46800" bIns="45720" numCol="1" spcCol="0" rtlCol="0" fromWordArt="0" anchor="ctr" anchorCtr="0" forceAA="0" compatLnSpc="1">
            <a:prstTxWarp prst="textNoShape">
              <a:avLst/>
            </a:prstTxWarp>
            <a:noAutofit/>
          </a:bodyPr>
          <a:lstStyle/>
          <a:p>
            <a:pPr marL="0" marR="0" lvl="0" indent="0" algn="ctr" defTabSz="683951" rtl="0" eaLnBrk="1" fontAlgn="auto" latinLnBrk="0" hangingPunct="1">
              <a:lnSpc>
                <a:spcPct val="115000"/>
              </a:lnSpc>
              <a:spcBef>
                <a:spcPts val="0"/>
              </a:spcBef>
              <a:spcAft>
                <a:spcPts val="1500"/>
              </a:spcAft>
              <a:buClrTx/>
              <a:buSzTx/>
              <a:buFontTx/>
              <a:buNone/>
              <a:tabLst/>
              <a:defRPr/>
            </a:pPr>
            <a:r>
              <a:rPr kumimoji="0" lang="nb-NO" sz="11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Datavarehus, BI &amp; analyse</a:t>
            </a:r>
          </a:p>
        </p:txBody>
      </p:sp>
      <p:sp>
        <p:nvSpPr>
          <p:cNvPr id="4" name="Tittel 3"/>
          <p:cNvSpPr>
            <a:spLocks noGrp="1"/>
          </p:cNvSpPr>
          <p:nvPr>
            <p:ph type="title" idx="4294967295"/>
          </p:nvPr>
        </p:nvSpPr>
        <p:spPr>
          <a:xfrm>
            <a:off x="619948" y="468132"/>
            <a:ext cx="7776595" cy="346075"/>
          </a:xfrm>
        </p:spPr>
        <p:txBody>
          <a:bodyPr>
            <a:noAutofit/>
          </a:bodyPr>
          <a:lstStyle/>
          <a:p>
            <a:r>
              <a:rPr lang="nb-NO" sz="2600" dirty="0"/>
              <a:t>		Helhetlig Informasjonsforvaltning</a:t>
            </a:r>
          </a:p>
        </p:txBody>
      </p:sp>
      <p:sp>
        <p:nvSpPr>
          <p:cNvPr id="13" name="Avrundet rektangel 12"/>
          <p:cNvSpPr/>
          <p:nvPr/>
        </p:nvSpPr>
        <p:spPr>
          <a:xfrm>
            <a:off x="3843743" y="2388738"/>
            <a:ext cx="1071748" cy="1684628"/>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horz" wrap="square" lIns="46800" tIns="45720" rIns="46800" bIns="45720" numCol="1" spcCol="0" rtlCol="0" fromWordArt="0" anchor="ctr" anchorCtr="0" forceAA="0" compatLnSpc="1">
            <a:prstTxWarp prst="textNoShape">
              <a:avLst/>
            </a:prstTxWarp>
            <a:noAutofit/>
          </a:bodyPr>
          <a:lstStyle/>
          <a:p>
            <a:pPr marL="0" marR="0" lvl="0" indent="0" algn="ctr" defTabSz="683951" rtl="0" eaLnBrk="1" fontAlgn="auto" latinLnBrk="0" hangingPunct="1">
              <a:lnSpc>
                <a:spcPct val="115000"/>
              </a:lnSpc>
              <a:spcBef>
                <a:spcPts val="0"/>
              </a:spcBef>
              <a:spcAft>
                <a:spcPts val="1500"/>
              </a:spcAft>
              <a:buClrTx/>
              <a:buSzTx/>
              <a:buFontTx/>
              <a:buNone/>
              <a:tabLst/>
              <a:defRPr/>
            </a:pPr>
            <a:r>
              <a:rPr kumimoji="0" lang="nb-NO" sz="11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Datakvalitet</a:t>
            </a:r>
          </a:p>
        </p:txBody>
      </p:sp>
      <p:sp>
        <p:nvSpPr>
          <p:cNvPr id="24" name="Avrundet rektangel 23"/>
          <p:cNvSpPr/>
          <p:nvPr/>
        </p:nvSpPr>
        <p:spPr>
          <a:xfrm>
            <a:off x="5050510" y="2408759"/>
            <a:ext cx="1071748" cy="168462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46800" tIns="45720" rIns="46800" bIns="45720" numCol="1" spcCol="0" rtlCol="0" fromWordArt="0" anchor="ctr" anchorCtr="0" forceAA="0" compatLnSpc="1">
            <a:prstTxWarp prst="textNoShape">
              <a:avLst/>
            </a:prstTxWarp>
            <a:noAutofit/>
          </a:bodyPr>
          <a:lstStyle/>
          <a:p>
            <a:pPr marL="0" marR="0" lvl="0" indent="0" algn="ctr" defTabSz="683951" rtl="0" eaLnBrk="1" fontAlgn="auto" latinLnBrk="0" hangingPunct="1">
              <a:lnSpc>
                <a:spcPct val="115000"/>
              </a:lnSpc>
              <a:spcBef>
                <a:spcPts val="0"/>
              </a:spcBef>
              <a:spcAft>
                <a:spcPts val="1500"/>
              </a:spcAft>
              <a:buClrTx/>
              <a:buSzTx/>
              <a:buFontTx/>
              <a:buNone/>
              <a:tabLst/>
              <a:defRPr/>
            </a:pPr>
            <a:r>
              <a:rPr kumimoji="0" lang="nb-NO" sz="11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rPr>
              <a:t>Tjenester &amp; datasett</a:t>
            </a:r>
            <a:endParaRPr kumimoji="0" lang="nb-NO" sz="900" b="0" i="0" u="none" strike="noStrike" kern="1200" cap="none" spc="0" normalizeH="0" baseline="0" noProof="0" dirty="0">
              <a:ln>
                <a:noFill/>
              </a:ln>
              <a:solidFill>
                <a:prstClr val="white"/>
              </a:solidFill>
              <a:effectLst/>
              <a:uLnTx/>
              <a:uFillTx/>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800411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e 22"/>
          <p:cNvPicPr>
            <a:picLocks noChangeAspect="1"/>
          </p:cNvPicPr>
          <p:nvPr/>
        </p:nvPicPr>
        <p:blipFill>
          <a:blip r:embed="rId2"/>
          <a:stretch>
            <a:fillRect/>
          </a:stretch>
        </p:blipFill>
        <p:spPr>
          <a:xfrm>
            <a:off x="1620932" y="3494467"/>
            <a:ext cx="2717464" cy="1501603"/>
          </a:xfrm>
          <a:prstGeom prst="rect">
            <a:avLst/>
          </a:prstGeom>
        </p:spPr>
      </p:pic>
      <p:sp>
        <p:nvSpPr>
          <p:cNvPr id="4" name="Rektangel 3"/>
          <p:cNvSpPr/>
          <p:nvPr/>
        </p:nvSpPr>
        <p:spPr>
          <a:xfrm>
            <a:off x="989697" y="1300977"/>
            <a:ext cx="7116528" cy="37369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1137"/>
            <a:r>
              <a:rPr lang="nb-NO" sz="1341" dirty="0">
                <a:solidFill>
                  <a:prstClr val="black"/>
                </a:solidFill>
                <a:latin typeface="Arial" panose="020B0604020202020204"/>
              </a:rPr>
              <a:t>Rettslige rammer</a:t>
            </a:r>
          </a:p>
        </p:txBody>
      </p:sp>
      <p:sp>
        <p:nvSpPr>
          <p:cNvPr id="5" name="Rektangel 4"/>
          <p:cNvSpPr/>
          <p:nvPr/>
        </p:nvSpPr>
        <p:spPr>
          <a:xfrm>
            <a:off x="1095378" y="1691102"/>
            <a:ext cx="6913007" cy="155119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81137"/>
            <a:r>
              <a:rPr lang="nb-NO" sz="1341" dirty="0">
                <a:solidFill>
                  <a:prstClr val="black"/>
                </a:solidFill>
                <a:latin typeface="Arial" panose="020B0604020202020204"/>
              </a:rPr>
              <a:t>Forretningsarkitektur</a:t>
            </a:r>
          </a:p>
        </p:txBody>
      </p:sp>
      <p:sp>
        <p:nvSpPr>
          <p:cNvPr id="6" name="Rektangel 5"/>
          <p:cNvSpPr/>
          <p:nvPr/>
        </p:nvSpPr>
        <p:spPr>
          <a:xfrm>
            <a:off x="1097847" y="3304919"/>
            <a:ext cx="6913007" cy="16111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81137"/>
            <a:r>
              <a:rPr lang="nb-NO" sz="1341" dirty="0">
                <a:solidFill>
                  <a:prstClr val="black"/>
                </a:solidFill>
                <a:latin typeface="Arial" panose="020B0604020202020204"/>
              </a:rPr>
              <a:t>IT-arkitektur</a:t>
            </a:r>
          </a:p>
        </p:txBody>
      </p:sp>
      <p:sp>
        <p:nvSpPr>
          <p:cNvPr id="7" name="Rektangel 6"/>
          <p:cNvSpPr/>
          <p:nvPr/>
        </p:nvSpPr>
        <p:spPr>
          <a:xfrm>
            <a:off x="4392472" y="1733236"/>
            <a:ext cx="3526336" cy="307444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681137"/>
            <a:r>
              <a:rPr lang="nb-NO" sz="1341" dirty="0">
                <a:solidFill>
                  <a:prstClr val="black"/>
                </a:solidFill>
                <a:latin typeface="Arial" panose="020B0604020202020204"/>
              </a:rPr>
              <a:t>Informasjonsarkitektur</a:t>
            </a:r>
          </a:p>
        </p:txBody>
      </p:sp>
      <p:sp>
        <p:nvSpPr>
          <p:cNvPr id="8" name="TekstSylinder 7"/>
          <p:cNvSpPr txBox="1"/>
          <p:nvPr/>
        </p:nvSpPr>
        <p:spPr>
          <a:xfrm>
            <a:off x="8374260" y="4519668"/>
            <a:ext cx="608052" cy="505010"/>
          </a:xfrm>
          <a:prstGeom prst="rect">
            <a:avLst/>
          </a:prstGeom>
          <a:noFill/>
        </p:spPr>
        <p:txBody>
          <a:bodyPr wrap="none" rtlCol="0">
            <a:spAutoFit/>
          </a:bodyPr>
          <a:lstStyle/>
          <a:p>
            <a:pPr defTabSz="681137"/>
            <a:r>
              <a:rPr lang="nb-NO" sz="1341" dirty="0">
                <a:solidFill>
                  <a:prstClr val="black"/>
                </a:solidFill>
                <a:latin typeface="Arial" panose="020B0604020202020204"/>
              </a:rPr>
              <a:t>As is</a:t>
            </a:r>
          </a:p>
          <a:p>
            <a:pPr defTabSz="681137"/>
            <a:r>
              <a:rPr lang="nb-NO" sz="1341" dirty="0">
                <a:solidFill>
                  <a:prstClr val="black"/>
                </a:solidFill>
                <a:latin typeface="Arial" panose="020B0604020202020204"/>
              </a:rPr>
              <a:t>To be</a:t>
            </a:r>
          </a:p>
        </p:txBody>
      </p:sp>
      <p:sp>
        <p:nvSpPr>
          <p:cNvPr id="9" name="TekstSylinder 8"/>
          <p:cNvSpPr txBox="1"/>
          <p:nvPr/>
        </p:nvSpPr>
        <p:spPr>
          <a:xfrm>
            <a:off x="904554" y="773689"/>
            <a:ext cx="1843903" cy="298672"/>
          </a:xfrm>
          <a:prstGeom prst="rect">
            <a:avLst/>
          </a:prstGeom>
          <a:noFill/>
        </p:spPr>
        <p:txBody>
          <a:bodyPr wrap="none" rtlCol="0">
            <a:spAutoFit/>
          </a:bodyPr>
          <a:lstStyle/>
          <a:p>
            <a:pPr defTabSz="681137"/>
            <a:r>
              <a:rPr lang="nb-NO" sz="1341" dirty="0">
                <a:solidFill>
                  <a:prstClr val="black"/>
                </a:solidFill>
                <a:latin typeface="Arial" panose="020B0604020202020204"/>
              </a:rPr>
              <a:t>Virksomhetsarkitektur</a:t>
            </a:r>
          </a:p>
        </p:txBody>
      </p:sp>
      <p:sp>
        <p:nvSpPr>
          <p:cNvPr id="10" name="Tittel 1"/>
          <p:cNvSpPr txBox="1">
            <a:spLocks/>
          </p:cNvSpPr>
          <p:nvPr/>
        </p:nvSpPr>
        <p:spPr>
          <a:xfrm>
            <a:off x="989697" y="258580"/>
            <a:ext cx="8312762" cy="512448"/>
          </a:xfrm>
          <a:prstGeom prst="rect">
            <a:avLst/>
          </a:prstGeom>
        </p:spPr>
        <p:txBody>
          <a:bodyPr>
            <a:normAutofit fontScale="5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1137"/>
            <a:r>
              <a:rPr lang="nb-NO" sz="3278" dirty="0">
                <a:solidFill>
                  <a:prstClr val="black"/>
                </a:solidFill>
                <a:latin typeface="Arial" panose="020B0604020202020204"/>
              </a:rPr>
              <a:t>Sammenheng mellom ulike arkitekturer</a:t>
            </a:r>
            <a:br>
              <a:rPr lang="nb-NO" sz="3278" dirty="0">
                <a:solidFill>
                  <a:prstClr val="black"/>
                </a:solidFill>
                <a:latin typeface="Arial" panose="020B0604020202020204"/>
              </a:rPr>
            </a:br>
            <a:endParaRPr lang="nb-NO" sz="3278" dirty="0">
              <a:solidFill>
                <a:prstClr val="black"/>
              </a:solidFill>
              <a:latin typeface="Arial" panose="020B0604020202020204"/>
            </a:endParaRPr>
          </a:p>
        </p:txBody>
      </p:sp>
      <p:pic>
        <p:nvPicPr>
          <p:cNvPr id="2" name="Bilde 1"/>
          <p:cNvPicPr>
            <a:picLocks noChangeAspect="1"/>
          </p:cNvPicPr>
          <p:nvPr/>
        </p:nvPicPr>
        <p:blipFill>
          <a:blip r:embed="rId3"/>
          <a:stretch>
            <a:fillRect/>
          </a:stretch>
        </p:blipFill>
        <p:spPr>
          <a:xfrm>
            <a:off x="1749873" y="1779430"/>
            <a:ext cx="2240227" cy="1403636"/>
          </a:xfrm>
          <a:prstGeom prst="rect">
            <a:avLst/>
          </a:prstGeom>
        </p:spPr>
      </p:pic>
      <p:pic>
        <p:nvPicPr>
          <p:cNvPr id="3" name="Bilde 2"/>
          <p:cNvPicPr>
            <a:picLocks noChangeAspect="1"/>
          </p:cNvPicPr>
          <p:nvPr/>
        </p:nvPicPr>
        <p:blipFill>
          <a:blip r:embed="rId4"/>
          <a:stretch>
            <a:fillRect/>
          </a:stretch>
        </p:blipFill>
        <p:spPr>
          <a:xfrm>
            <a:off x="5792614" y="2579136"/>
            <a:ext cx="2259186" cy="1451567"/>
          </a:xfrm>
          <a:prstGeom prst="rect">
            <a:avLst/>
          </a:prstGeom>
        </p:spPr>
      </p:pic>
      <p:pic>
        <p:nvPicPr>
          <p:cNvPr id="13" name="Bilde 12"/>
          <p:cNvPicPr>
            <a:picLocks noChangeAspect="1"/>
          </p:cNvPicPr>
          <p:nvPr/>
        </p:nvPicPr>
        <p:blipFill>
          <a:blip r:embed="rId5"/>
          <a:stretch>
            <a:fillRect/>
          </a:stretch>
        </p:blipFill>
        <p:spPr>
          <a:xfrm>
            <a:off x="4444077" y="2306674"/>
            <a:ext cx="1322714" cy="1286890"/>
          </a:xfrm>
          <a:prstGeom prst="rect">
            <a:avLst/>
          </a:prstGeom>
        </p:spPr>
      </p:pic>
      <p:pic>
        <p:nvPicPr>
          <p:cNvPr id="14" name="Bilde 13"/>
          <p:cNvPicPr>
            <a:picLocks noChangeAspect="1"/>
          </p:cNvPicPr>
          <p:nvPr/>
        </p:nvPicPr>
        <p:blipFill>
          <a:blip r:embed="rId6"/>
          <a:stretch>
            <a:fillRect/>
          </a:stretch>
        </p:blipFill>
        <p:spPr>
          <a:xfrm>
            <a:off x="4525463" y="3809391"/>
            <a:ext cx="1165141" cy="564018"/>
          </a:xfrm>
          <a:prstGeom prst="rect">
            <a:avLst/>
          </a:prstGeom>
        </p:spPr>
      </p:pic>
    </p:spTree>
    <p:extLst>
      <p:ext uri="{BB962C8B-B14F-4D97-AF65-F5344CB8AC3E}">
        <p14:creationId xmlns:p14="http://schemas.microsoft.com/office/powerpoint/2010/main" val="13672609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13750" y="378737"/>
            <a:ext cx="8033268" cy="512448"/>
          </a:xfrm>
        </p:spPr>
        <p:txBody>
          <a:bodyPr>
            <a:normAutofit/>
          </a:bodyPr>
          <a:lstStyle/>
          <a:p>
            <a:r>
              <a:rPr lang="nb-NO" sz="2200"/>
              <a:t>Produkt- og prosessledelse (PPL) skal bidra til at vi…</a:t>
            </a:r>
          </a:p>
        </p:txBody>
      </p:sp>
      <p:pic>
        <p:nvPicPr>
          <p:cNvPr id="7" name="Plassholder for innhold 6"/>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611018" y="1246908"/>
            <a:ext cx="7758821" cy="3173558"/>
          </a:xfrm>
        </p:spPr>
      </p:pic>
      <p:sp>
        <p:nvSpPr>
          <p:cNvPr id="24" name="Rektangel 23"/>
          <p:cNvSpPr/>
          <p:nvPr/>
        </p:nvSpPr>
        <p:spPr>
          <a:xfrm>
            <a:off x="732622" y="4650342"/>
            <a:ext cx="7871551" cy="36233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lang="nb-NO" b="1">
                <a:solidFill>
                  <a:prstClr val="white"/>
                </a:solidFill>
                <a:latin typeface="Arial" panose="020B0604020202020204"/>
              </a:rPr>
              <a:t>Snart kommer det mange nye "kunder" på produktene våre </a:t>
            </a:r>
            <a:endParaRPr kumimoji="0" lang="nb-NO" sz="1400" b="1"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6881031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stretch>
            <a:fillRect/>
          </a:stretch>
        </p:blipFill>
        <p:spPr>
          <a:xfrm>
            <a:off x="1277893" y="1068148"/>
            <a:ext cx="6218493" cy="3680845"/>
          </a:xfrm>
          <a:prstGeom prst="rect">
            <a:avLst/>
          </a:prstGeom>
        </p:spPr>
      </p:pic>
      <p:sp>
        <p:nvSpPr>
          <p:cNvPr id="5" name="Ellipse 4"/>
          <p:cNvSpPr/>
          <p:nvPr/>
        </p:nvSpPr>
        <p:spPr>
          <a:xfrm>
            <a:off x="6335307" y="2848157"/>
            <a:ext cx="1176299" cy="1153321"/>
          </a:xfrm>
          <a:prstGeom prst="ellipse">
            <a:avLst/>
          </a:prstGeom>
          <a:solidFill>
            <a:schemeClr val="accent1">
              <a:alpha val="47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Tittel 1"/>
          <p:cNvSpPr txBox="1">
            <a:spLocks/>
          </p:cNvSpPr>
          <p:nvPr/>
        </p:nvSpPr>
        <p:spPr>
          <a:xfrm>
            <a:off x="1422435" y="310504"/>
            <a:ext cx="7723153" cy="512448"/>
          </a:xfrm>
          <a:prstGeom prst="rect">
            <a:avLst/>
          </a:prstGeom>
        </p:spPr>
        <p:txBody>
          <a:bodyPr vert="horz" wrap="square" lIns="0" tIns="0" rIns="0" bIns="0" rtlCol="0" anchor="t" anchorCtr="0">
            <a:normAutofit fontScale="97500"/>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r>
              <a:rPr lang="nb-NO" dirty="0"/>
              <a:t>Produkt- og prosessledelse</a:t>
            </a:r>
          </a:p>
        </p:txBody>
      </p:sp>
    </p:spTree>
    <p:extLst>
      <p:ext uri="{BB962C8B-B14F-4D97-AF65-F5344CB8AC3E}">
        <p14:creationId xmlns:p14="http://schemas.microsoft.com/office/powerpoint/2010/main" val="915977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e 16"/>
          <p:cNvGrpSpPr/>
          <p:nvPr/>
        </p:nvGrpSpPr>
        <p:grpSpPr>
          <a:xfrm>
            <a:off x="228148" y="243812"/>
            <a:ext cx="8665440" cy="4541516"/>
            <a:chOff x="140159" y="229412"/>
            <a:chExt cx="8665440" cy="4541516"/>
          </a:xfrm>
        </p:grpSpPr>
        <p:pic>
          <p:nvPicPr>
            <p:cNvPr id="4" name="Bilde 4">
              <a:extLst>
                <a:ext uri="{FF2B5EF4-FFF2-40B4-BE49-F238E27FC236}">
                  <a16:creationId xmlns:a16="http://schemas.microsoft.com/office/drawing/2014/main" id="{BAC04185-F9B8-4DA2-BFAF-A47E44BF4D1B}"/>
                </a:ext>
              </a:extLst>
            </p:cNvPr>
            <p:cNvPicPr>
              <a:picLocks noChangeAspect="1"/>
            </p:cNvPicPr>
            <p:nvPr/>
          </p:nvPicPr>
          <p:blipFill>
            <a:blip r:embed="rId2"/>
            <a:stretch>
              <a:fillRect/>
            </a:stretch>
          </p:blipFill>
          <p:spPr>
            <a:xfrm>
              <a:off x="140159" y="229412"/>
              <a:ext cx="8665440" cy="4541516"/>
            </a:xfrm>
            <a:prstGeom prst="rect">
              <a:avLst/>
            </a:prstGeom>
          </p:spPr>
        </p:pic>
        <p:sp>
          <p:nvSpPr>
            <p:cNvPr id="3" name="Rektangel 2"/>
            <p:cNvSpPr/>
            <p:nvPr/>
          </p:nvSpPr>
          <p:spPr>
            <a:xfrm>
              <a:off x="5839275" y="3972482"/>
              <a:ext cx="2822324" cy="675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sp>
        <p:nvSpPr>
          <p:cNvPr id="18" name="Rektangel 17"/>
          <p:cNvSpPr/>
          <p:nvPr/>
        </p:nvSpPr>
        <p:spPr>
          <a:xfrm>
            <a:off x="1019313" y="370883"/>
            <a:ext cx="7730275" cy="5887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681091">
              <a:lnSpc>
                <a:spcPct val="90000"/>
              </a:lnSpc>
              <a:spcBef>
                <a:spcPct val="0"/>
              </a:spcBef>
              <a:defRPr/>
            </a:pPr>
            <a:r>
              <a:rPr lang="nb-NO" sz="3200" b="1" dirty="0">
                <a:solidFill>
                  <a:prstClr val="black"/>
                </a:solidFill>
              </a:rPr>
              <a:t>Tverrfaglige produkter med dataeiere</a:t>
            </a:r>
          </a:p>
        </p:txBody>
      </p:sp>
      <p:grpSp>
        <p:nvGrpSpPr>
          <p:cNvPr id="26" name="Gruppe 25"/>
          <p:cNvGrpSpPr/>
          <p:nvPr/>
        </p:nvGrpSpPr>
        <p:grpSpPr>
          <a:xfrm>
            <a:off x="106646" y="1086677"/>
            <a:ext cx="8917440" cy="3905917"/>
            <a:chOff x="106646" y="1086677"/>
            <a:chExt cx="8917440" cy="3905917"/>
          </a:xfrm>
        </p:grpSpPr>
        <p:sp>
          <p:nvSpPr>
            <p:cNvPr id="20" name="Rektangel 19"/>
            <p:cNvSpPr/>
            <p:nvPr/>
          </p:nvSpPr>
          <p:spPr>
            <a:xfrm>
              <a:off x="106646" y="1086677"/>
              <a:ext cx="8917440" cy="39059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1" name="Gruppe 20"/>
            <p:cNvGrpSpPr/>
            <p:nvPr/>
          </p:nvGrpSpPr>
          <p:grpSpPr>
            <a:xfrm>
              <a:off x="318152" y="2092250"/>
              <a:ext cx="8705934" cy="1631254"/>
              <a:chOff x="1534489" y="1435054"/>
              <a:chExt cx="5989521" cy="445478"/>
            </a:xfrm>
          </p:grpSpPr>
          <p:sp>
            <p:nvSpPr>
              <p:cNvPr id="22" name="Alternativ prosess 21"/>
              <p:cNvSpPr/>
              <p:nvPr/>
            </p:nvSpPr>
            <p:spPr>
              <a:xfrm>
                <a:off x="1534489" y="1435054"/>
                <a:ext cx="1411200" cy="445477"/>
              </a:xfrm>
              <a:prstGeom prst="flowChartAlternateProcess">
                <a:avLst/>
              </a:prstGeom>
              <a:solidFill>
                <a:schemeClr val="accent4"/>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Arial" panose="020B0604020202020204"/>
                    <a:ea typeface="+mn-ea"/>
                    <a:cs typeface="+mn-cs"/>
                  </a:rPr>
                  <a:t>Opplysninger</a:t>
                </a:r>
              </a:p>
            </p:txBody>
          </p:sp>
          <p:sp>
            <p:nvSpPr>
              <p:cNvPr id="23" name="Alternativ prosess 22"/>
              <p:cNvSpPr/>
              <p:nvPr/>
            </p:nvSpPr>
            <p:spPr>
              <a:xfrm>
                <a:off x="3030084" y="1435055"/>
                <a:ext cx="1503545" cy="445477"/>
              </a:xfrm>
              <a:prstGeom prst="flowChartAlternateProcess">
                <a:avLst/>
              </a:prstGeom>
              <a:solidFill>
                <a:schemeClr val="accent4"/>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Arial" panose="020B0604020202020204"/>
                    <a:ea typeface="+mn-ea"/>
                    <a:cs typeface="+mn-cs"/>
                  </a:rPr>
                  <a:t>Skatt</a:t>
                </a:r>
              </a:p>
            </p:txBody>
          </p:sp>
          <p:sp>
            <p:nvSpPr>
              <p:cNvPr id="24" name="Alternativ prosess 23"/>
              <p:cNvSpPr/>
              <p:nvPr/>
            </p:nvSpPr>
            <p:spPr>
              <a:xfrm>
                <a:off x="4617215" y="1435055"/>
                <a:ext cx="1411200" cy="445477"/>
              </a:xfrm>
              <a:prstGeom prst="flowChartAlternateProcess">
                <a:avLst/>
              </a:prstGeom>
              <a:solidFill>
                <a:schemeClr val="accent4"/>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Arial" panose="020B0604020202020204"/>
                    <a:ea typeface="+mn-ea"/>
                    <a:cs typeface="+mn-cs"/>
                  </a:rPr>
                  <a:t>Avgift </a:t>
                </a:r>
              </a:p>
            </p:txBody>
          </p:sp>
          <p:sp>
            <p:nvSpPr>
              <p:cNvPr id="25" name="Alternativ prosess 24"/>
              <p:cNvSpPr/>
              <p:nvPr/>
            </p:nvSpPr>
            <p:spPr>
              <a:xfrm>
                <a:off x="6112810" y="1435055"/>
                <a:ext cx="1411200" cy="445477"/>
              </a:xfrm>
              <a:prstGeom prst="flowChartAlternateProcess">
                <a:avLst/>
              </a:prstGeom>
              <a:solidFill>
                <a:schemeClr val="accent4"/>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3951" rtl="0" eaLnBrk="1" fontAlgn="auto" latinLnBrk="0" hangingPunct="1">
                  <a:lnSpc>
                    <a:spcPct val="100000"/>
                  </a:lnSpc>
                  <a:spcBef>
                    <a:spcPts val="0"/>
                  </a:spcBef>
                  <a:spcAft>
                    <a:spcPts val="0"/>
                  </a:spcAft>
                  <a:buClrTx/>
                  <a:buSzTx/>
                  <a:buFontTx/>
                  <a:buNone/>
                  <a:tabLst/>
                  <a:defRPr/>
                </a:pPr>
                <a:r>
                  <a:rPr kumimoji="0" lang="nb-NO" sz="2000" b="0" i="0" u="none" strike="noStrike" kern="1200" cap="none" spc="0" normalizeH="0" baseline="0" noProof="0" dirty="0">
                    <a:ln>
                      <a:noFill/>
                    </a:ln>
                    <a:solidFill>
                      <a:prstClr val="white"/>
                    </a:solidFill>
                    <a:effectLst/>
                    <a:uLnTx/>
                    <a:uFillTx/>
                    <a:latin typeface="Arial" panose="020B0604020202020204"/>
                    <a:ea typeface="+mn-ea"/>
                    <a:cs typeface="+mn-cs"/>
                  </a:rPr>
                  <a:t>Innkreving</a:t>
                </a:r>
              </a:p>
            </p:txBody>
          </p:sp>
        </p:grpSp>
      </p:grpSp>
    </p:spTree>
    <p:extLst>
      <p:ext uri="{BB962C8B-B14F-4D97-AF65-F5344CB8AC3E}">
        <p14:creationId xmlns:p14="http://schemas.microsoft.com/office/powerpoint/2010/main" val="3309622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42899" y="222674"/>
            <a:ext cx="8371046" cy="512448"/>
          </a:xfrm>
        </p:spPr>
        <p:txBody>
          <a:bodyPr>
            <a:normAutofit fontScale="90000"/>
          </a:bodyPr>
          <a:lstStyle/>
          <a:p>
            <a:pPr algn="ctr"/>
            <a:r>
              <a:rPr lang="nb-NO" sz="3200" dirty="0"/>
              <a:t>Distribuerte dataprodukter eid av tverrfaglige produktteam (Data </a:t>
            </a:r>
            <a:r>
              <a:rPr lang="nb-NO" sz="3200" dirty="0" err="1"/>
              <a:t>mesh</a:t>
            </a:r>
            <a:r>
              <a:rPr lang="nb-NO" sz="3200" dirty="0"/>
              <a:t>)</a:t>
            </a:r>
            <a:br>
              <a:rPr lang="nb-NO" sz="3200" dirty="0"/>
            </a:br>
            <a:endParaRPr lang="nb-NO" sz="3200" dirty="0"/>
          </a:p>
        </p:txBody>
      </p:sp>
      <p:sp>
        <p:nvSpPr>
          <p:cNvPr id="3" name="Plassholder for innhold 2"/>
          <p:cNvSpPr>
            <a:spLocks noGrp="1"/>
          </p:cNvSpPr>
          <p:nvPr>
            <p:ph idx="1"/>
          </p:nvPr>
        </p:nvSpPr>
        <p:spPr>
          <a:xfrm>
            <a:off x="415700" y="1224730"/>
            <a:ext cx="8371046" cy="1748400"/>
          </a:xfrm>
        </p:spPr>
        <p:txBody>
          <a:bodyPr>
            <a:normAutofit/>
          </a:bodyPr>
          <a:lstStyle/>
          <a:p>
            <a:r>
              <a:rPr lang="nb-NO" sz="1600" i="1" dirty="0" err="1"/>
              <a:t>distributed</a:t>
            </a:r>
            <a:r>
              <a:rPr lang="nb-NO" sz="1600" i="1" dirty="0"/>
              <a:t> data </a:t>
            </a:r>
            <a:r>
              <a:rPr lang="nb-NO" sz="1600" i="1" dirty="0" err="1"/>
              <a:t>products</a:t>
            </a:r>
            <a:r>
              <a:rPr lang="nb-NO" sz="1600" dirty="0"/>
              <a:t> </a:t>
            </a:r>
            <a:r>
              <a:rPr lang="nb-NO" sz="1600" dirty="0" err="1"/>
              <a:t>oriented</a:t>
            </a:r>
            <a:r>
              <a:rPr lang="nb-NO" sz="1600" dirty="0"/>
              <a:t> </a:t>
            </a:r>
            <a:r>
              <a:rPr lang="nb-NO" sz="1600" dirty="0" err="1"/>
              <a:t>around</a:t>
            </a:r>
            <a:r>
              <a:rPr lang="nb-NO" sz="1600" dirty="0"/>
              <a:t> </a:t>
            </a:r>
            <a:r>
              <a:rPr lang="nb-NO" sz="1600" dirty="0" err="1"/>
              <a:t>domains</a:t>
            </a:r>
            <a:r>
              <a:rPr lang="nb-NO" sz="1600" dirty="0"/>
              <a:t> and </a:t>
            </a:r>
            <a:r>
              <a:rPr lang="nb-NO" sz="1600" dirty="0" err="1"/>
              <a:t>owned</a:t>
            </a:r>
            <a:r>
              <a:rPr lang="nb-NO" sz="1600" dirty="0"/>
              <a:t> by </a:t>
            </a:r>
            <a:r>
              <a:rPr lang="nb-NO" sz="1600" i="1" dirty="0" err="1"/>
              <a:t>independent</a:t>
            </a:r>
            <a:r>
              <a:rPr lang="nb-NO" sz="1600" i="1" dirty="0"/>
              <a:t> cross-</a:t>
            </a:r>
            <a:r>
              <a:rPr lang="nb-NO" sz="1600" i="1" dirty="0" err="1"/>
              <a:t>functional</a:t>
            </a:r>
            <a:r>
              <a:rPr lang="nb-NO" sz="1600" i="1" dirty="0"/>
              <a:t> teams</a:t>
            </a:r>
            <a:r>
              <a:rPr lang="nb-NO" sz="1600" dirty="0"/>
              <a:t> </a:t>
            </a:r>
            <a:r>
              <a:rPr lang="nb-NO" sz="1600" dirty="0" err="1"/>
              <a:t>who</a:t>
            </a:r>
            <a:r>
              <a:rPr lang="nb-NO" sz="1600" dirty="0"/>
              <a:t> have </a:t>
            </a:r>
            <a:r>
              <a:rPr lang="nb-NO" sz="1600" dirty="0" err="1"/>
              <a:t>embedded</a:t>
            </a:r>
            <a:r>
              <a:rPr lang="nb-NO" sz="1600" dirty="0"/>
              <a:t> data </a:t>
            </a:r>
            <a:r>
              <a:rPr lang="nb-NO" sz="1600" dirty="0" err="1"/>
              <a:t>engineers</a:t>
            </a:r>
            <a:r>
              <a:rPr lang="nb-NO" sz="1600" dirty="0"/>
              <a:t> and data </a:t>
            </a:r>
            <a:r>
              <a:rPr lang="nb-NO" sz="1600" dirty="0" err="1"/>
              <a:t>product</a:t>
            </a:r>
            <a:r>
              <a:rPr lang="nb-NO" sz="1600" dirty="0"/>
              <a:t> </a:t>
            </a:r>
            <a:r>
              <a:rPr lang="nb-NO" sz="1600" dirty="0" err="1"/>
              <a:t>owners</a:t>
            </a:r>
            <a:r>
              <a:rPr lang="nb-NO" sz="1600" dirty="0"/>
              <a:t>, </a:t>
            </a:r>
            <a:r>
              <a:rPr lang="nb-NO" sz="1600" dirty="0" err="1"/>
              <a:t>using</a:t>
            </a:r>
            <a:r>
              <a:rPr lang="nb-NO" sz="1600" dirty="0"/>
              <a:t> </a:t>
            </a:r>
            <a:r>
              <a:rPr lang="nb-NO" sz="1600" dirty="0" err="1"/>
              <a:t>common</a:t>
            </a:r>
            <a:r>
              <a:rPr lang="nb-NO" sz="1600" dirty="0"/>
              <a:t> </a:t>
            </a:r>
            <a:r>
              <a:rPr lang="nb-NO" sz="1600" i="1" dirty="0"/>
              <a:t>data </a:t>
            </a:r>
            <a:r>
              <a:rPr lang="nb-NO" sz="1600" i="1" dirty="0" err="1"/>
              <a:t>infrastructure</a:t>
            </a:r>
            <a:r>
              <a:rPr lang="nb-NO" sz="1600" dirty="0"/>
              <a:t> as a </a:t>
            </a:r>
            <a:r>
              <a:rPr lang="nb-NO" sz="1600" dirty="0" err="1"/>
              <a:t>platform</a:t>
            </a:r>
            <a:r>
              <a:rPr lang="nb-NO" sz="1600" dirty="0"/>
              <a:t> to host, prep and serve </a:t>
            </a:r>
            <a:r>
              <a:rPr lang="nb-NO" sz="1600" dirty="0" err="1"/>
              <a:t>their</a:t>
            </a:r>
            <a:r>
              <a:rPr lang="nb-NO" sz="1600" dirty="0"/>
              <a:t> data </a:t>
            </a:r>
            <a:r>
              <a:rPr lang="nb-NO" sz="1600" dirty="0" err="1"/>
              <a:t>assets</a:t>
            </a:r>
            <a:r>
              <a:rPr lang="nb-NO" sz="1600" dirty="0"/>
              <a:t>.</a:t>
            </a:r>
          </a:p>
          <a:p>
            <a:endParaRPr lang="nb-NO" sz="1600" dirty="0"/>
          </a:p>
        </p:txBody>
      </p:sp>
      <p:pic>
        <p:nvPicPr>
          <p:cNvPr id="1026" name="Bilde 1" descr="https://martinfowler.com/articles/data-monolith-to-mesh/data-mesh.pn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2563" y="2098930"/>
            <a:ext cx="4620637" cy="2609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38789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sz="2800" dirty="0"/>
              <a:t>Hva er Data </a:t>
            </a:r>
            <a:r>
              <a:rPr lang="nb-NO" sz="2800" dirty="0" err="1"/>
              <a:t>Mesh</a:t>
            </a:r>
            <a:r>
              <a:rPr lang="nb-NO" sz="2800" dirty="0"/>
              <a:t>?</a:t>
            </a:r>
          </a:p>
        </p:txBody>
      </p:sp>
      <p:sp>
        <p:nvSpPr>
          <p:cNvPr id="3" name="Plassholder for innhold 2"/>
          <p:cNvSpPr>
            <a:spLocks noGrp="1"/>
          </p:cNvSpPr>
          <p:nvPr>
            <p:ph idx="1"/>
          </p:nvPr>
        </p:nvSpPr>
        <p:spPr>
          <a:xfrm>
            <a:off x="288036" y="1981200"/>
            <a:ext cx="4737447" cy="2771394"/>
          </a:xfrm>
        </p:spPr>
        <p:txBody>
          <a:bodyPr>
            <a:normAutofit fontScale="70000" lnSpcReduction="20000"/>
          </a:bodyPr>
          <a:lstStyle/>
          <a:p>
            <a:pPr>
              <a:lnSpc>
                <a:spcPct val="120000"/>
              </a:lnSpc>
            </a:pPr>
            <a:r>
              <a:rPr lang="nb-NO" dirty="0"/>
              <a:t>Adresserer </a:t>
            </a:r>
            <a:r>
              <a:rPr lang="nb-NO" b="1" dirty="0"/>
              <a:t>hvem</a:t>
            </a:r>
            <a:r>
              <a:rPr lang="nb-NO" dirty="0"/>
              <a:t> som skal ha ansvaret for data, </a:t>
            </a:r>
            <a:r>
              <a:rPr lang="nb-NO" b="1" dirty="0"/>
              <a:t>hvor</a:t>
            </a:r>
            <a:r>
              <a:rPr lang="nb-NO" dirty="0"/>
              <a:t> data skal ligge, </a:t>
            </a:r>
            <a:r>
              <a:rPr lang="nb-NO" b="1" dirty="0"/>
              <a:t>hvordan</a:t>
            </a:r>
            <a:r>
              <a:rPr lang="nb-NO" dirty="0"/>
              <a:t> data skal struktureres og tilgjengeliggjøres, og tilslutt </a:t>
            </a:r>
            <a:r>
              <a:rPr lang="nb-NO" b="1" dirty="0"/>
              <a:t>hvordan</a:t>
            </a:r>
            <a:r>
              <a:rPr lang="nb-NO" dirty="0"/>
              <a:t> man skal styre data. </a:t>
            </a:r>
            <a:endParaRPr lang="nb-NO" sz="1800" b="0" i="0" dirty="0">
              <a:solidFill>
                <a:srgbClr val="000000"/>
              </a:solidFill>
              <a:effectLst/>
              <a:latin typeface="Arial" panose="020B0604020202020204" pitchFamily="34" charset="0"/>
            </a:endParaRPr>
          </a:p>
          <a:p>
            <a:pPr>
              <a:lnSpc>
                <a:spcPct val="120000"/>
              </a:lnSpc>
            </a:pPr>
            <a:r>
              <a:rPr lang="nb-NO" dirty="0">
                <a:solidFill>
                  <a:srgbClr val="000000"/>
                </a:solidFill>
                <a:latin typeface="Arial" panose="020B0604020202020204" pitchFamily="34" charset="0"/>
              </a:rPr>
              <a:t>Baserer seg på fire prinsipper:</a:t>
            </a:r>
          </a:p>
          <a:p>
            <a:pPr marL="683447" lvl="1" indent="-342900">
              <a:lnSpc>
                <a:spcPct val="120000"/>
              </a:lnSpc>
              <a:buFont typeface="+mj-lt"/>
              <a:buAutoNum type="arabicPeriod"/>
            </a:pPr>
            <a:r>
              <a:rPr lang="nb-NO" dirty="0">
                <a:solidFill>
                  <a:srgbClr val="000000"/>
                </a:solidFill>
                <a:latin typeface="Arial" panose="020B0604020202020204" pitchFamily="34" charset="0"/>
              </a:rPr>
              <a:t>Forvaltningsorientert dataeierskap og arkitektur</a:t>
            </a:r>
          </a:p>
          <a:p>
            <a:pPr marL="683447" lvl="1" indent="-342900">
              <a:lnSpc>
                <a:spcPct val="120000"/>
              </a:lnSpc>
              <a:buFont typeface="+mj-lt"/>
              <a:buAutoNum type="arabicPeriod"/>
            </a:pPr>
            <a:r>
              <a:rPr lang="nb-NO" dirty="0">
                <a:solidFill>
                  <a:srgbClr val="000000"/>
                </a:solidFill>
                <a:latin typeface="Arial" panose="020B0604020202020204" pitchFamily="34" charset="0"/>
              </a:rPr>
              <a:t>Data som produkt</a:t>
            </a:r>
          </a:p>
          <a:p>
            <a:pPr marL="683447" lvl="1" indent="-342900">
              <a:lnSpc>
                <a:spcPct val="120000"/>
              </a:lnSpc>
              <a:buFont typeface="+mj-lt"/>
              <a:buAutoNum type="arabicPeriod"/>
            </a:pPr>
            <a:r>
              <a:rPr lang="nb-NO" dirty="0">
                <a:solidFill>
                  <a:srgbClr val="000000"/>
                </a:solidFill>
                <a:latin typeface="Arial" panose="020B0604020202020204" pitchFamily="34" charset="0"/>
              </a:rPr>
              <a:t>Selvbetjent datainfrastruktur</a:t>
            </a:r>
          </a:p>
          <a:p>
            <a:pPr marL="683447" lvl="1" indent="-342900">
              <a:lnSpc>
                <a:spcPct val="120000"/>
              </a:lnSpc>
              <a:buFont typeface="+mj-lt"/>
              <a:buAutoNum type="arabicPeriod"/>
            </a:pPr>
            <a:r>
              <a:rPr lang="nb-NO" dirty="0">
                <a:latin typeface="Arial" panose="020B0604020202020204" pitchFamily="34" charset="0"/>
              </a:rPr>
              <a:t>Samordnet og innebygd datastyring</a:t>
            </a:r>
          </a:p>
          <a:p>
            <a:pPr marL="340547" lvl="1" indent="0">
              <a:lnSpc>
                <a:spcPct val="120000"/>
              </a:lnSpc>
              <a:buNone/>
            </a:pPr>
            <a:endParaRPr lang="nb-NO" dirty="0">
              <a:latin typeface="Arial" panose="020B0604020202020204" pitchFamily="34" charset="0"/>
            </a:endParaRPr>
          </a:p>
          <a:p>
            <a:pPr>
              <a:lnSpc>
                <a:spcPct val="120000"/>
              </a:lnSpc>
            </a:pPr>
            <a:r>
              <a:rPr lang="nb-NO" dirty="0"/>
              <a:t>I en Data </a:t>
            </a:r>
            <a:r>
              <a:rPr lang="nb-NO" dirty="0" err="1"/>
              <a:t>Mesh</a:t>
            </a:r>
            <a:r>
              <a:rPr lang="nb-NO" dirty="0"/>
              <a:t> tilnærming til dataforvaltning og -styring er alle prinsipper implementert i </a:t>
            </a:r>
            <a:br>
              <a:rPr lang="nb-NO" dirty="0"/>
            </a:br>
            <a:r>
              <a:rPr lang="nb-NO" dirty="0"/>
              <a:t>en eller annen grad</a:t>
            </a:r>
          </a:p>
        </p:txBody>
      </p:sp>
      <p:grpSp>
        <p:nvGrpSpPr>
          <p:cNvPr id="15" name="Gruppe 14">
            <a:extLst>
              <a:ext uri="{FF2B5EF4-FFF2-40B4-BE49-F238E27FC236}">
                <a16:creationId xmlns:a16="http://schemas.microsoft.com/office/drawing/2014/main" id="{67448C06-1D20-44EB-9F42-DA0234E2D220}"/>
              </a:ext>
            </a:extLst>
          </p:cNvPr>
          <p:cNvGrpSpPr/>
          <p:nvPr/>
        </p:nvGrpSpPr>
        <p:grpSpPr>
          <a:xfrm>
            <a:off x="5023615" y="1826034"/>
            <a:ext cx="3891516" cy="2848787"/>
            <a:chOff x="5254072" y="1275907"/>
            <a:chExt cx="3891516" cy="2848787"/>
          </a:xfrm>
        </p:grpSpPr>
        <p:sp>
          <p:nvSpPr>
            <p:cNvPr id="5" name="Rektangel 4">
              <a:extLst>
                <a:ext uri="{FF2B5EF4-FFF2-40B4-BE49-F238E27FC236}">
                  <a16:creationId xmlns:a16="http://schemas.microsoft.com/office/drawing/2014/main" id="{5D45D725-852D-4855-B43C-38D52AC149E2}"/>
                </a:ext>
              </a:extLst>
            </p:cNvPr>
            <p:cNvSpPr/>
            <p:nvPr/>
          </p:nvSpPr>
          <p:spPr>
            <a:xfrm>
              <a:off x="5656520" y="1929791"/>
              <a:ext cx="435935" cy="1854662"/>
            </a:xfrm>
            <a:prstGeom prst="rect">
              <a:avLst/>
            </a:prstGeom>
            <a:solidFill>
              <a:srgbClr val="F9C4C9"/>
            </a:solidFill>
            <a:ln>
              <a:solidFill>
                <a:srgbClr val="F9C4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Rektangel 5">
              <a:extLst>
                <a:ext uri="{FF2B5EF4-FFF2-40B4-BE49-F238E27FC236}">
                  <a16:creationId xmlns:a16="http://schemas.microsoft.com/office/drawing/2014/main" id="{AD75AD98-5C7C-4826-AA66-8F27D7F58D87}"/>
                </a:ext>
              </a:extLst>
            </p:cNvPr>
            <p:cNvSpPr/>
            <p:nvPr/>
          </p:nvSpPr>
          <p:spPr>
            <a:xfrm>
              <a:off x="8339469" y="1962151"/>
              <a:ext cx="435935" cy="1820568"/>
            </a:xfrm>
            <a:prstGeom prst="rect">
              <a:avLst/>
            </a:prstGeom>
            <a:solidFill>
              <a:srgbClr val="F9C4C9"/>
            </a:solidFill>
            <a:ln>
              <a:solidFill>
                <a:srgbClr val="F9C4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Rektangel 6">
              <a:extLst>
                <a:ext uri="{FF2B5EF4-FFF2-40B4-BE49-F238E27FC236}">
                  <a16:creationId xmlns:a16="http://schemas.microsoft.com/office/drawing/2014/main" id="{027D0551-22CB-4D25-A943-529E6D204169}"/>
                </a:ext>
              </a:extLst>
            </p:cNvPr>
            <p:cNvSpPr/>
            <p:nvPr/>
          </p:nvSpPr>
          <p:spPr>
            <a:xfrm>
              <a:off x="6551428" y="1993233"/>
              <a:ext cx="435935" cy="1783797"/>
            </a:xfrm>
            <a:prstGeom prst="rect">
              <a:avLst/>
            </a:prstGeom>
            <a:solidFill>
              <a:srgbClr val="F9C4C9"/>
            </a:solidFill>
            <a:ln>
              <a:solidFill>
                <a:srgbClr val="F9C4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5EC24CCF-B159-4134-8E96-E45535783E7F}"/>
                </a:ext>
              </a:extLst>
            </p:cNvPr>
            <p:cNvSpPr/>
            <p:nvPr/>
          </p:nvSpPr>
          <p:spPr>
            <a:xfrm>
              <a:off x="7433930" y="1993234"/>
              <a:ext cx="435935" cy="1783797"/>
            </a:xfrm>
            <a:prstGeom prst="rect">
              <a:avLst/>
            </a:prstGeom>
            <a:solidFill>
              <a:srgbClr val="F9C4C9"/>
            </a:solidFill>
            <a:ln>
              <a:solidFill>
                <a:srgbClr val="F9C4C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Likebent trekant 3">
              <a:extLst>
                <a:ext uri="{FF2B5EF4-FFF2-40B4-BE49-F238E27FC236}">
                  <a16:creationId xmlns:a16="http://schemas.microsoft.com/office/drawing/2014/main" id="{9E8C4C65-7A29-4EAC-A7D7-72624423BC9E}"/>
                </a:ext>
              </a:extLst>
            </p:cNvPr>
            <p:cNvSpPr/>
            <p:nvPr/>
          </p:nvSpPr>
          <p:spPr>
            <a:xfrm>
              <a:off x="5254072" y="1275907"/>
              <a:ext cx="3891516" cy="709904"/>
            </a:xfrm>
            <a:prstGeom prst="triangle">
              <a:avLst>
                <a:gd name="adj" fmla="val 4911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A9932C9D-6099-4ADB-A4F8-4F6C2586964A}"/>
                </a:ext>
              </a:extLst>
            </p:cNvPr>
            <p:cNvSpPr/>
            <p:nvPr/>
          </p:nvSpPr>
          <p:spPr>
            <a:xfrm>
              <a:off x="5656520" y="3784452"/>
              <a:ext cx="3118884" cy="3402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TekstSylinder 9">
              <a:extLst>
                <a:ext uri="{FF2B5EF4-FFF2-40B4-BE49-F238E27FC236}">
                  <a16:creationId xmlns:a16="http://schemas.microsoft.com/office/drawing/2014/main" id="{A18F91F2-4484-44E7-BB73-AA9B067767C5}"/>
                </a:ext>
              </a:extLst>
            </p:cNvPr>
            <p:cNvSpPr txBox="1"/>
            <p:nvPr/>
          </p:nvSpPr>
          <p:spPr>
            <a:xfrm rot="16200000">
              <a:off x="4976674" y="2738776"/>
              <a:ext cx="1773242" cy="400110"/>
            </a:xfrm>
            <a:prstGeom prst="rect">
              <a:avLst/>
            </a:prstGeom>
            <a:noFill/>
          </p:spPr>
          <p:txBody>
            <a:bodyPr wrap="none" rtlCol="0">
              <a:spAutoFit/>
            </a:bodyPr>
            <a:lstStyle/>
            <a:p>
              <a:pPr algn="ctr"/>
              <a:r>
                <a:rPr lang="nb-NO" sz="1000" b="1" dirty="0"/>
                <a:t>Forvaltningsorientert </a:t>
              </a:r>
            </a:p>
            <a:p>
              <a:pPr algn="ctr"/>
              <a:r>
                <a:rPr lang="nb-NO" sz="1000" b="1" dirty="0"/>
                <a:t>dataeierskap og arkitektur</a:t>
              </a:r>
            </a:p>
          </p:txBody>
        </p:sp>
        <p:sp>
          <p:nvSpPr>
            <p:cNvPr id="11" name="TekstSylinder 10">
              <a:extLst>
                <a:ext uri="{FF2B5EF4-FFF2-40B4-BE49-F238E27FC236}">
                  <a16:creationId xmlns:a16="http://schemas.microsoft.com/office/drawing/2014/main" id="{EC2E76CA-B86E-4D27-8B6D-C53A6B8139AE}"/>
                </a:ext>
              </a:extLst>
            </p:cNvPr>
            <p:cNvSpPr txBox="1"/>
            <p:nvPr/>
          </p:nvSpPr>
          <p:spPr>
            <a:xfrm rot="16200000">
              <a:off x="6121327" y="2815722"/>
              <a:ext cx="1273105" cy="246221"/>
            </a:xfrm>
            <a:prstGeom prst="rect">
              <a:avLst/>
            </a:prstGeom>
            <a:noFill/>
          </p:spPr>
          <p:txBody>
            <a:bodyPr wrap="none" rtlCol="0">
              <a:spAutoFit/>
            </a:bodyPr>
            <a:lstStyle/>
            <a:p>
              <a:pPr algn="ctr"/>
              <a:r>
                <a:rPr lang="nb-NO" sz="1000" b="1" dirty="0"/>
                <a:t>Data som produkt</a:t>
              </a:r>
            </a:p>
          </p:txBody>
        </p:sp>
        <p:sp>
          <p:nvSpPr>
            <p:cNvPr id="12" name="TekstSylinder 11">
              <a:extLst>
                <a:ext uri="{FF2B5EF4-FFF2-40B4-BE49-F238E27FC236}">
                  <a16:creationId xmlns:a16="http://schemas.microsoft.com/office/drawing/2014/main" id="{24B50140-8F0B-4DD4-8854-FDA03AC9752E}"/>
                </a:ext>
              </a:extLst>
            </p:cNvPr>
            <p:cNvSpPr txBox="1"/>
            <p:nvPr/>
          </p:nvSpPr>
          <p:spPr>
            <a:xfrm rot="16200000">
              <a:off x="6689133" y="2769443"/>
              <a:ext cx="1925527" cy="246221"/>
            </a:xfrm>
            <a:prstGeom prst="rect">
              <a:avLst/>
            </a:prstGeom>
            <a:noFill/>
          </p:spPr>
          <p:txBody>
            <a:bodyPr wrap="none" rtlCol="0">
              <a:spAutoFit/>
            </a:bodyPr>
            <a:lstStyle/>
            <a:p>
              <a:pPr algn="ctr"/>
              <a:r>
                <a:rPr lang="nb-NO" sz="1000" b="1" dirty="0"/>
                <a:t>Selvbetjent datainfrastruktur</a:t>
              </a:r>
            </a:p>
          </p:txBody>
        </p:sp>
        <p:sp>
          <p:nvSpPr>
            <p:cNvPr id="13" name="TekstSylinder 12">
              <a:extLst>
                <a:ext uri="{FF2B5EF4-FFF2-40B4-BE49-F238E27FC236}">
                  <a16:creationId xmlns:a16="http://schemas.microsoft.com/office/drawing/2014/main" id="{CA0FFA45-042F-470D-8F45-0E83F47D8D60}"/>
                </a:ext>
              </a:extLst>
            </p:cNvPr>
            <p:cNvSpPr txBox="1"/>
            <p:nvPr/>
          </p:nvSpPr>
          <p:spPr>
            <a:xfrm rot="16200000">
              <a:off x="7816011" y="2717002"/>
              <a:ext cx="1478290" cy="400110"/>
            </a:xfrm>
            <a:prstGeom prst="rect">
              <a:avLst/>
            </a:prstGeom>
            <a:noFill/>
          </p:spPr>
          <p:txBody>
            <a:bodyPr wrap="none" rtlCol="0">
              <a:spAutoFit/>
            </a:bodyPr>
            <a:lstStyle/>
            <a:p>
              <a:pPr algn="ctr"/>
              <a:r>
                <a:rPr lang="nb-NO" sz="1000" b="1" dirty="0"/>
                <a:t>Samordnet og </a:t>
              </a:r>
            </a:p>
            <a:p>
              <a:pPr algn="ctr"/>
              <a:r>
                <a:rPr lang="nb-NO" sz="1000" b="1" dirty="0"/>
                <a:t>Innebygd datastyring</a:t>
              </a:r>
            </a:p>
          </p:txBody>
        </p:sp>
        <p:sp>
          <p:nvSpPr>
            <p:cNvPr id="14" name="TekstSylinder 13">
              <a:extLst>
                <a:ext uri="{FF2B5EF4-FFF2-40B4-BE49-F238E27FC236}">
                  <a16:creationId xmlns:a16="http://schemas.microsoft.com/office/drawing/2014/main" id="{195624F1-260D-4F05-A4BA-EF7C090FFE83}"/>
                </a:ext>
              </a:extLst>
            </p:cNvPr>
            <p:cNvSpPr txBox="1"/>
            <p:nvPr/>
          </p:nvSpPr>
          <p:spPr>
            <a:xfrm>
              <a:off x="6676391" y="1566275"/>
              <a:ext cx="1079142" cy="307777"/>
            </a:xfrm>
            <a:prstGeom prst="rect">
              <a:avLst/>
            </a:prstGeom>
            <a:noFill/>
          </p:spPr>
          <p:txBody>
            <a:bodyPr wrap="none" rtlCol="0">
              <a:spAutoFit/>
            </a:bodyPr>
            <a:lstStyle/>
            <a:p>
              <a:r>
                <a:rPr lang="nb-NO" b="1" dirty="0">
                  <a:solidFill>
                    <a:schemeClr val="bg1"/>
                  </a:solidFill>
                </a:rPr>
                <a:t>Data </a:t>
              </a:r>
              <a:r>
                <a:rPr lang="nb-NO" b="1" dirty="0" err="1">
                  <a:solidFill>
                    <a:schemeClr val="bg1"/>
                  </a:solidFill>
                </a:rPr>
                <a:t>Mesh</a:t>
              </a:r>
              <a:endParaRPr lang="nb-NO" b="1" dirty="0">
                <a:solidFill>
                  <a:schemeClr val="bg1"/>
                </a:solidFill>
              </a:endParaRPr>
            </a:p>
          </p:txBody>
        </p:sp>
        <p:cxnSp>
          <p:nvCxnSpPr>
            <p:cNvPr id="18" name="Rett pilkobling 17">
              <a:extLst>
                <a:ext uri="{FF2B5EF4-FFF2-40B4-BE49-F238E27FC236}">
                  <a16:creationId xmlns:a16="http://schemas.microsoft.com/office/drawing/2014/main" id="{870D4B86-1D02-460C-9DF3-51A979293BB7}"/>
                </a:ext>
              </a:extLst>
            </p:cNvPr>
            <p:cNvCxnSpPr>
              <a:stCxn id="9" idx="1"/>
              <a:endCxn id="9" idx="3"/>
            </p:cNvCxnSpPr>
            <p:nvPr/>
          </p:nvCxnSpPr>
          <p:spPr>
            <a:xfrm>
              <a:off x="5656520" y="3954573"/>
              <a:ext cx="3118884" cy="0"/>
            </a:xfrm>
            <a:prstGeom prst="straightConnector1">
              <a:avLst/>
            </a:prstGeom>
            <a:ln w="28575">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881991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p:txBody>
          <a:bodyPr/>
          <a:lstStyle/>
          <a:p>
            <a:r>
              <a:rPr lang="nb-NO" dirty="0"/>
              <a:t>Organisering av Skatteetaten</a:t>
            </a:r>
          </a:p>
        </p:txBody>
      </p:sp>
      <p:sp>
        <p:nvSpPr>
          <p:cNvPr id="6" name="Plassholder for innhold 5"/>
          <p:cNvSpPr>
            <a:spLocks noGrp="1"/>
          </p:cNvSpPr>
          <p:nvPr>
            <p:ph idx="1"/>
          </p:nvPr>
        </p:nvSpPr>
        <p:spPr/>
        <p:txBody>
          <a:bodyPr/>
          <a:lstStyle/>
          <a:p>
            <a:endParaRPr lang="nb-NO"/>
          </a:p>
        </p:txBody>
      </p:sp>
      <p:pic>
        <p:nvPicPr>
          <p:cNvPr id="4" name="Plassholder for innhold 5"/>
          <p:cNvPicPr>
            <a:picLocks noChangeAspect="1"/>
          </p:cNvPicPr>
          <p:nvPr/>
        </p:nvPicPr>
        <p:blipFill>
          <a:blip r:embed="rId2"/>
          <a:stretch>
            <a:fillRect/>
          </a:stretch>
        </p:blipFill>
        <p:spPr>
          <a:xfrm>
            <a:off x="828378" y="602871"/>
            <a:ext cx="8136904" cy="4349035"/>
          </a:xfrm>
          <a:prstGeom prst="rect">
            <a:avLst/>
          </a:prstGeom>
        </p:spPr>
      </p:pic>
    </p:spTree>
    <p:extLst>
      <p:ext uri="{BB962C8B-B14F-4D97-AF65-F5344CB8AC3E}">
        <p14:creationId xmlns:p14="http://schemas.microsoft.com/office/powerpoint/2010/main" val="195532102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ktangel: avrundede hjørner 42">
            <a:extLst>
              <a:ext uri="{FF2B5EF4-FFF2-40B4-BE49-F238E27FC236}">
                <a16:creationId xmlns:a16="http://schemas.microsoft.com/office/drawing/2014/main" id="{0A3B5AD4-6BC3-4C8E-AB5A-8D023277206E}"/>
              </a:ext>
            </a:extLst>
          </p:cNvPr>
          <p:cNvSpPr/>
          <p:nvPr/>
        </p:nvSpPr>
        <p:spPr>
          <a:xfrm>
            <a:off x="75601" y="1211591"/>
            <a:ext cx="8975632" cy="566955"/>
          </a:xfrm>
          <a:prstGeom prst="roundRect">
            <a:avLst/>
          </a:prstGeom>
          <a:solidFill>
            <a:schemeClr val="accent1">
              <a:alpha val="73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 name="Gruppe 1">
            <a:extLst>
              <a:ext uri="{FF2B5EF4-FFF2-40B4-BE49-F238E27FC236}">
                <a16:creationId xmlns:a16="http://schemas.microsoft.com/office/drawing/2014/main" id="{3EAC4E9E-7EDE-40C4-87C1-9D900D464826}"/>
              </a:ext>
            </a:extLst>
          </p:cNvPr>
          <p:cNvGrpSpPr/>
          <p:nvPr/>
        </p:nvGrpSpPr>
        <p:grpSpPr>
          <a:xfrm>
            <a:off x="3555577" y="1848678"/>
            <a:ext cx="5495657" cy="2770243"/>
            <a:chOff x="193819" y="1981200"/>
            <a:chExt cx="5475461" cy="2770243"/>
          </a:xfrm>
        </p:grpSpPr>
        <p:sp>
          <p:nvSpPr>
            <p:cNvPr id="4" name="Rektangel: avrundede hjørner 3">
              <a:extLst>
                <a:ext uri="{FF2B5EF4-FFF2-40B4-BE49-F238E27FC236}">
                  <a16:creationId xmlns:a16="http://schemas.microsoft.com/office/drawing/2014/main" id="{DD3F4CE1-4967-4835-A176-DADB1A9739F1}"/>
                </a:ext>
              </a:extLst>
            </p:cNvPr>
            <p:cNvSpPr/>
            <p:nvPr/>
          </p:nvSpPr>
          <p:spPr>
            <a:xfrm>
              <a:off x="193819" y="1981200"/>
              <a:ext cx="5475461"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5" name="Rektangel 4" descr="Hierarki">
              <a:extLst>
                <a:ext uri="{FF2B5EF4-FFF2-40B4-BE49-F238E27FC236}">
                  <a16:creationId xmlns:a16="http://schemas.microsoft.com/office/drawing/2014/main" id="{27816457-3EB4-4C3C-A0B4-3F1875667433}"/>
                </a:ext>
              </a:extLst>
            </p:cNvPr>
            <p:cNvSpPr/>
            <p:nvPr/>
          </p:nvSpPr>
          <p:spPr>
            <a:xfrm>
              <a:off x="464383" y="2113517"/>
              <a:ext cx="320631" cy="320631"/>
            </a:xfrm>
            <a:prstGeom prst="rect">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6" name="Frihåndsform: figur 5">
              <a:extLst>
                <a:ext uri="{FF2B5EF4-FFF2-40B4-BE49-F238E27FC236}">
                  <a16:creationId xmlns:a16="http://schemas.microsoft.com/office/drawing/2014/main" id="{9D4239E8-960D-4E1B-8B35-9027BF0BF405}"/>
                </a:ext>
              </a:extLst>
            </p:cNvPr>
            <p:cNvSpPr/>
            <p:nvPr/>
          </p:nvSpPr>
          <p:spPr>
            <a:xfrm>
              <a:off x="961362" y="1982350"/>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nb-NO" sz="1900" dirty="0"/>
                <a:t>Produktorientert</a:t>
              </a:r>
              <a:r>
                <a:rPr lang="nb-NO" sz="1900" kern="1200" dirty="0"/>
                <a:t> eierskap og arkitektur</a:t>
              </a:r>
              <a:endParaRPr lang="en-US" sz="1900" kern="1200" dirty="0"/>
            </a:p>
          </p:txBody>
        </p:sp>
        <p:sp>
          <p:nvSpPr>
            <p:cNvPr id="8" name="Rektangel: avrundede hjørner 7">
              <a:extLst>
                <a:ext uri="{FF2B5EF4-FFF2-40B4-BE49-F238E27FC236}">
                  <a16:creationId xmlns:a16="http://schemas.microsoft.com/office/drawing/2014/main" id="{8CCBFE6A-A51E-44E7-BCE5-DACF48A5FAEB}"/>
                </a:ext>
              </a:extLst>
            </p:cNvPr>
            <p:cNvSpPr/>
            <p:nvPr/>
          </p:nvSpPr>
          <p:spPr>
            <a:xfrm>
              <a:off x="193819" y="2711059"/>
              <a:ext cx="5475461"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0" name="Rektangel 9" descr="Database">
              <a:extLst>
                <a:ext uri="{FF2B5EF4-FFF2-40B4-BE49-F238E27FC236}">
                  <a16:creationId xmlns:a16="http://schemas.microsoft.com/office/drawing/2014/main" id="{81163A3D-9735-42B0-8654-B5848ABCEC9B}"/>
                </a:ext>
              </a:extLst>
            </p:cNvPr>
            <p:cNvSpPr/>
            <p:nvPr/>
          </p:nvSpPr>
          <p:spPr>
            <a:xfrm>
              <a:off x="464383" y="2842226"/>
              <a:ext cx="320631" cy="320631"/>
            </a:xfrm>
            <a:prstGeom prst="rect">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1" name="Frihåndsform: figur 10">
              <a:extLst>
                <a:ext uri="{FF2B5EF4-FFF2-40B4-BE49-F238E27FC236}">
                  <a16:creationId xmlns:a16="http://schemas.microsoft.com/office/drawing/2014/main" id="{0B487934-E922-4327-BCF1-8FCCB99D4607}"/>
                </a:ext>
              </a:extLst>
            </p:cNvPr>
            <p:cNvSpPr/>
            <p:nvPr/>
          </p:nvSpPr>
          <p:spPr>
            <a:xfrm>
              <a:off x="961362" y="2711059"/>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nb-NO" sz="1900" kern="1200"/>
                <a:t>Data som produkt</a:t>
              </a:r>
              <a:endParaRPr lang="en-US" sz="1900" kern="1200"/>
            </a:p>
          </p:txBody>
        </p:sp>
        <p:sp>
          <p:nvSpPr>
            <p:cNvPr id="12" name="Rektangel: avrundede hjørner 11">
              <a:extLst>
                <a:ext uri="{FF2B5EF4-FFF2-40B4-BE49-F238E27FC236}">
                  <a16:creationId xmlns:a16="http://schemas.microsoft.com/office/drawing/2014/main" id="{F0B17AB6-C943-4D72-AAE7-C68D78B08274}"/>
                </a:ext>
              </a:extLst>
            </p:cNvPr>
            <p:cNvSpPr/>
            <p:nvPr/>
          </p:nvSpPr>
          <p:spPr>
            <a:xfrm>
              <a:off x="193819" y="3439767"/>
              <a:ext cx="5475461"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3" name="Rektangel 12" descr="Datamaskin">
              <a:extLst>
                <a:ext uri="{FF2B5EF4-FFF2-40B4-BE49-F238E27FC236}">
                  <a16:creationId xmlns:a16="http://schemas.microsoft.com/office/drawing/2014/main" id="{D141A98A-01CF-4597-8AE5-EAFF26523E7A}"/>
                </a:ext>
              </a:extLst>
            </p:cNvPr>
            <p:cNvSpPr/>
            <p:nvPr/>
          </p:nvSpPr>
          <p:spPr>
            <a:xfrm>
              <a:off x="464383" y="3570935"/>
              <a:ext cx="320631" cy="320631"/>
            </a:xfrm>
            <a:prstGeom prst="rect">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4" name="Frihåndsform: figur 13">
              <a:extLst>
                <a:ext uri="{FF2B5EF4-FFF2-40B4-BE49-F238E27FC236}">
                  <a16:creationId xmlns:a16="http://schemas.microsoft.com/office/drawing/2014/main" id="{3CD95500-6824-43F3-BC70-1935D2230ED3}"/>
                </a:ext>
              </a:extLst>
            </p:cNvPr>
            <p:cNvSpPr/>
            <p:nvPr/>
          </p:nvSpPr>
          <p:spPr>
            <a:xfrm>
              <a:off x="961362" y="3439767"/>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nb-NO" sz="1900" kern="1200"/>
                <a:t>Selvbetjent </a:t>
              </a:r>
              <a:r>
                <a:rPr lang="nb-NO" sz="1900" kern="1200" err="1"/>
                <a:t>datamarkedplass</a:t>
              </a:r>
              <a:r>
                <a:rPr lang="nb-NO" sz="1900" kern="1200"/>
                <a:t> (datakatalog)</a:t>
              </a:r>
              <a:endParaRPr lang="en-US" sz="1900" kern="1200"/>
            </a:p>
          </p:txBody>
        </p:sp>
        <p:sp>
          <p:nvSpPr>
            <p:cNvPr id="15" name="Rektangel: avrundede hjørner 14">
              <a:extLst>
                <a:ext uri="{FF2B5EF4-FFF2-40B4-BE49-F238E27FC236}">
                  <a16:creationId xmlns:a16="http://schemas.microsoft.com/office/drawing/2014/main" id="{216EE355-34F2-4379-8C31-1830B72DBEC9}"/>
                </a:ext>
              </a:extLst>
            </p:cNvPr>
            <p:cNvSpPr/>
            <p:nvPr/>
          </p:nvSpPr>
          <p:spPr>
            <a:xfrm>
              <a:off x="193819" y="4168476"/>
              <a:ext cx="5475461"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16" name="Rektangel 15" descr="Avmerking">
              <a:extLst>
                <a:ext uri="{FF2B5EF4-FFF2-40B4-BE49-F238E27FC236}">
                  <a16:creationId xmlns:a16="http://schemas.microsoft.com/office/drawing/2014/main" id="{1D1F6D39-8877-4871-8801-79E84F4CE569}"/>
                </a:ext>
              </a:extLst>
            </p:cNvPr>
            <p:cNvSpPr/>
            <p:nvPr/>
          </p:nvSpPr>
          <p:spPr>
            <a:xfrm>
              <a:off x="464383" y="4299644"/>
              <a:ext cx="320631" cy="320631"/>
            </a:xfrm>
            <a:prstGeom prst="rect">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7" name="Frihåndsform: figur 16">
              <a:extLst>
                <a:ext uri="{FF2B5EF4-FFF2-40B4-BE49-F238E27FC236}">
                  <a16:creationId xmlns:a16="http://schemas.microsoft.com/office/drawing/2014/main" id="{F51665B1-E5B4-4684-B95A-24D846E16CC2}"/>
                </a:ext>
              </a:extLst>
            </p:cNvPr>
            <p:cNvSpPr/>
            <p:nvPr/>
          </p:nvSpPr>
          <p:spPr>
            <a:xfrm>
              <a:off x="961362" y="4168476"/>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nb-NO" sz="1900" kern="1200"/>
                <a:t>Innebygd </a:t>
              </a:r>
              <a:r>
                <a:rPr lang="nb-NO" sz="1900"/>
                <a:t>ansvarliggjøring og styring</a:t>
              </a:r>
              <a:endParaRPr lang="en-US" sz="1900" kern="1200"/>
            </a:p>
          </p:txBody>
        </p:sp>
      </p:grpSp>
      <p:grpSp>
        <p:nvGrpSpPr>
          <p:cNvPr id="18" name="Gruppe 17">
            <a:extLst>
              <a:ext uri="{FF2B5EF4-FFF2-40B4-BE49-F238E27FC236}">
                <a16:creationId xmlns:a16="http://schemas.microsoft.com/office/drawing/2014/main" id="{7C73D4C2-B8DE-4D11-A119-FAEC02957BEB}"/>
              </a:ext>
            </a:extLst>
          </p:cNvPr>
          <p:cNvGrpSpPr/>
          <p:nvPr/>
        </p:nvGrpSpPr>
        <p:grpSpPr>
          <a:xfrm>
            <a:off x="48820" y="1848678"/>
            <a:ext cx="3237720" cy="2770243"/>
            <a:chOff x="241709" y="1981200"/>
            <a:chExt cx="5600972" cy="2770243"/>
          </a:xfrm>
        </p:grpSpPr>
        <p:sp>
          <p:nvSpPr>
            <p:cNvPr id="19" name="Rektangel: avrundede hjørner 18">
              <a:extLst>
                <a:ext uri="{FF2B5EF4-FFF2-40B4-BE49-F238E27FC236}">
                  <a16:creationId xmlns:a16="http://schemas.microsoft.com/office/drawing/2014/main" id="{39E151AA-20A5-4D22-9A07-DBAE45ED4A39}"/>
                </a:ext>
              </a:extLst>
            </p:cNvPr>
            <p:cNvSpPr/>
            <p:nvPr/>
          </p:nvSpPr>
          <p:spPr>
            <a:xfrm>
              <a:off x="288038" y="1981200"/>
              <a:ext cx="5334917"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1" name="Frihåndsform: figur 20">
              <a:extLst>
                <a:ext uri="{FF2B5EF4-FFF2-40B4-BE49-F238E27FC236}">
                  <a16:creationId xmlns:a16="http://schemas.microsoft.com/office/drawing/2014/main" id="{CFEBADE6-0711-4C93-B9C4-7A181FC7F21B}"/>
                </a:ext>
              </a:extLst>
            </p:cNvPr>
            <p:cNvSpPr/>
            <p:nvPr/>
          </p:nvSpPr>
          <p:spPr>
            <a:xfrm>
              <a:off x="1134764" y="2032413"/>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endParaRPr lang="en-US" sz="1900" kern="1200"/>
            </a:p>
          </p:txBody>
        </p:sp>
        <p:sp>
          <p:nvSpPr>
            <p:cNvPr id="22" name="Rektangel: avrundede hjørner 21">
              <a:extLst>
                <a:ext uri="{FF2B5EF4-FFF2-40B4-BE49-F238E27FC236}">
                  <a16:creationId xmlns:a16="http://schemas.microsoft.com/office/drawing/2014/main" id="{3FE07AA5-A354-44B0-B193-A7BEC2864EDC}"/>
                </a:ext>
              </a:extLst>
            </p:cNvPr>
            <p:cNvSpPr/>
            <p:nvPr/>
          </p:nvSpPr>
          <p:spPr>
            <a:xfrm>
              <a:off x="241709" y="2719072"/>
              <a:ext cx="5381244"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Frihåndsform: figur 23">
              <a:extLst>
                <a:ext uri="{FF2B5EF4-FFF2-40B4-BE49-F238E27FC236}">
                  <a16:creationId xmlns:a16="http://schemas.microsoft.com/office/drawing/2014/main" id="{E226EFAC-4232-4809-9280-FD0A928B6E50}"/>
                </a:ext>
              </a:extLst>
            </p:cNvPr>
            <p:cNvSpPr/>
            <p:nvPr/>
          </p:nvSpPr>
          <p:spPr>
            <a:xfrm>
              <a:off x="961362" y="2711059"/>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en-US" sz="1900" kern="1200"/>
                <a:t>Dat</a:t>
              </a:r>
              <a:r>
                <a:rPr lang="en-US" sz="1900"/>
                <a:t>a </a:t>
              </a:r>
              <a:r>
                <a:rPr lang="en-US" sz="1900" err="1"/>
                <a:t>som</a:t>
              </a:r>
              <a:r>
                <a:rPr lang="en-US" sz="1900"/>
                <a:t> bi-</a:t>
              </a:r>
              <a:r>
                <a:rPr lang="en-US" sz="1900" err="1"/>
                <a:t>produkt</a:t>
              </a:r>
              <a:endParaRPr lang="en-US" sz="1900" kern="1200"/>
            </a:p>
          </p:txBody>
        </p:sp>
        <p:sp>
          <p:nvSpPr>
            <p:cNvPr id="25" name="Rektangel: avrundede hjørner 24">
              <a:extLst>
                <a:ext uri="{FF2B5EF4-FFF2-40B4-BE49-F238E27FC236}">
                  <a16:creationId xmlns:a16="http://schemas.microsoft.com/office/drawing/2014/main" id="{8177F5A9-8767-4337-8001-DD89A1BBD5DD}"/>
                </a:ext>
              </a:extLst>
            </p:cNvPr>
            <p:cNvSpPr/>
            <p:nvPr/>
          </p:nvSpPr>
          <p:spPr>
            <a:xfrm>
              <a:off x="288038" y="3439767"/>
              <a:ext cx="5334917"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8" name="Rektangel: avrundede hjørner 27">
              <a:extLst>
                <a:ext uri="{FF2B5EF4-FFF2-40B4-BE49-F238E27FC236}">
                  <a16:creationId xmlns:a16="http://schemas.microsoft.com/office/drawing/2014/main" id="{145B4555-A746-442D-9CBF-B9EA233D47B9}"/>
                </a:ext>
              </a:extLst>
            </p:cNvPr>
            <p:cNvSpPr/>
            <p:nvPr/>
          </p:nvSpPr>
          <p:spPr>
            <a:xfrm>
              <a:off x="288038" y="4168476"/>
              <a:ext cx="5334917" cy="582967"/>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0" name="Frihåndsform: figur 29">
              <a:extLst>
                <a:ext uri="{FF2B5EF4-FFF2-40B4-BE49-F238E27FC236}">
                  <a16:creationId xmlns:a16="http://schemas.microsoft.com/office/drawing/2014/main" id="{A30E3C78-52EB-4347-B182-86E1CF352725}"/>
                </a:ext>
              </a:extLst>
            </p:cNvPr>
            <p:cNvSpPr/>
            <p:nvPr/>
          </p:nvSpPr>
          <p:spPr>
            <a:xfrm>
              <a:off x="961362" y="4168476"/>
              <a:ext cx="4707917"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endParaRPr lang="en-US" sz="1900" kern="1200"/>
            </a:p>
          </p:txBody>
        </p:sp>
      </p:grpSp>
      <p:sp>
        <p:nvSpPr>
          <p:cNvPr id="31" name="Frihåndsform: figur 30">
            <a:extLst>
              <a:ext uri="{FF2B5EF4-FFF2-40B4-BE49-F238E27FC236}">
                <a16:creationId xmlns:a16="http://schemas.microsoft.com/office/drawing/2014/main" id="{DA82C38A-AFBB-4A36-961C-87E0F2FAE71D}"/>
              </a:ext>
            </a:extLst>
          </p:cNvPr>
          <p:cNvSpPr/>
          <p:nvPr/>
        </p:nvSpPr>
        <p:spPr>
          <a:xfrm>
            <a:off x="281026" y="3269739"/>
            <a:ext cx="2876565" cy="565082"/>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en-US" sz="1900"/>
              <a:t>Data </a:t>
            </a:r>
            <a:r>
              <a:rPr lang="en-US" sz="1900" err="1"/>
              <a:t>innelåst</a:t>
            </a:r>
            <a:r>
              <a:rPr lang="en-US" sz="1900"/>
              <a:t> </a:t>
            </a:r>
            <a:r>
              <a:rPr lang="en-US" sz="1900" err="1"/>
              <a:t>i</a:t>
            </a:r>
            <a:r>
              <a:rPr lang="en-US" sz="1900"/>
              <a:t> </a:t>
            </a:r>
            <a:r>
              <a:rPr lang="en-US" sz="1900" err="1"/>
              <a:t>monolitter</a:t>
            </a:r>
            <a:endParaRPr lang="en-US" sz="1900" kern="1200"/>
          </a:p>
        </p:txBody>
      </p:sp>
      <p:sp>
        <p:nvSpPr>
          <p:cNvPr id="32" name="Frihåndsform: figur 31">
            <a:extLst>
              <a:ext uri="{FF2B5EF4-FFF2-40B4-BE49-F238E27FC236}">
                <a16:creationId xmlns:a16="http://schemas.microsoft.com/office/drawing/2014/main" id="{816DD3DB-3C11-42BA-A3E3-B3A9B5FF7766}"/>
              </a:ext>
            </a:extLst>
          </p:cNvPr>
          <p:cNvSpPr/>
          <p:nvPr/>
        </p:nvSpPr>
        <p:spPr>
          <a:xfrm>
            <a:off x="281026" y="1857620"/>
            <a:ext cx="2876565" cy="565082"/>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en-US" sz="1900" kern="1200" err="1"/>
              <a:t>Sentralisert</a:t>
            </a:r>
            <a:r>
              <a:rPr lang="en-US" sz="1900" kern="1200"/>
              <a:t> </a:t>
            </a:r>
            <a:r>
              <a:rPr lang="en-US" sz="1900" kern="1200" err="1"/>
              <a:t>organisering</a:t>
            </a:r>
            <a:endParaRPr lang="en-US" sz="1900" kern="1200"/>
          </a:p>
        </p:txBody>
      </p:sp>
      <p:sp>
        <p:nvSpPr>
          <p:cNvPr id="34" name="Tittel 33">
            <a:extLst>
              <a:ext uri="{FF2B5EF4-FFF2-40B4-BE49-F238E27FC236}">
                <a16:creationId xmlns:a16="http://schemas.microsoft.com/office/drawing/2014/main" id="{76D5D902-791B-4BCE-901F-6BA4EFE3C608}"/>
              </a:ext>
            </a:extLst>
          </p:cNvPr>
          <p:cNvSpPr>
            <a:spLocks noGrp="1"/>
          </p:cNvSpPr>
          <p:nvPr>
            <p:ph type="title"/>
          </p:nvPr>
        </p:nvSpPr>
        <p:spPr>
          <a:xfrm>
            <a:off x="140428" y="1331023"/>
            <a:ext cx="8371046" cy="512448"/>
          </a:xfrm>
        </p:spPr>
        <p:txBody>
          <a:bodyPr>
            <a:normAutofit/>
          </a:bodyPr>
          <a:lstStyle/>
          <a:p>
            <a:r>
              <a:rPr lang="nb-NO" sz="2800"/>
              <a:t>Fra</a:t>
            </a:r>
            <a:endParaRPr lang="nb-NO" sz="3600"/>
          </a:p>
        </p:txBody>
      </p:sp>
      <p:sp>
        <p:nvSpPr>
          <p:cNvPr id="36" name="Tittel 33">
            <a:extLst>
              <a:ext uri="{FF2B5EF4-FFF2-40B4-BE49-F238E27FC236}">
                <a16:creationId xmlns:a16="http://schemas.microsoft.com/office/drawing/2014/main" id="{0634A380-6540-46D5-A6AE-C68A9A783BD3}"/>
              </a:ext>
            </a:extLst>
          </p:cNvPr>
          <p:cNvSpPr txBox="1">
            <a:spLocks/>
          </p:cNvSpPr>
          <p:nvPr/>
        </p:nvSpPr>
        <p:spPr>
          <a:xfrm>
            <a:off x="3651578" y="1342856"/>
            <a:ext cx="8371046" cy="512448"/>
          </a:xfrm>
          <a:prstGeom prst="rect">
            <a:avLst/>
          </a:prstGeom>
        </p:spPr>
        <p:txBody>
          <a:bodyPr vert="horz" wrap="square" lIns="0" tIns="0" rIns="0" bIns="0" rtlCol="0" anchor="t" anchorCtr="0">
            <a:normAutofit/>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r>
              <a:rPr lang="nb-NO" sz="2800"/>
              <a:t>Til</a:t>
            </a:r>
          </a:p>
        </p:txBody>
      </p:sp>
      <p:sp>
        <p:nvSpPr>
          <p:cNvPr id="37" name="Pil: høyre 36">
            <a:extLst>
              <a:ext uri="{FF2B5EF4-FFF2-40B4-BE49-F238E27FC236}">
                <a16:creationId xmlns:a16="http://schemas.microsoft.com/office/drawing/2014/main" id="{C296C3A9-2689-4807-A7DC-9F154EA04C70}"/>
              </a:ext>
            </a:extLst>
          </p:cNvPr>
          <p:cNvSpPr/>
          <p:nvPr/>
        </p:nvSpPr>
        <p:spPr>
          <a:xfrm>
            <a:off x="3213231" y="1961343"/>
            <a:ext cx="314334" cy="4093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 name="Pil: høyre 37">
            <a:extLst>
              <a:ext uri="{FF2B5EF4-FFF2-40B4-BE49-F238E27FC236}">
                <a16:creationId xmlns:a16="http://schemas.microsoft.com/office/drawing/2014/main" id="{B13F405A-E342-4C78-98BE-3FC79F958268}"/>
              </a:ext>
            </a:extLst>
          </p:cNvPr>
          <p:cNvSpPr/>
          <p:nvPr/>
        </p:nvSpPr>
        <p:spPr>
          <a:xfrm>
            <a:off x="3219857" y="2700954"/>
            <a:ext cx="314334" cy="4093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9" name="Pil: høyre 38">
            <a:extLst>
              <a:ext uri="{FF2B5EF4-FFF2-40B4-BE49-F238E27FC236}">
                <a16:creationId xmlns:a16="http://schemas.microsoft.com/office/drawing/2014/main" id="{3591215A-980D-4C0E-9227-62B5FC6897C7}"/>
              </a:ext>
            </a:extLst>
          </p:cNvPr>
          <p:cNvSpPr/>
          <p:nvPr/>
        </p:nvSpPr>
        <p:spPr>
          <a:xfrm>
            <a:off x="3219857" y="3417030"/>
            <a:ext cx="314334" cy="4093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Pil: høyre 39">
            <a:extLst>
              <a:ext uri="{FF2B5EF4-FFF2-40B4-BE49-F238E27FC236}">
                <a16:creationId xmlns:a16="http://schemas.microsoft.com/office/drawing/2014/main" id="{9F592B46-E972-40F2-B241-A4FD216BF33F}"/>
              </a:ext>
            </a:extLst>
          </p:cNvPr>
          <p:cNvSpPr/>
          <p:nvPr/>
        </p:nvSpPr>
        <p:spPr>
          <a:xfrm>
            <a:off x="3213231" y="4106570"/>
            <a:ext cx="314334" cy="4093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1" name="Frihåndsform: figur 40">
            <a:extLst>
              <a:ext uri="{FF2B5EF4-FFF2-40B4-BE49-F238E27FC236}">
                <a16:creationId xmlns:a16="http://schemas.microsoft.com/office/drawing/2014/main" id="{5D6C7EB1-F801-448D-B7B2-CC5993CCE87A}"/>
              </a:ext>
            </a:extLst>
          </p:cNvPr>
          <p:cNvSpPr/>
          <p:nvPr/>
        </p:nvSpPr>
        <p:spPr>
          <a:xfrm>
            <a:off x="91583" y="4038614"/>
            <a:ext cx="4725282" cy="582967"/>
          </a:xfrm>
          <a:custGeom>
            <a:avLst/>
            <a:gdLst>
              <a:gd name="connsiteX0" fmla="*/ 0 w 4707917"/>
              <a:gd name="connsiteY0" fmla="*/ 0 h 582967"/>
              <a:gd name="connsiteX1" fmla="*/ 4707917 w 4707917"/>
              <a:gd name="connsiteY1" fmla="*/ 0 h 582967"/>
              <a:gd name="connsiteX2" fmla="*/ 4707917 w 4707917"/>
              <a:gd name="connsiteY2" fmla="*/ 582967 h 582967"/>
              <a:gd name="connsiteX3" fmla="*/ 0 w 4707917"/>
              <a:gd name="connsiteY3" fmla="*/ 582967 h 582967"/>
              <a:gd name="connsiteX4" fmla="*/ 0 w 4707917"/>
              <a:gd name="connsiteY4" fmla="*/ 0 h 5829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07917" h="582967">
                <a:moveTo>
                  <a:pt x="0" y="0"/>
                </a:moveTo>
                <a:lnTo>
                  <a:pt x="4707917" y="0"/>
                </a:lnTo>
                <a:lnTo>
                  <a:pt x="4707917" y="582967"/>
                </a:lnTo>
                <a:lnTo>
                  <a:pt x="0" y="58296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1697" tIns="61697" rIns="61697" bIns="61697" numCol="1" spcCol="1270" anchor="ctr" anchorCtr="0">
            <a:noAutofit/>
          </a:bodyPr>
          <a:lstStyle/>
          <a:p>
            <a:pPr marL="0" lvl="0" indent="0" algn="l" defTabSz="844550">
              <a:lnSpc>
                <a:spcPct val="90000"/>
              </a:lnSpc>
              <a:spcBef>
                <a:spcPct val="0"/>
              </a:spcBef>
              <a:spcAft>
                <a:spcPct val="35000"/>
              </a:spcAft>
              <a:buNone/>
            </a:pPr>
            <a:r>
              <a:rPr lang="nb-NO" sz="1900" dirty="0"/>
              <a:t>Etterlevelsekrav «fra oven»</a:t>
            </a:r>
            <a:endParaRPr lang="en-US" sz="1900" kern="1200" dirty="0"/>
          </a:p>
        </p:txBody>
      </p:sp>
    </p:spTree>
    <p:extLst>
      <p:ext uri="{BB962C8B-B14F-4D97-AF65-F5344CB8AC3E}">
        <p14:creationId xmlns:p14="http://schemas.microsoft.com/office/powerpoint/2010/main" val="10696621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kstSylinder 12">
            <a:extLst>
              <a:ext uri="{FF2B5EF4-FFF2-40B4-BE49-F238E27FC236}">
                <a16:creationId xmlns:a16="http://schemas.microsoft.com/office/drawing/2014/main" id="{CC9BC73A-DDDA-458B-978B-44308A499874}"/>
              </a:ext>
            </a:extLst>
          </p:cNvPr>
          <p:cNvSpPr txBox="1"/>
          <p:nvPr/>
        </p:nvSpPr>
        <p:spPr>
          <a:xfrm>
            <a:off x="597559" y="1942403"/>
            <a:ext cx="3834671" cy="2680175"/>
          </a:xfrm>
          <a:prstGeom prst="rect">
            <a:avLst/>
          </a:prstGeom>
        </p:spPr>
        <p:txBody>
          <a:bodyPr vert="horz" lIns="0" tIns="0" rIns="0" bIns="0" rtlCol="0">
            <a:normAutofit/>
          </a:bodyPr>
          <a:lstStyle/>
          <a:p>
            <a:pPr defTabSz="681171">
              <a:lnSpc>
                <a:spcPct val="90000"/>
              </a:lnSpc>
              <a:spcAft>
                <a:spcPts val="447"/>
              </a:spcAft>
            </a:pPr>
            <a:r>
              <a:rPr lang="nb-NO" sz="1788" b="1">
                <a:solidFill>
                  <a:prstClr val="black"/>
                </a:solidFill>
                <a:latin typeface="Arial"/>
              </a:rPr>
              <a:t>Datasett som er forvaltet med: </a:t>
            </a:r>
          </a:p>
          <a:p>
            <a:pPr marL="340509" indent="-340509" defTabSz="681171">
              <a:lnSpc>
                <a:spcPct val="90000"/>
              </a:lnSpc>
              <a:spcAft>
                <a:spcPts val="447"/>
              </a:spcAft>
              <a:buFont typeface="Arial" panose="020B0604020202020204" pitchFamily="34" charset="0"/>
              <a:buChar char="•"/>
            </a:pPr>
            <a:r>
              <a:rPr lang="nb-NO" sz="1788">
                <a:solidFill>
                  <a:prstClr val="black"/>
                </a:solidFill>
                <a:latin typeface="Arial"/>
              </a:rPr>
              <a:t>Tydelig formål</a:t>
            </a:r>
          </a:p>
          <a:p>
            <a:pPr marL="340509" indent="-340509" defTabSz="681171">
              <a:lnSpc>
                <a:spcPct val="90000"/>
              </a:lnSpc>
              <a:spcAft>
                <a:spcPts val="447"/>
              </a:spcAft>
              <a:buFont typeface="Arial" panose="020B0604020202020204" pitchFamily="34" charset="0"/>
              <a:buChar char="•"/>
            </a:pPr>
            <a:r>
              <a:rPr lang="nb-NO" sz="1788">
                <a:solidFill>
                  <a:prstClr val="black"/>
                </a:solidFill>
                <a:latin typeface="Arial"/>
              </a:rPr>
              <a:t>Kjent kvalitet</a:t>
            </a:r>
          </a:p>
          <a:p>
            <a:pPr marL="340509" indent="-340509" defTabSz="681171">
              <a:lnSpc>
                <a:spcPct val="90000"/>
              </a:lnSpc>
              <a:spcAft>
                <a:spcPts val="447"/>
              </a:spcAft>
              <a:buFont typeface="Arial" panose="020B0604020202020204" pitchFamily="34" charset="0"/>
              <a:buChar char="•"/>
            </a:pPr>
            <a:r>
              <a:rPr lang="nb-NO" sz="1788">
                <a:solidFill>
                  <a:prstClr val="black"/>
                </a:solidFill>
                <a:latin typeface="Arial"/>
              </a:rPr>
              <a:t>Gode beskrivelser som gjør dataene</a:t>
            </a:r>
          </a:p>
          <a:p>
            <a:pPr defTabSz="681171">
              <a:lnSpc>
                <a:spcPct val="90000"/>
              </a:lnSpc>
              <a:spcAft>
                <a:spcPts val="447"/>
              </a:spcAft>
              <a:buFont typeface="Arial" panose="020B0604020202020204" pitchFamily="34" charset="0"/>
              <a:buChar char="•"/>
            </a:pPr>
            <a:r>
              <a:rPr lang="nb-NO" sz="1788">
                <a:solidFill>
                  <a:prstClr val="black"/>
                </a:solidFill>
                <a:latin typeface="Arial"/>
              </a:rPr>
              <a:t>    Lette å anvende</a:t>
            </a:r>
          </a:p>
        </p:txBody>
      </p:sp>
      <p:sp>
        <p:nvSpPr>
          <p:cNvPr id="23" name="Tittel 1"/>
          <p:cNvSpPr txBox="1">
            <a:spLocks/>
          </p:cNvSpPr>
          <p:nvPr/>
        </p:nvSpPr>
        <p:spPr>
          <a:xfrm>
            <a:off x="1035709" y="333597"/>
            <a:ext cx="8597786" cy="534740"/>
          </a:xfrm>
          <a:prstGeom prst="rect">
            <a:avLst/>
          </a:prstGeom>
        </p:spPr>
        <p:txBody>
          <a:bodyPr vert="horz" lIns="0" tIns="0" rIns="0" bIns="0" rtlCol="0" anchor="t" anchorCtr="0">
            <a:normAutofit/>
          </a:bodyPr>
          <a:lstStyle>
            <a:lvl1pPr algn="l" defTabSz="681091" rtl="0" eaLnBrk="1" latinLnBrk="0" hangingPunct="1">
              <a:lnSpc>
                <a:spcPct val="90000"/>
              </a:lnSpc>
              <a:spcBef>
                <a:spcPct val="0"/>
              </a:spcBef>
              <a:buNone/>
              <a:defRPr sz="4500" b="1" kern="1200">
                <a:solidFill>
                  <a:schemeClr val="tx1"/>
                </a:solidFill>
                <a:latin typeface="+mj-lt"/>
                <a:ea typeface="+mj-ea"/>
                <a:cs typeface="+mj-cs"/>
              </a:defRPr>
            </a:lvl1pPr>
          </a:lstStyle>
          <a:p>
            <a:pPr defTabSz="681171">
              <a:spcAft>
                <a:spcPts val="447"/>
              </a:spcAft>
              <a:defRPr/>
            </a:pPr>
            <a:r>
              <a:rPr lang="nb-NO" sz="2831" dirty="0">
                <a:solidFill>
                  <a:prstClr val="black"/>
                </a:solidFill>
                <a:latin typeface="Arial"/>
              </a:rPr>
              <a:t>Dataprodukter – data som «vare» (produkt)</a:t>
            </a:r>
          </a:p>
        </p:txBody>
      </p:sp>
      <p:graphicFrame>
        <p:nvGraphicFramePr>
          <p:cNvPr id="5" name="Plassholder for innhold 15">
            <a:extLst>
              <a:ext uri="{FF2B5EF4-FFF2-40B4-BE49-F238E27FC236}">
                <a16:creationId xmlns:a16="http://schemas.microsoft.com/office/drawing/2014/main" id="{A94DA17C-D850-6BED-9492-24F6F4B87CB3}"/>
              </a:ext>
            </a:extLst>
          </p:cNvPr>
          <p:cNvGraphicFramePr>
            <a:graphicFrameLocks noGrp="1"/>
          </p:cNvGraphicFramePr>
          <p:nvPr>
            <p:ph idx="1"/>
          </p:nvPr>
        </p:nvGraphicFramePr>
        <p:xfrm>
          <a:off x="4572794" y="1775863"/>
          <a:ext cx="3825519" cy="31715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kstSylinder 3">
            <a:extLst>
              <a:ext uri="{FF2B5EF4-FFF2-40B4-BE49-F238E27FC236}">
                <a16:creationId xmlns:a16="http://schemas.microsoft.com/office/drawing/2014/main" id="{605930A9-7C8E-EF7E-486E-5E52F9943170}"/>
              </a:ext>
            </a:extLst>
          </p:cNvPr>
          <p:cNvSpPr txBox="1"/>
          <p:nvPr/>
        </p:nvSpPr>
        <p:spPr>
          <a:xfrm>
            <a:off x="4644075" y="1235561"/>
            <a:ext cx="3825519" cy="550920"/>
          </a:xfrm>
          <a:prstGeom prst="rect">
            <a:avLst/>
          </a:prstGeom>
          <a:noFill/>
        </p:spPr>
        <p:txBody>
          <a:bodyPr wrap="square" rtlCol="0">
            <a:spAutoFit/>
          </a:bodyPr>
          <a:lstStyle/>
          <a:p>
            <a:pPr defTabSz="170284"/>
            <a:r>
              <a:rPr lang="nb-NO" sz="1490" b="1">
                <a:solidFill>
                  <a:prstClr val="black"/>
                </a:solidFill>
                <a:latin typeface="Arial"/>
              </a:rPr>
              <a:t>Ansvarsområder som må ivaretas for hvert dataprodukt</a:t>
            </a:r>
          </a:p>
        </p:txBody>
      </p:sp>
    </p:spTree>
    <p:extLst>
      <p:ext uri="{BB962C8B-B14F-4D97-AF65-F5344CB8AC3E}">
        <p14:creationId xmlns:p14="http://schemas.microsoft.com/office/powerpoint/2010/main" val="15162989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Ellipse 21">
            <a:extLst>
              <a:ext uri="{FF2B5EF4-FFF2-40B4-BE49-F238E27FC236}">
                <a16:creationId xmlns:a16="http://schemas.microsoft.com/office/drawing/2014/main" id="{C7478108-86A7-4314-F8D4-32A34C9B7BC8}"/>
              </a:ext>
            </a:extLst>
          </p:cNvPr>
          <p:cNvSpPr/>
          <p:nvPr/>
        </p:nvSpPr>
        <p:spPr>
          <a:xfrm>
            <a:off x="6965874" y="2529193"/>
            <a:ext cx="1954398" cy="66057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b="1">
                <a:solidFill>
                  <a:schemeClr val="tx1"/>
                </a:solidFill>
              </a:rPr>
              <a:t>Informasjons-forvaltning</a:t>
            </a:r>
          </a:p>
        </p:txBody>
      </p:sp>
      <p:pic>
        <p:nvPicPr>
          <p:cNvPr id="5" name="Bilde 4">
            <a:extLst>
              <a:ext uri="{FF2B5EF4-FFF2-40B4-BE49-F238E27FC236}">
                <a16:creationId xmlns:a16="http://schemas.microsoft.com/office/drawing/2014/main" id="{1AC3DE99-0148-A723-6C5F-E79F7AD4D5FC}"/>
              </a:ext>
            </a:extLst>
          </p:cNvPr>
          <p:cNvPicPr>
            <a:picLocks noChangeAspect="1"/>
          </p:cNvPicPr>
          <p:nvPr/>
        </p:nvPicPr>
        <p:blipFill>
          <a:blip r:embed="rId2"/>
          <a:stretch>
            <a:fillRect/>
          </a:stretch>
        </p:blipFill>
        <p:spPr>
          <a:xfrm>
            <a:off x="227290" y="824626"/>
            <a:ext cx="2040896" cy="1139915"/>
          </a:xfrm>
          <a:prstGeom prst="rect">
            <a:avLst/>
          </a:prstGeom>
        </p:spPr>
      </p:pic>
      <p:sp>
        <p:nvSpPr>
          <p:cNvPr id="6" name="TekstSylinder 5">
            <a:extLst>
              <a:ext uri="{FF2B5EF4-FFF2-40B4-BE49-F238E27FC236}">
                <a16:creationId xmlns:a16="http://schemas.microsoft.com/office/drawing/2014/main" id="{554EF66F-B74D-F69E-013F-C86553CABE8F}"/>
              </a:ext>
            </a:extLst>
          </p:cNvPr>
          <p:cNvSpPr txBox="1"/>
          <p:nvPr/>
        </p:nvSpPr>
        <p:spPr>
          <a:xfrm>
            <a:off x="1573481" y="599704"/>
            <a:ext cx="583814" cy="307777"/>
          </a:xfrm>
          <a:prstGeom prst="rect">
            <a:avLst/>
          </a:prstGeom>
          <a:noFill/>
        </p:spPr>
        <p:txBody>
          <a:bodyPr wrap="none" rtlCol="0">
            <a:spAutoFit/>
          </a:bodyPr>
          <a:lstStyle/>
          <a:p>
            <a:r>
              <a:rPr lang="nb-NO" b="1"/>
              <a:t>PPL</a:t>
            </a:r>
            <a:r>
              <a:rPr lang="nb-NO"/>
              <a:t> </a:t>
            </a:r>
          </a:p>
        </p:txBody>
      </p:sp>
      <p:pic>
        <p:nvPicPr>
          <p:cNvPr id="8" name="Bilde 7">
            <a:extLst>
              <a:ext uri="{FF2B5EF4-FFF2-40B4-BE49-F238E27FC236}">
                <a16:creationId xmlns:a16="http://schemas.microsoft.com/office/drawing/2014/main" id="{AB17A706-B491-ECDA-56B9-0E7FFBB56683}"/>
              </a:ext>
            </a:extLst>
          </p:cNvPr>
          <p:cNvPicPr>
            <a:picLocks noChangeAspect="1"/>
          </p:cNvPicPr>
          <p:nvPr/>
        </p:nvPicPr>
        <p:blipFill>
          <a:blip r:embed="rId3"/>
          <a:stretch>
            <a:fillRect/>
          </a:stretch>
        </p:blipFill>
        <p:spPr>
          <a:xfrm>
            <a:off x="2411653" y="1123371"/>
            <a:ext cx="293430" cy="353723"/>
          </a:xfrm>
          <a:prstGeom prst="rect">
            <a:avLst/>
          </a:prstGeom>
        </p:spPr>
      </p:pic>
      <p:pic>
        <p:nvPicPr>
          <p:cNvPr id="10" name="Bilde 9">
            <a:extLst>
              <a:ext uri="{FF2B5EF4-FFF2-40B4-BE49-F238E27FC236}">
                <a16:creationId xmlns:a16="http://schemas.microsoft.com/office/drawing/2014/main" id="{986A4DBE-7DFD-557B-B32D-F9E9AB781734}"/>
              </a:ext>
            </a:extLst>
          </p:cNvPr>
          <p:cNvPicPr>
            <a:picLocks noChangeAspect="1"/>
          </p:cNvPicPr>
          <p:nvPr/>
        </p:nvPicPr>
        <p:blipFill>
          <a:blip r:embed="rId4"/>
          <a:stretch>
            <a:fillRect/>
          </a:stretch>
        </p:blipFill>
        <p:spPr>
          <a:xfrm>
            <a:off x="1730435" y="1485284"/>
            <a:ext cx="1949296" cy="849442"/>
          </a:xfrm>
          <a:prstGeom prst="rect">
            <a:avLst/>
          </a:prstGeom>
        </p:spPr>
      </p:pic>
      <p:pic>
        <p:nvPicPr>
          <p:cNvPr id="12" name="Bilde 11">
            <a:extLst>
              <a:ext uri="{FF2B5EF4-FFF2-40B4-BE49-F238E27FC236}">
                <a16:creationId xmlns:a16="http://schemas.microsoft.com/office/drawing/2014/main" id="{DF0C892C-55AA-384A-EB81-29E67AFBBFB7}"/>
              </a:ext>
            </a:extLst>
          </p:cNvPr>
          <p:cNvPicPr>
            <a:picLocks noChangeAspect="1"/>
          </p:cNvPicPr>
          <p:nvPr/>
        </p:nvPicPr>
        <p:blipFill>
          <a:blip r:embed="rId5"/>
          <a:stretch>
            <a:fillRect/>
          </a:stretch>
        </p:blipFill>
        <p:spPr>
          <a:xfrm>
            <a:off x="231965" y="1896367"/>
            <a:ext cx="2179688" cy="985789"/>
          </a:xfrm>
          <a:prstGeom prst="rect">
            <a:avLst/>
          </a:prstGeom>
        </p:spPr>
      </p:pic>
      <p:sp>
        <p:nvSpPr>
          <p:cNvPr id="13" name="TekstSylinder 12">
            <a:extLst>
              <a:ext uri="{FF2B5EF4-FFF2-40B4-BE49-F238E27FC236}">
                <a16:creationId xmlns:a16="http://schemas.microsoft.com/office/drawing/2014/main" id="{1AAF0DF9-7BE7-4902-711E-5B21285ED28F}"/>
              </a:ext>
            </a:extLst>
          </p:cNvPr>
          <p:cNvSpPr txBox="1"/>
          <p:nvPr/>
        </p:nvSpPr>
        <p:spPr>
          <a:xfrm>
            <a:off x="3929028" y="645871"/>
            <a:ext cx="1287532" cy="523220"/>
          </a:xfrm>
          <a:prstGeom prst="rect">
            <a:avLst/>
          </a:prstGeom>
          <a:noFill/>
        </p:spPr>
        <p:txBody>
          <a:bodyPr wrap="none" rtlCol="0">
            <a:spAutoFit/>
          </a:bodyPr>
          <a:lstStyle/>
          <a:p>
            <a:r>
              <a:rPr lang="nb-NO"/>
              <a:t>Brukerdialog</a:t>
            </a:r>
          </a:p>
          <a:p>
            <a:r>
              <a:rPr lang="nb-NO"/>
              <a:t>Fagressurser </a:t>
            </a:r>
          </a:p>
        </p:txBody>
      </p:sp>
      <p:pic>
        <p:nvPicPr>
          <p:cNvPr id="15" name="Bilde 14">
            <a:extLst>
              <a:ext uri="{FF2B5EF4-FFF2-40B4-BE49-F238E27FC236}">
                <a16:creationId xmlns:a16="http://schemas.microsoft.com/office/drawing/2014/main" id="{2FEFCE3F-6239-86D3-AEF3-213F5D5FF737}"/>
              </a:ext>
            </a:extLst>
          </p:cNvPr>
          <p:cNvPicPr>
            <a:picLocks noChangeAspect="1"/>
          </p:cNvPicPr>
          <p:nvPr/>
        </p:nvPicPr>
        <p:blipFill>
          <a:blip r:embed="rId6"/>
          <a:stretch>
            <a:fillRect/>
          </a:stretch>
        </p:blipFill>
        <p:spPr>
          <a:xfrm>
            <a:off x="6626386" y="1607061"/>
            <a:ext cx="2119791" cy="714959"/>
          </a:xfrm>
          <a:prstGeom prst="rect">
            <a:avLst/>
          </a:prstGeom>
        </p:spPr>
      </p:pic>
      <p:pic>
        <p:nvPicPr>
          <p:cNvPr id="16" name="Bilde 15">
            <a:extLst>
              <a:ext uri="{FF2B5EF4-FFF2-40B4-BE49-F238E27FC236}">
                <a16:creationId xmlns:a16="http://schemas.microsoft.com/office/drawing/2014/main" id="{5E017A5F-9694-0BF8-E85F-0231EB9AB93C}"/>
              </a:ext>
            </a:extLst>
          </p:cNvPr>
          <p:cNvPicPr>
            <a:picLocks noChangeAspect="1"/>
          </p:cNvPicPr>
          <p:nvPr/>
        </p:nvPicPr>
        <p:blipFill>
          <a:blip r:embed="rId7"/>
          <a:stretch>
            <a:fillRect/>
          </a:stretch>
        </p:blipFill>
        <p:spPr>
          <a:xfrm>
            <a:off x="1636756" y="3295870"/>
            <a:ext cx="6836290" cy="1378667"/>
          </a:xfrm>
          <a:prstGeom prst="rect">
            <a:avLst/>
          </a:prstGeom>
        </p:spPr>
      </p:pic>
      <p:sp>
        <p:nvSpPr>
          <p:cNvPr id="17" name="TekstSylinder 16">
            <a:extLst>
              <a:ext uri="{FF2B5EF4-FFF2-40B4-BE49-F238E27FC236}">
                <a16:creationId xmlns:a16="http://schemas.microsoft.com/office/drawing/2014/main" id="{937F17C1-3751-354D-F37F-75DACDD0E065}"/>
              </a:ext>
            </a:extLst>
          </p:cNvPr>
          <p:cNvSpPr txBox="1"/>
          <p:nvPr/>
        </p:nvSpPr>
        <p:spPr>
          <a:xfrm>
            <a:off x="6827709" y="1032123"/>
            <a:ext cx="1289135" cy="523220"/>
          </a:xfrm>
          <a:prstGeom prst="rect">
            <a:avLst/>
          </a:prstGeom>
          <a:noFill/>
        </p:spPr>
        <p:txBody>
          <a:bodyPr wrap="none" rtlCol="0">
            <a:spAutoFit/>
          </a:bodyPr>
          <a:lstStyle/>
          <a:p>
            <a:pPr algn="ctr"/>
            <a:r>
              <a:rPr lang="nb-NO" b="1" dirty="0"/>
              <a:t>Brukerdialog</a:t>
            </a:r>
          </a:p>
          <a:p>
            <a:pPr algn="ctr"/>
            <a:r>
              <a:rPr lang="nb-NO" b="1" dirty="0"/>
              <a:t>Analyse</a:t>
            </a:r>
          </a:p>
        </p:txBody>
      </p:sp>
      <p:sp>
        <p:nvSpPr>
          <p:cNvPr id="18" name="Ellipse 17">
            <a:extLst>
              <a:ext uri="{FF2B5EF4-FFF2-40B4-BE49-F238E27FC236}">
                <a16:creationId xmlns:a16="http://schemas.microsoft.com/office/drawing/2014/main" id="{665E9FD4-650F-DD3C-C8C5-E35EA5751CB4}"/>
              </a:ext>
            </a:extLst>
          </p:cNvPr>
          <p:cNvSpPr/>
          <p:nvPr/>
        </p:nvSpPr>
        <p:spPr>
          <a:xfrm>
            <a:off x="3571268" y="227578"/>
            <a:ext cx="2707575" cy="160910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Bruker</a:t>
            </a:r>
          </a:p>
        </p:txBody>
      </p:sp>
      <p:sp>
        <p:nvSpPr>
          <p:cNvPr id="19" name="TekstSylinder 18">
            <a:extLst>
              <a:ext uri="{FF2B5EF4-FFF2-40B4-BE49-F238E27FC236}">
                <a16:creationId xmlns:a16="http://schemas.microsoft.com/office/drawing/2014/main" id="{D54B488D-DB0B-70DB-670C-43C719E1937A}"/>
              </a:ext>
            </a:extLst>
          </p:cNvPr>
          <p:cNvSpPr txBox="1"/>
          <p:nvPr/>
        </p:nvSpPr>
        <p:spPr>
          <a:xfrm>
            <a:off x="4124863" y="716418"/>
            <a:ext cx="1369286" cy="523220"/>
          </a:xfrm>
          <a:prstGeom prst="rect">
            <a:avLst/>
          </a:prstGeom>
          <a:noFill/>
        </p:spPr>
        <p:txBody>
          <a:bodyPr wrap="none" rtlCol="0">
            <a:spAutoFit/>
          </a:bodyPr>
          <a:lstStyle/>
          <a:p>
            <a:r>
              <a:rPr lang="nb-NO" b="1"/>
              <a:t>Brukerdialog</a:t>
            </a:r>
          </a:p>
          <a:p>
            <a:r>
              <a:rPr lang="nb-NO" b="1"/>
              <a:t>Fagressurser </a:t>
            </a:r>
          </a:p>
        </p:txBody>
      </p:sp>
      <p:sp>
        <p:nvSpPr>
          <p:cNvPr id="20" name="TekstSylinder 19">
            <a:extLst>
              <a:ext uri="{FF2B5EF4-FFF2-40B4-BE49-F238E27FC236}">
                <a16:creationId xmlns:a16="http://schemas.microsoft.com/office/drawing/2014/main" id="{85C5040F-868C-6DB6-FDFF-8F0F78F05DD2}"/>
              </a:ext>
            </a:extLst>
          </p:cNvPr>
          <p:cNvSpPr txBox="1"/>
          <p:nvPr/>
        </p:nvSpPr>
        <p:spPr>
          <a:xfrm>
            <a:off x="1655398" y="3293239"/>
            <a:ext cx="3275192" cy="307777"/>
          </a:xfrm>
          <a:prstGeom prst="rect">
            <a:avLst/>
          </a:prstGeom>
          <a:solidFill>
            <a:srgbClr val="F5F2EC"/>
          </a:solidFill>
        </p:spPr>
        <p:txBody>
          <a:bodyPr wrap="none" rtlCol="0">
            <a:spAutoFit/>
          </a:bodyPr>
          <a:lstStyle/>
          <a:p>
            <a:r>
              <a:rPr lang="nb-NO"/>
              <a:t>IT Fastsetting skatt – Skatteprosessen </a:t>
            </a:r>
          </a:p>
        </p:txBody>
      </p:sp>
      <p:sp>
        <p:nvSpPr>
          <p:cNvPr id="21" name="Ellipse 20">
            <a:extLst>
              <a:ext uri="{FF2B5EF4-FFF2-40B4-BE49-F238E27FC236}">
                <a16:creationId xmlns:a16="http://schemas.microsoft.com/office/drawing/2014/main" id="{E65D43A2-BEEA-05D4-6966-784752072FBA}"/>
              </a:ext>
            </a:extLst>
          </p:cNvPr>
          <p:cNvSpPr/>
          <p:nvPr/>
        </p:nvSpPr>
        <p:spPr>
          <a:xfrm>
            <a:off x="672542" y="1239637"/>
            <a:ext cx="7096759" cy="3269234"/>
          </a:xfrm>
          <a:prstGeom prst="ellipse">
            <a:avLst/>
          </a:prstGeom>
          <a:solidFill>
            <a:schemeClr val="bg2">
              <a:lumMod val="75000"/>
              <a:alpha val="5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400" b="1">
                <a:solidFill>
                  <a:schemeClr val="tx1"/>
                </a:solidFill>
              </a:rPr>
              <a:t>«Datateam» </a:t>
            </a:r>
          </a:p>
          <a:p>
            <a:pPr algn="ctr"/>
            <a:r>
              <a:rPr lang="nb-NO" sz="2400" b="1">
                <a:solidFill>
                  <a:schemeClr val="tx1"/>
                </a:solidFill>
              </a:rPr>
              <a:t>for Skatteprosessen</a:t>
            </a:r>
            <a:r>
              <a:rPr lang="nb-NO"/>
              <a:t> </a:t>
            </a:r>
          </a:p>
        </p:txBody>
      </p:sp>
    </p:spTree>
    <p:extLst>
      <p:ext uri="{BB962C8B-B14F-4D97-AF65-F5344CB8AC3E}">
        <p14:creationId xmlns:p14="http://schemas.microsoft.com/office/powerpoint/2010/main" val="1698191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Ellipse 14">
            <a:extLst>
              <a:ext uri="{FF2B5EF4-FFF2-40B4-BE49-F238E27FC236}">
                <a16:creationId xmlns:a16="http://schemas.microsoft.com/office/drawing/2014/main" id="{C38D0AB8-26C9-6681-6912-480CECF63D89}"/>
              </a:ext>
            </a:extLst>
          </p:cNvPr>
          <p:cNvSpPr/>
          <p:nvPr/>
        </p:nvSpPr>
        <p:spPr>
          <a:xfrm>
            <a:off x="2521492" y="2209142"/>
            <a:ext cx="2249192" cy="917689"/>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43"/>
          </a:p>
        </p:txBody>
      </p:sp>
      <p:sp>
        <p:nvSpPr>
          <p:cNvPr id="3" name="Tittel 2">
            <a:extLst>
              <a:ext uri="{FF2B5EF4-FFF2-40B4-BE49-F238E27FC236}">
                <a16:creationId xmlns:a16="http://schemas.microsoft.com/office/drawing/2014/main" id="{96262AAE-2223-3B3B-EEC1-18120EC1DD14}"/>
              </a:ext>
            </a:extLst>
          </p:cNvPr>
          <p:cNvSpPr>
            <a:spLocks noGrp="1"/>
          </p:cNvSpPr>
          <p:nvPr>
            <p:ph type="title"/>
          </p:nvPr>
        </p:nvSpPr>
        <p:spPr>
          <a:xfrm>
            <a:off x="1412959" y="369296"/>
            <a:ext cx="6594206" cy="538974"/>
          </a:xfrm>
        </p:spPr>
        <p:txBody>
          <a:bodyPr>
            <a:normAutofit fontScale="90000"/>
          </a:bodyPr>
          <a:lstStyle/>
          <a:p>
            <a:r>
              <a:rPr lang="nb-NO" sz="2682" dirty="0"/>
              <a:t>Eksempel på et produkts tverrfaglige team</a:t>
            </a:r>
          </a:p>
        </p:txBody>
      </p:sp>
      <p:pic>
        <p:nvPicPr>
          <p:cNvPr id="4" name="Grafikk 3" descr="Kvinne med heldekkende fyll">
            <a:extLst>
              <a:ext uri="{FF2B5EF4-FFF2-40B4-BE49-F238E27FC236}">
                <a16:creationId xmlns:a16="http://schemas.microsoft.com/office/drawing/2014/main" id="{69C10860-ED58-87B5-2AC8-5AA395D4D53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7125" y="1685772"/>
            <a:ext cx="329910" cy="329910"/>
          </a:xfrm>
          <a:prstGeom prst="rect">
            <a:avLst/>
          </a:prstGeom>
        </p:spPr>
      </p:pic>
      <p:pic>
        <p:nvPicPr>
          <p:cNvPr id="5" name="Grafikk 4" descr="Mann med heldekkende fyll">
            <a:extLst>
              <a:ext uri="{FF2B5EF4-FFF2-40B4-BE49-F238E27FC236}">
                <a16:creationId xmlns:a16="http://schemas.microsoft.com/office/drawing/2014/main" id="{B282B4BD-2740-5B50-E3AD-E0BA0F641B7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8450" y="2065300"/>
            <a:ext cx="329910" cy="329910"/>
          </a:xfrm>
          <a:prstGeom prst="rect">
            <a:avLst/>
          </a:prstGeom>
        </p:spPr>
      </p:pic>
      <p:sp>
        <p:nvSpPr>
          <p:cNvPr id="6" name="TekstSylinder 5">
            <a:extLst>
              <a:ext uri="{FF2B5EF4-FFF2-40B4-BE49-F238E27FC236}">
                <a16:creationId xmlns:a16="http://schemas.microsoft.com/office/drawing/2014/main" id="{96FB4983-75F4-EA0B-CDBF-42B0CCDD0448}"/>
              </a:ext>
            </a:extLst>
          </p:cNvPr>
          <p:cNvSpPr txBox="1"/>
          <p:nvPr/>
        </p:nvSpPr>
        <p:spPr>
          <a:xfrm>
            <a:off x="687035" y="1803588"/>
            <a:ext cx="1397763" cy="206980"/>
          </a:xfrm>
          <a:prstGeom prst="rect">
            <a:avLst/>
          </a:prstGeom>
          <a:noFill/>
        </p:spPr>
        <p:txBody>
          <a:bodyPr wrap="square" rtlCol="0">
            <a:spAutoFit/>
          </a:bodyPr>
          <a:lstStyle/>
          <a:p>
            <a:r>
              <a:rPr lang="nb-NO" sz="745"/>
              <a:t>Prosessområdeeier</a:t>
            </a:r>
          </a:p>
        </p:txBody>
      </p:sp>
      <p:sp>
        <p:nvSpPr>
          <p:cNvPr id="7" name="TekstSylinder 6">
            <a:extLst>
              <a:ext uri="{FF2B5EF4-FFF2-40B4-BE49-F238E27FC236}">
                <a16:creationId xmlns:a16="http://schemas.microsoft.com/office/drawing/2014/main" id="{B1408513-7624-7F31-7542-B2918B2BCE72}"/>
              </a:ext>
            </a:extLst>
          </p:cNvPr>
          <p:cNvSpPr txBox="1"/>
          <p:nvPr/>
        </p:nvSpPr>
        <p:spPr>
          <a:xfrm>
            <a:off x="403456" y="1364258"/>
            <a:ext cx="1320475" cy="275781"/>
          </a:xfrm>
          <a:prstGeom prst="rect">
            <a:avLst/>
          </a:prstGeom>
          <a:noFill/>
        </p:spPr>
        <p:txBody>
          <a:bodyPr wrap="square" rtlCol="0">
            <a:spAutoFit/>
          </a:bodyPr>
          <a:lstStyle/>
          <a:p>
            <a:r>
              <a:rPr lang="nb-NO" sz="1192" b="1"/>
              <a:t>Roller i PPL</a:t>
            </a:r>
          </a:p>
        </p:txBody>
      </p:sp>
      <p:sp>
        <p:nvSpPr>
          <p:cNvPr id="8" name="TekstSylinder 7">
            <a:extLst>
              <a:ext uri="{FF2B5EF4-FFF2-40B4-BE49-F238E27FC236}">
                <a16:creationId xmlns:a16="http://schemas.microsoft.com/office/drawing/2014/main" id="{4749DE2D-2F5A-4BC3-3FC8-B3CA76E529E4}"/>
              </a:ext>
            </a:extLst>
          </p:cNvPr>
          <p:cNvSpPr txBox="1"/>
          <p:nvPr/>
        </p:nvSpPr>
        <p:spPr>
          <a:xfrm>
            <a:off x="670859" y="2883783"/>
            <a:ext cx="1397763" cy="206980"/>
          </a:xfrm>
          <a:prstGeom prst="rect">
            <a:avLst/>
          </a:prstGeom>
          <a:noFill/>
        </p:spPr>
        <p:txBody>
          <a:bodyPr wrap="square" rtlCol="0">
            <a:spAutoFit/>
          </a:bodyPr>
          <a:lstStyle/>
          <a:p>
            <a:r>
              <a:rPr lang="nb-NO" sz="745"/>
              <a:t>Prosesseier</a:t>
            </a:r>
          </a:p>
        </p:txBody>
      </p:sp>
      <p:sp>
        <p:nvSpPr>
          <p:cNvPr id="9" name="TekstSylinder 8">
            <a:extLst>
              <a:ext uri="{FF2B5EF4-FFF2-40B4-BE49-F238E27FC236}">
                <a16:creationId xmlns:a16="http://schemas.microsoft.com/office/drawing/2014/main" id="{3525D887-7F44-35F4-FF26-B303C2F6AE0B}"/>
              </a:ext>
            </a:extLst>
          </p:cNvPr>
          <p:cNvSpPr txBox="1"/>
          <p:nvPr/>
        </p:nvSpPr>
        <p:spPr>
          <a:xfrm>
            <a:off x="680831" y="2524760"/>
            <a:ext cx="1841343" cy="229935"/>
          </a:xfrm>
          <a:prstGeom prst="rect">
            <a:avLst/>
          </a:prstGeom>
          <a:noFill/>
        </p:spPr>
        <p:txBody>
          <a:bodyPr wrap="square" rtlCol="0">
            <a:spAutoFit/>
          </a:bodyPr>
          <a:lstStyle/>
          <a:p>
            <a:r>
              <a:rPr lang="nb-NO" sz="894" b="1"/>
              <a:t>Produktleder = </a:t>
            </a:r>
            <a:r>
              <a:rPr lang="nb-NO" sz="894" b="1">
                <a:solidFill>
                  <a:srgbClr val="B04C5C"/>
                </a:solidFill>
              </a:rPr>
              <a:t>Dataeier</a:t>
            </a:r>
          </a:p>
        </p:txBody>
      </p:sp>
      <p:sp>
        <p:nvSpPr>
          <p:cNvPr id="10" name="TekstSylinder 9">
            <a:extLst>
              <a:ext uri="{FF2B5EF4-FFF2-40B4-BE49-F238E27FC236}">
                <a16:creationId xmlns:a16="http://schemas.microsoft.com/office/drawing/2014/main" id="{A5687EF3-719B-C4E8-F9D7-638136234B16}"/>
              </a:ext>
            </a:extLst>
          </p:cNvPr>
          <p:cNvSpPr txBox="1"/>
          <p:nvPr/>
        </p:nvSpPr>
        <p:spPr>
          <a:xfrm>
            <a:off x="687035" y="2154961"/>
            <a:ext cx="1397763" cy="206980"/>
          </a:xfrm>
          <a:prstGeom prst="rect">
            <a:avLst/>
          </a:prstGeom>
          <a:noFill/>
        </p:spPr>
        <p:txBody>
          <a:bodyPr wrap="square" rtlCol="0">
            <a:spAutoFit/>
          </a:bodyPr>
          <a:lstStyle/>
          <a:p>
            <a:r>
              <a:rPr lang="nb-NO" sz="745"/>
              <a:t>Produkteier</a:t>
            </a:r>
          </a:p>
        </p:txBody>
      </p:sp>
      <p:pic>
        <p:nvPicPr>
          <p:cNvPr id="12" name="Grafikk 11" descr="Kvinne med heldekkende fyll">
            <a:extLst>
              <a:ext uri="{FF2B5EF4-FFF2-40B4-BE49-F238E27FC236}">
                <a16:creationId xmlns:a16="http://schemas.microsoft.com/office/drawing/2014/main" id="{7CF6F8AA-F78A-CBB6-1FD8-1B1A1EA3B0A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41634" y="2591392"/>
            <a:ext cx="271206" cy="271206"/>
          </a:xfrm>
          <a:prstGeom prst="rect">
            <a:avLst/>
          </a:prstGeom>
        </p:spPr>
      </p:pic>
      <p:pic>
        <p:nvPicPr>
          <p:cNvPr id="13" name="Grafikk 12" descr="Mann med heldekkende fyll">
            <a:extLst>
              <a:ext uri="{FF2B5EF4-FFF2-40B4-BE49-F238E27FC236}">
                <a16:creationId xmlns:a16="http://schemas.microsoft.com/office/drawing/2014/main" id="{68D23298-D967-217B-8B65-0E22A086E3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38685" y="2592723"/>
            <a:ext cx="271206" cy="271206"/>
          </a:xfrm>
          <a:prstGeom prst="rect">
            <a:avLst/>
          </a:prstGeom>
        </p:spPr>
      </p:pic>
      <p:sp>
        <p:nvSpPr>
          <p:cNvPr id="14" name="TekstSylinder 13">
            <a:extLst>
              <a:ext uri="{FF2B5EF4-FFF2-40B4-BE49-F238E27FC236}">
                <a16:creationId xmlns:a16="http://schemas.microsoft.com/office/drawing/2014/main" id="{16841309-580D-7E55-2C47-5FE4D5F0313E}"/>
              </a:ext>
            </a:extLst>
          </p:cNvPr>
          <p:cNvSpPr txBox="1"/>
          <p:nvPr/>
        </p:nvSpPr>
        <p:spPr>
          <a:xfrm>
            <a:off x="2768955" y="2330713"/>
            <a:ext cx="1397763" cy="229935"/>
          </a:xfrm>
          <a:prstGeom prst="rect">
            <a:avLst/>
          </a:prstGeom>
          <a:noFill/>
        </p:spPr>
        <p:txBody>
          <a:bodyPr wrap="square" rtlCol="0">
            <a:spAutoFit/>
          </a:bodyPr>
          <a:lstStyle/>
          <a:p>
            <a:r>
              <a:rPr lang="nb-NO" sz="894" b="1"/>
              <a:t>Produktleders team</a:t>
            </a:r>
          </a:p>
        </p:txBody>
      </p:sp>
      <p:pic>
        <p:nvPicPr>
          <p:cNvPr id="16" name="Grafikk 15" descr="Kvinne med heldekkende fyll">
            <a:extLst>
              <a:ext uri="{FF2B5EF4-FFF2-40B4-BE49-F238E27FC236}">
                <a16:creationId xmlns:a16="http://schemas.microsoft.com/office/drawing/2014/main" id="{DA0F506E-5C51-8349-CF2B-FE5A4C6B7D8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43002" y="2451465"/>
            <a:ext cx="329910" cy="329910"/>
          </a:xfrm>
          <a:prstGeom prst="rect">
            <a:avLst/>
          </a:prstGeom>
        </p:spPr>
      </p:pic>
      <p:pic>
        <p:nvPicPr>
          <p:cNvPr id="17" name="Grafikk 16" descr="Mann med heldekkende fyll">
            <a:extLst>
              <a:ext uri="{FF2B5EF4-FFF2-40B4-BE49-F238E27FC236}">
                <a16:creationId xmlns:a16="http://schemas.microsoft.com/office/drawing/2014/main" id="{6C98400E-84CE-F5D5-1D0E-05888D5F81F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38314" y="2835528"/>
            <a:ext cx="329910" cy="329910"/>
          </a:xfrm>
          <a:prstGeom prst="rect">
            <a:avLst/>
          </a:prstGeom>
        </p:spPr>
      </p:pic>
      <p:sp>
        <p:nvSpPr>
          <p:cNvPr id="18" name="Ellipse 17">
            <a:extLst>
              <a:ext uri="{FF2B5EF4-FFF2-40B4-BE49-F238E27FC236}">
                <a16:creationId xmlns:a16="http://schemas.microsoft.com/office/drawing/2014/main" id="{64F1F6D1-6909-B556-5926-AF5E938AA150}"/>
              </a:ext>
            </a:extLst>
          </p:cNvPr>
          <p:cNvSpPr/>
          <p:nvPr/>
        </p:nvSpPr>
        <p:spPr>
          <a:xfrm>
            <a:off x="3221048" y="3090763"/>
            <a:ext cx="3510116" cy="1927182"/>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43"/>
          </a:p>
        </p:txBody>
      </p:sp>
      <p:sp>
        <p:nvSpPr>
          <p:cNvPr id="19" name="Ellipse 18">
            <a:extLst>
              <a:ext uri="{FF2B5EF4-FFF2-40B4-BE49-F238E27FC236}">
                <a16:creationId xmlns:a16="http://schemas.microsoft.com/office/drawing/2014/main" id="{BF10FC3D-3874-15D6-2E9D-4B19A9D10730}"/>
              </a:ext>
            </a:extLst>
          </p:cNvPr>
          <p:cNvSpPr/>
          <p:nvPr/>
        </p:nvSpPr>
        <p:spPr>
          <a:xfrm>
            <a:off x="742182" y="3831037"/>
            <a:ext cx="2352480" cy="889654"/>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43"/>
          </a:p>
        </p:txBody>
      </p:sp>
      <p:sp>
        <p:nvSpPr>
          <p:cNvPr id="21" name="TekstSylinder 20">
            <a:extLst>
              <a:ext uri="{FF2B5EF4-FFF2-40B4-BE49-F238E27FC236}">
                <a16:creationId xmlns:a16="http://schemas.microsoft.com/office/drawing/2014/main" id="{4991C124-55C0-3468-383D-FBE0A101478F}"/>
              </a:ext>
            </a:extLst>
          </p:cNvPr>
          <p:cNvSpPr txBox="1"/>
          <p:nvPr/>
        </p:nvSpPr>
        <p:spPr>
          <a:xfrm>
            <a:off x="3952764" y="3221062"/>
            <a:ext cx="1397763" cy="206980"/>
          </a:xfrm>
          <a:prstGeom prst="rect">
            <a:avLst/>
          </a:prstGeom>
          <a:noFill/>
        </p:spPr>
        <p:txBody>
          <a:bodyPr wrap="square" rtlCol="0">
            <a:spAutoFit/>
          </a:bodyPr>
          <a:lstStyle/>
          <a:p>
            <a:r>
              <a:rPr lang="nb-NO" sz="745" b="1"/>
              <a:t>Tverrfaglig utviklingsteam</a:t>
            </a:r>
          </a:p>
        </p:txBody>
      </p:sp>
      <p:sp>
        <p:nvSpPr>
          <p:cNvPr id="27" name="Pil: høyre 26">
            <a:extLst>
              <a:ext uri="{FF2B5EF4-FFF2-40B4-BE49-F238E27FC236}">
                <a16:creationId xmlns:a16="http://schemas.microsoft.com/office/drawing/2014/main" id="{019443E4-0E84-F5D7-A6F0-72A848B0D22B}"/>
              </a:ext>
            </a:extLst>
          </p:cNvPr>
          <p:cNvSpPr/>
          <p:nvPr/>
        </p:nvSpPr>
        <p:spPr>
          <a:xfrm>
            <a:off x="2093472" y="2525322"/>
            <a:ext cx="384653" cy="224024"/>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43"/>
          </a:p>
        </p:txBody>
      </p:sp>
      <p:sp>
        <p:nvSpPr>
          <p:cNvPr id="28" name="TekstSylinder 27">
            <a:extLst>
              <a:ext uri="{FF2B5EF4-FFF2-40B4-BE49-F238E27FC236}">
                <a16:creationId xmlns:a16="http://schemas.microsoft.com/office/drawing/2014/main" id="{A30BE8C1-FBCD-8BD9-05A6-15B49F935473}"/>
              </a:ext>
            </a:extLst>
          </p:cNvPr>
          <p:cNvSpPr txBox="1"/>
          <p:nvPr/>
        </p:nvSpPr>
        <p:spPr>
          <a:xfrm>
            <a:off x="7342381" y="1982484"/>
            <a:ext cx="1397763" cy="206980"/>
          </a:xfrm>
          <a:prstGeom prst="rect">
            <a:avLst/>
          </a:prstGeom>
          <a:noFill/>
        </p:spPr>
        <p:txBody>
          <a:bodyPr wrap="square" rtlCol="0">
            <a:spAutoFit/>
          </a:bodyPr>
          <a:lstStyle/>
          <a:p>
            <a:r>
              <a:rPr lang="nb-NO" sz="745"/>
              <a:t>Informasjonsarkitekt</a:t>
            </a:r>
          </a:p>
        </p:txBody>
      </p:sp>
      <p:sp>
        <p:nvSpPr>
          <p:cNvPr id="29" name="TekstSylinder 28">
            <a:extLst>
              <a:ext uri="{FF2B5EF4-FFF2-40B4-BE49-F238E27FC236}">
                <a16:creationId xmlns:a16="http://schemas.microsoft.com/office/drawing/2014/main" id="{53FC584B-E6FA-3B59-E49F-F5F8A55863E6}"/>
              </a:ext>
            </a:extLst>
          </p:cNvPr>
          <p:cNvSpPr txBox="1"/>
          <p:nvPr/>
        </p:nvSpPr>
        <p:spPr>
          <a:xfrm>
            <a:off x="7332440" y="2325799"/>
            <a:ext cx="1397763" cy="206980"/>
          </a:xfrm>
          <a:prstGeom prst="rect">
            <a:avLst/>
          </a:prstGeom>
          <a:noFill/>
        </p:spPr>
        <p:txBody>
          <a:bodyPr wrap="square" rtlCol="0">
            <a:spAutoFit/>
          </a:bodyPr>
          <a:lstStyle/>
          <a:p>
            <a:r>
              <a:rPr lang="nb-NO" sz="745"/>
              <a:t>Dataproduktutvikler</a:t>
            </a:r>
          </a:p>
        </p:txBody>
      </p:sp>
      <p:sp>
        <p:nvSpPr>
          <p:cNvPr id="30" name="TekstSylinder 29">
            <a:extLst>
              <a:ext uri="{FF2B5EF4-FFF2-40B4-BE49-F238E27FC236}">
                <a16:creationId xmlns:a16="http://schemas.microsoft.com/office/drawing/2014/main" id="{21C52C4B-6C00-A0FD-9E4C-84DD30DEDC99}"/>
              </a:ext>
            </a:extLst>
          </p:cNvPr>
          <p:cNvSpPr txBox="1"/>
          <p:nvPr/>
        </p:nvSpPr>
        <p:spPr>
          <a:xfrm>
            <a:off x="7342382" y="2919239"/>
            <a:ext cx="1397763" cy="206980"/>
          </a:xfrm>
          <a:prstGeom prst="rect">
            <a:avLst/>
          </a:prstGeom>
          <a:noFill/>
        </p:spPr>
        <p:txBody>
          <a:bodyPr wrap="square" rtlCol="0">
            <a:spAutoFit/>
          </a:bodyPr>
          <a:lstStyle/>
          <a:p>
            <a:r>
              <a:rPr lang="nb-NO" sz="745"/>
              <a:t>Datakvalitetsansvarlig</a:t>
            </a:r>
          </a:p>
        </p:txBody>
      </p:sp>
      <p:sp>
        <p:nvSpPr>
          <p:cNvPr id="31" name="TekstSylinder 30">
            <a:extLst>
              <a:ext uri="{FF2B5EF4-FFF2-40B4-BE49-F238E27FC236}">
                <a16:creationId xmlns:a16="http://schemas.microsoft.com/office/drawing/2014/main" id="{768000F7-2501-0A05-B7E6-52EAC22751D9}"/>
              </a:ext>
            </a:extLst>
          </p:cNvPr>
          <p:cNvSpPr txBox="1"/>
          <p:nvPr/>
        </p:nvSpPr>
        <p:spPr>
          <a:xfrm>
            <a:off x="7295448" y="3782141"/>
            <a:ext cx="1397763" cy="206980"/>
          </a:xfrm>
          <a:prstGeom prst="rect">
            <a:avLst/>
          </a:prstGeom>
          <a:noFill/>
        </p:spPr>
        <p:txBody>
          <a:bodyPr wrap="square" rtlCol="0">
            <a:spAutoFit/>
          </a:bodyPr>
          <a:lstStyle/>
          <a:p>
            <a:r>
              <a:rPr lang="nb-NO" sz="745"/>
              <a:t>Forretningsarkitekt/ressurs</a:t>
            </a:r>
          </a:p>
        </p:txBody>
      </p:sp>
      <p:sp>
        <p:nvSpPr>
          <p:cNvPr id="32" name="TekstSylinder 31">
            <a:extLst>
              <a:ext uri="{FF2B5EF4-FFF2-40B4-BE49-F238E27FC236}">
                <a16:creationId xmlns:a16="http://schemas.microsoft.com/office/drawing/2014/main" id="{993DB551-A406-D470-9B88-63FC196A15A0}"/>
              </a:ext>
            </a:extLst>
          </p:cNvPr>
          <p:cNvSpPr txBox="1"/>
          <p:nvPr/>
        </p:nvSpPr>
        <p:spPr>
          <a:xfrm>
            <a:off x="7313818" y="3218583"/>
            <a:ext cx="1397763" cy="206980"/>
          </a:xfrm>
          <a:prstGeom prst="rect">
            <a:avLst/>
          </a:prstGeom>
          <a:noFill/>
        </p:spPr>
        <p:txBody>
          <a:bodyPr wrap="square" rtlCol="0">
            <a:spAutoFit/>
          </a:bodyPr>
          <a:lstStyle/>
          <a:p>
            <a:r>
              <a:rPr lang="nb-NO" sz="745"/>
              <a:t>Juridisk ansvarlig</a:t>
            </a:r>
          </a:p>
        </p:txBody>
      </p:sp>
      <p:sp>
        <p:nvSpPr>
          <p:cNvPr id="33" name="TekstSylinder 32">
            <a:extLst>
              <a:ext uri="{FF2B5EF4-FFF2-40B4-BE49-F238E27FC236}">
                <a16:creationId xmlns:a16="http://schemas.microsoft.com/office/drawing/2014/main" id="{4659C228-9114-7C50-E466-1D1B3F3B3901}"/>
              </a:ext>
            </a:extLst>
          </p:cNvPr>
          <p:cNvSpPr txBox="1"/>
          <p:nvPr/>
        </p:nvSpPr>
        <p:spPr>
          <a:xfrm>
            <a:off x="7313817" y="3512556"/>
            <a:ext cx="1397763" cy="206980"/>
          </a:xfrm>
          <a:prstGeom prst="rect">
            <a:avLst/>
          </a:prstGeom>
          <a:noFill/>
        </p:spPr>
        <p:txBody>
          <a:bodyPr wrap="square" rtlCol="0">
            <a:spAutoFit/>
          </a:bodyPr>
          <a:lstStyle/>
          <a:p>
            <a:r>
              <a:rPr lang="nb-NO" sz="745"/>
              <a:t>Sikkerhetsansvarlig</a:t>
            </a:r>
          </a:p>
        </p:txBody>
      </p:sp>
      <p:sp>
        <p:nvSpPr>
          <p:cNvPr id="34" name="TekstSylinder 33">
            <a:extLst>
              <a:ext uri="{FF2B5EF4-FFF2-40B4-BE49-F238E27FC236}">
                <a16:creationId xmlns:a16="http://schemas.microsoft.com/office/drawing/2014/main" id="{7E25E4D6-6E27-CA46-E3F6-E3BCB5C144F4}"/>
              </a:ext>
            </a:extLst>
          </p:cNvPr>
          <p:cNvSpPr txBox="1"/>
          <p:nvPr/>
        </p:nvSpPr>
        <p:spPr>
          <a:xfrm>
            <a:off x="7364712" y="1703704"/>
            <a:ext cx="1397763" cy="206980"/>
          </a:xfrm>
          <a:prstGeom prst="rect">
            <a:avLst/>
          </a:prstGeom>
          <a:noFill/>
        </p:spPr>
        <p:txBody>
          <a:bodyPr wrap="square" rtlCol="0">
            <a:spAutoFit/>
          </a:bodyPr>
          <a:lstStyle/>
          <a:p>
            <a:r>
              <a:rPr lang="nb-NO" sz="745" err="1"/>
              <a:t>Dataleder</a:t>
            </a:r>
            <a:endParaRPr lang="nb-NO" sz="745"/>
          </a:p>
        </p:txBody>
      </p:sp>
      <p:pic>
        <p:nvPicPr>
          <p:cNvPr id="35" name="Grafikk 34" descr="Kvinne med heldekkende fyll">
            <a:extLst>
              <a:ext uri="{FF2B5EF4-FFF2-40B4-BE49-F238E27FC236}">
                <a16:creationId xmlns:a16="http://schemas.microsoft.com/office/drawing/2014/main" id="{8FA5AF21-8448-9E47-58BE-3A88948D4B0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82487" y="1641770"/>
            <a:ext cx="271206" cy="271206"/>
          </a:xfrm>
          <a:prstGeom prst="rect">
            <a:avLst/>
          </a:prstGeom>
        </p:spPr>
      </p:pic>
      <p:pic>
        <p:nvPicPr>
          <p:cNvPr id="36" name="Grafikk 35" descr="Mann med heldekkende fyll">
            <a:extLst>
              <a:ext uri="{FF2B5EF4-FFF2-40B4-BE49-F238E27FC236}">
                <a16:creationId xmlns:a16="http://schemas.microsoft.com/office/drawing/2014/main" id="{417DFF07-42AF-823F-6BD3-41F647591D2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82487" y="1924087"/>
            <a:ext cx="271206" cy="271206"/>
          </a:xfrm>
          <a:prstGeom prst="rect">
            <a:avLst/>
          </a:prstGeom>
        </p:spPr>
      </p:pic>
      <p:sp>
        <p:nvSpPr>
          <p:cNvPr id="37" name="TekstSylinder 36">
            <a:extLst>
              <a:ext uri="{FF2B5EF4-FFF2-40B4-BE49-F238E27FC236}">
                <a16:creationId xmlns:a16="http://schemas.microsoft.com/office/drawing/2014/main" id="{FB257537-946D-BA1A-A4C8-41606AFD167F}"/>
              </a:ext>
            </a:extLst>
          </p:cNvPr>
          <p:cNvSpPr txBox="1"/>
          <p:nvPr/>
        </p:nvSpPr>
        <p:spPr>
          <a:xfrm>
            <a:off x="7218090" y="1216571"/>
            <a:ext cx="1589221" cy="459228"/>
          </a:xfrm>
          <a:prstGeom prst="rect">
            <a:avLst/>
          </a:prstGeom>
          <a:noFill/>
        </p:spPr>
        <p:txBody>
          <a:bodyPr wrap="square" rtlCol="0">
            <a:spAutoFit/>
          </a:bodyPr>
          <a:lstStyle/>
          <a:p>
            <a:r>
              <a:rPr lang="nb-NO" sz="1192" b="1">
                <a:solidFill>
                  <a:srgbClr val="B04C5C"/>
                </a:solidFill>
              </a:rPr>
              <a:t>Roller i produktets </a:t>
            </a:r>
          </a:p>
          <a:p>
            <a:r>
              <a:rPr lang="nb-NO" sz="1192" b="1">
                <a:solidFill>
                  <a:srgbClr val="B04C5C"/>
                </a:solidFill>
              </a:rPr>
              <a:t>datateam</a:t>
            </a:r>
          </a:p>
        </p:txBody>
      </p:sp>
      <p:pic>
        <p:nvPicPr>
          <p:cNvPr id="38" name="Grafikk 37" descr="Kvinne med heldekkende fyll">
            <a:extLst>
              <a:ext uri="{FF2B5EF4-FFF2-40B4-BE49-F238E27FC236}">
                <a16:creationId xmlns:a16="http://schemas.microsoft.com/office/drawing/2014/main" id="{A8EE171D-228C-2F18-EB40-529F6493996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81690" y="2239479"/>
            <a:ext cx="271206" cy="271206"/>
          </a:xfrm>
          <a:prstGeom prst="rect">
            <a:avLst/>
          </a:prstGeom>
        </p:spPr>
      </p:pic>
      <p:pic>
        <p:nvPicPr>
          <p:cNvPr id="39" name="Grafikk 38" descr="Mann med heldekkende fyll">
            <a:extLst>
              <a:ext uri="{FF2B5EF4-FFF2-40B4-BE49-F238E27FC236}">
                <a16:creationId xmlns:a16="http://schemas.microsoft.com/office/drawing/2014/main" id="{2CF8BA8B-BB72-FD24-CAF8-BB7BF2AF9D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86382" y="2559354"/>
            <a:ext cx="271206" cy="271206"/>
          </a:xfrm>
          <a:prstGeom prst="rect">
            <a:avLst/>
          </a:prstGeom>
        </p:spPr>
      </p:pic>
      <p:pic>
        <p:nvPicPr>
          <p:cNvPr id="40" name="Grafikk 39" descr="Kvinne med heldekkende fyll">
            <a:extLst>
              <a:ext uri="{FF2B5EF4-FFF2-40B4-BE49-F238E27FC236}">
                <a16:creationId xmlns:a16="http://schemas.microsoft.com/office/drawing/2014/main" id="{74CBEA7B-B4A5-C352-4D54-44263E31A7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00757" y="3172762"/>
            <a:ext cx="271206" cy="271206"/>
          </a:xfrm>
          <a:prstGeom prst="rect">
            <a:avLst/>
          </a:prstGeom>
        </p:spPr>
      </p:pic>
      <p:pic>
        <p:nvPicPr>
          <p:cNvPr id="41" name="Grafikk 40" descr="Mann med heldekkende fyll">
            <a:extLst>
              <a:ext uri="{FF2B5EF4-FFF2-40B4-BE49-F238E27FC236}">
                <a16:creationId xmlns:a16="http://schemas.microsoft.com/office/drawing/2014/main" id="{34957CBD-A438-6416-A13D-A8031C27270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06550" y="3461395"/>
            <a:ext cx="271206" cy="271206"/>
          </a:xfrm>
          <a:prstGeom prst="rect">
            <a:avLst/>
          </a:prstGeom>
        </p:spPr>
      </p:pic>
      <p:pic>
        <p:nvPicPr>
          <p:cNvPr id="42" name="Grafikk 41" descr="Kvinne med heldekkende fyll">
            <a:extLst>
              <a:ext uri="{FF2B5EF4-FFF2-40B4-BE49-F238E27FC236}">
                <a16:creationId xmlns:a16="http://schemas.microsoft.com/office/drawing/2014/main" id="{9C14FC06-B24A-8A6F-62E7-936F3A6E927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07945" y="3750028"/>
            <a:ext cx="271206" cy="271206"/>
          </a:xfrm>
          <a:prstGeom prst="rect">
            <a:avLst/>
          </a:prstGeom>
        </p:spPr>
      </p:pic>
      <p:sp>
        <p:nvSpPr>
          <p:cNvPr id="43" name="Rektangel 42">
            <a:extLst>
              <a:ext uri="{FF2B5EF4-FFF2-40B4-BE49-F238E27FC236}">
                <a16:creationId xmlns:a16="http://schemas.microsoft.com/office/drawing/2014/main" id="{0FFBF96B-004D-7ABE-B398-9685237C3DB2}"/>
              </a:ext>
            </a:extLst>
          </p:cNvPr>
          <p:cNvSpPr/>
          <p:nvPr/>
        </p:nvSpPr>
        <p:spPr>
          <a:xfrm>
            <a:off x="7076964" y="1148768"/>
            <a:ext cx="1730310" cy="2998874"/>
          </a:xfrm>
          <a:prstGeom prst="rect">
            <a:avLst/>
          </a:prstGeom>
          <a:noFill/>
          <a:ln w="190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43"/>
          </a:p>
        </p:txBody>
      </p:sp>
      <p:sp>
        <p:nvSpPr>
          <p:cNvPr id="44" name="Rektangel 43">
            <a:extLst>
              <a:ext uri="{FF2B5EF4-FFF2-40B4-BE49-F238E27FC236}">
                <a16:creationId xmlns:a16="http://schemas.microsoft.com/office/drawing/2014/main" id="{1D9084DC-1EB9-E129-8B7C-7D7E425AE7B4}"/>
              </a:ext>
            </a:extLst>
          </p:cNvPr>
          <p:cNvSpPr/>
          <p:nvPr/>
        </p:nvSpPr>
        <p:spPr>
          <a:xfrm>
            <a:off x="213928" y="1216571"/>
            <a:ext cx="1941123" cy="207101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43"/>
          </a:p>
        </p:txBody>
      </p:sp>
      <p:grpSp>
        <p:nvGrpSpPr>
          <p:cNvPr id="2" name="Gruppe 1">
            <a:extLst>
              <a:ext uri="{FF2B5EF4-FFF2-40B4-BE49-F238E27FC236}">
                <a16:creationId xmlns:a16="http://schemas.microsoft.com/office/drawing/2014/main" id="{4D5DA4BD-69CF-5A27-CB52-7873A70553AD}"/>
              </a:ext>
            </a:extLst>
          </p:cNvPr>
          <p:cNvGrpSpPr/>
          <p:nvPr/>
        </p:nvGrpSpPr>
        <p:grpSpPr>
          <a:xfrm>
            <a:off x="3698724" y="4517306"/>
            <a:ext cx="1662033" cy="271206"/>
            <a:chOff x="3698724" y="4517306"/>
            <a:chExt cx="1662033" cy="271206"/>
          </a:xfrm>
        </p:grpSpPr>
        <p:sp>
          <p:nvSpPr>
            <p:cNvPr id="45" name="TekstSylinder 44">
              <a:extLst>
                <a:ext uri="{FF2B5EF4-FFF2-40B4-BE49-F238E27FC236}">
                  <a16:creationId xmlns:a16="http://schemas.microsoft.com/office/drawing/2014/main" id="{962FBD9E-E221-5739-83F0-257881194354}"/>
                </a:ext>
              </a:extLst>
            </p:cNvPr>
            <p:cNvSpPr txBox="1"/>
            <p:nvPr/>
          </p:nvSpPr>
          <p:spPr>
            <a:xfrm>
              <a:off x="3962994" y="4577470"/>
              <a:ext cx="1397763" cy="206980"/>
            </a:xfrm>
            <a:prstGeom prst="rect">
              <a:avLst/>
            </a:prstGeom>
            <a:noFill/>
          </p:spPr>
          <p:txBody>
            <a:bodyPr wrap="square" rtlCol="0">
              <a:spAutoFit/>
            </a:bodyPr>
            <a:lstStyle/>
            <a:p>
              <a:r>
                <a:rPr lang="nb-NO" sz="745"/>
                <a:t>Juridisk ansvarlig</a:t>
              </a:r>
            </a:p>
          </p:txBody>
        </p:sp>
        <p:pic>
          <p:nvPicPr>
            <p:cNvPr id="46" name="Grafikk 45" descr="Kvinne med heldekkende fyll">
              <a:extLst>
                <a:ext uri="{FF2B5EF4-FFF2-40B4-BE49-F238E27FC236}">
                  <a16:creationId xmlns:a16="http://schemas.microsoft.com/office/drawing/2014/main" id="{558850E4-7078-2007-EF4B-55146D7CB5C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98724" y="4517306"/>
              <a:ext cx="271206" cy="271206"/>
            </a:xfrm>
            <a:prstGeom prst="rect">
              <a:avLst/>
            </a:prstGeom>
          </p:spPr>
        </p:pic>
      </p:grpSp>
      <p:sp>
        <p:nvSpPr>
          <p:cNvPr id="47" name="TekstSylinder 46">
            <a:extLst>
              <a:ext uri="{FF2B5EF4-FFF2-40B4-BE49-F238E27FC236}">
                <a16:creationId xmlns:a16="http://schemas.microsoft.com/office/drawing/2014/main" id="{785F781F-BB76-14B1-96A5-52F30AE1733E}"/>
              </a:ext>
            </a:extLst>
          </p:cNvPr>
          <p:cNvSpPr txBox="1"/>
          <p:nvPr/>
        </p:nvSpPr>
        <p:spPr>
          <a:xfrm>
            <a:off x="3775766" y="3617788"/>
            <a:ext cx="1397763" cy="206980"/>
          </a:xfrm>
          <a:prstGeom prst="rect">
            <a:avLst/>
          </a:prstGeom>
          <a:noFill/>
        </p:spPr>
        <p:txBody>
          <a:bodyPr wrap="square" rtlCol="0">
            <a:spAutoFit/>
          </a:bodyPr>
          <a:lstStyle/>
          <a:p>
            <a:r>
              <a:rPr lang="nb-NO" sz="745"/>
              <a:t>Dataproduktutvikler</a:t>
            </a:r>
          </a:p>
        </p:txBody>
      </p:sp>
      <p:pic>
        <p:nvPicPr>
          <p:cNvPr id="48" name="Grafikk 47" descr="Mann med heldekkende fyll">
            <a:extLst>
              <a:ext uri="{FF2B5EF4-FFF2-40B4-BE49-F238E27FC236}">
                <a16:creationId xmlns:a16="http://schemas.microsoft.com/office/drawing/2014/main" id="{6B8B4FBB-25A9-0B24-A898-C5D0C5C1EC7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615548" y="3562935"/>
            <a:ext cx="271206" cy="271206"/>
          </a:xfrm>
          <a:prstGeom prst="rect">
            <a:avLst/>
          </a:prstGeom>
        </p:spPr>
      </p:pic>
      <p:sp>
        <p:nvSpPr>
          <p:cNvPr id="49" name="TekstSylinder 48">
            <a:extLst>
              <a:ext uri="{FF2B5EF4-FFF2-40B4-BE49-F238E27FC236}">
                <a16:creationId xmlns:a16="http://schemas.microsoft.com/office/drawing/2014/main" id="{22E19AE7-DEE6-8914-1AB9-D97F7075A86C}"/>
              </a:ext>
            </a:extLst>
          </p:cNvPr>
          <p:cNvSpPr txBox="1"/>
          <p:nvPr/>
        </p:nvSpPr>
        <p:spPr>
          <a:xfrm>
            <a:off x="3614006" y="2650997"/>
            <a:ext cx="1397763" cy="206980"/>
          </a:xfrm>
          <a:prstGeom prst="rect">
            <a:avLst/>
          </a:prstGeom>
          <a:noFill/>
        </p:spPr>
        <p:txBody>
          <a:bodyPr wrap="square" rtlCol="0">
            <a:spAutoFit/>
          </a:bodyPr>
          <a:lstStyle/>
          <a:p>
            <a:r>
              <a:rPr lang="nb-NO" sz="745" dirty="0" err="1"/>
              <a:t>Dataleder</a:t>
            </a:r>
            <a:endParaRPr lang="nb-NO" sz="745" dirty="0"/>
          </a:p>
        </p:txBody>
      </p:sp>
      <p:pic>
        <p:nvPicPr>
          <p:cNvPr id="50" name="Grafikk 49" descr="Kvinne med heldekkende fyll">
            <a:extLst>
              <a:ext uri="{FF2B5EF4-FFF2-40B4-BE49-F238E27FC236}">
                <a16:creationId xmlns:a16="http://schemas.microsoft.com/office/drawing/2014/main" id="{CF416B33-E6F0-5920-C1B9-2111325BCB0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27855" y="2600084"/>
            <a:ext cx="271206" cy="271206"/>
          </a:xfrm>
          <a:prstGeom prst="rect">
            <a:avLst/>
          </a:prstGeom>
        </p:spPr>
      </p:pic>
      <p:sp>
        <p:nvSpPr>
          <p:cNvPr id="51" name="Pil: høyre 50">
            <a:extLst>
              <a:ext uri="{FF2B5EF4-FFF2-40B4-BE49-F238E27FC236}">
                <a16:creationId xmlns:a16="http://schemas.microsoft.com/office/drawing/2014/main" id="{340DCAA0-94D5-E01A-E3D7-09613B60E08C}"/>
              </a:ext>
            </a:extLst>
          </p:cNvPr>
          <p:cNvSpPr/>
          <p:nvPr/>
        </p:nvSpPr>
        <p:spPr>
          <a:xfrm rot="2628645">
            <a:off x="4519316" y="2897061"/>
            <a:ext cx="384653" cy="224024"/>
          </a:xfrm>
          <a:prstGeom prst="right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43"/>
          </a:p>
        </p:txBody>
      </p:sp>
      <p:grpSp>
        <p:nvGrpSpPr>
          <p:cNvPr id="24" name="Gruppe 23">
            <a:extLst>
              <a:ext uri="{FF2B5EF4-FFF2-40B4-BE49-F238E27FC236}">
                <a16:creationId xmlns:a16="http://schemas.microsoft.com/office/drawing/2014/main" id="{4A48B9EA-E114-7C3D-E287-103B0D0FE64C}"/>
              </a:ext>
            </a:extLst>
          </p:cNvPr>
          <p:cNvGrpSpPr/>
          <p:nvPr/>
        </p:nvGrpSpPr>
        <p:grpSpPr>
          <a:xfrm>
            <a:off x="4845413" y="4469265"/>
            <a:ext cx="1684810" cy="271206"/>
            <a:chOff x="4203442" y="4331675"/>
            <a:chExt cx="1684810" cy="271206"/>
          </a:xfrm>
        </p:grpSpPr>
        <p:sp>
          <p:nvSpPr>
            <p:cNvPr id="53" name="TekstSylinder 52">
              <a:extLst>
                <a:ext uri="{FF2B5EF4-FFF2-40B4-BE49-F238E27FC236}">
                  <a16:creationId xmlns:a16="http://schemas.microsoft.com/office/drawing/2014/main" id="{4AD30C56-F361-A033-5F5D-BE45957F9E92}"/>
                </a:ext>
              </a:extLst>
            </p:cNvPr>
            <p:cNvSpPr txBox="1"/>
            <p:nvPr/>
          </p:nvSpPr>
          <p:spPr>
            <a:xfrm>
              <a:off x="4490489" y="4376618"/>
              <a:ext cx="1397763" cy="206980"/>
            </a:xfrm>
            <a:prstGeom prst="rect">
              <a:avLst/>
            </a:prstGeom>
            <a:noFill/>
          </p:spPr>
          <p:txBody>
            <a:bodyPr wrap="square" rtlCol="0">
              <a:spAutoFit/>
            </a:bodyPr>
            <a:lstStyle/>
            <a:p>
              <a:r>
                <a:rPr lang="nb-NO" sz="745"/>
                <a:t>Sikkerhetsansvarlig</a:t>
              </a:r>
            </a:p>
          </p:txBody>
        </p:sp>
        <p:pic>
          <p:nvPicPr>
            <p:cNvPr id="54" name="Grafikk 53" descr="Mann med heldekkende fyll">
              <a:extLst>
                <a:ext uri="{FF2B5EF4-FFF2-40B4-BE49-F238E27FC236}">
                  <a16:creationId xmlns:a16="http://schemas.microsoft.com/office/drawing/2014/main" id="{EFFF8678-7BF8-12E0-F354-0C26FA854F7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203442" y="4331675"/>
              <a:ext cx="271206" cy="271206"/>
            </a:xfrm>
            <a:prstGeom prst="rect">
              <a:avLst/>
            </a:prstGeom>
          </p:spPr>
        </p:pic>
      </p:grpSp>
      <p:grpSp>
        <p:nvGrpSpPr>
          <p:cNvPr id="26" name="Gruppe 25">
            <a:extLst>
              <a:ext uri="{FF2B5EF4-FFF2-40B4-BE49-F238E27FC236}">
                <a16:creationId xmlns:a16="http://schemas.microsoft.com/office/drawing/2014/main" id="{451F957A-F5AF-A5EB-D619-57D8C253D617}"/>
              </a:ext>
            </a:extLst>
          </p:cNvPr>
          <p:cNvGrpSpPr/>
          <p:nvPr/>
        </p:nvGrpSpPr>
        <p:grpSpPr>
          <a:xfrm>
            <a:off x="3490524" y="3931324"/>
            <a:ext cx="1213007" cy="271206"/>
            <a:chOff x="4016435" y="3784531"/>
            <a:chExt cx="1213007" cy="271206"/>
          </a:xfrm>
        </p:grpSpPr>
        <p:sp>
          <p:nvSpPr>
            <p:cNvPr id="55" name="TekstSylinder 54">
              <a:extLst>
                <a:ext uri="{FF2B5EF4-FFF2-40B4-BE49-F238E27FC236}">
                  <a16:creationId xmlns:a16="http://schemas.microsoft.com/office/drawing/2014/main" id="{F1C5808A-61FE-2D8C-061D-5EBD0600B060}"/>
                </a:ext>
              </a:extLst>
            </p:cNvPr>
            <p:cNvSpPr txBox="1"/>
            <p:nvPr/>
          </p:nvSpPr>
          <p:spPr>
            <a:xfrm>
              <a:off x="4169558" y="3833107"/>
              <a:ext cx="1059884" cy="206980"/>
            </a:xfrm>
            <a:prstGeom prst="rect">
              <a:avLst/>
            </a:prstGeom>
            <a:noFill/>
          </p:spPr>
          <p:txBody>
            <a:bodyPr wrap="square" rtlCol="0">
              <a:spAutoFit/>
            </a:bodyPr>
            <a:lstStyle/>
            <a:p>
              <a:r>
                <a:rPr lang="nb-NO" sz="745"/>
                <a:t>Informasjonsarkitekt</a:t>
              </a:r>
            </a:p>
          </p:txBody>
        </p:sp>
        <p:pic>
          <p:nvPicPr>
            <p:cNvPr id="56" name="Grafikk 55" descr="Kvinne med heldekkende fyll">
              <a:extLst>
                <a:ext uri="{FF2B5EF4-FFF2-40B4-BE49-F238E27FC236}">
                  <a16:creationId xmlns:a16="http://schemas.microsoft.com/office/drawing/2014/main" id="{861BF33B-37B9-3F81-A016-3C6E333742F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16435" y="3784531"/>
              <a:ext cx="205648" cy="271206"/>
            </a:xfrm>
            <a:prstGeom prst="rect">
              <a:avLst/>
            </a:prstGeom>
          </p:spPr>
        </p:pic>
      </p:grpSp>
      <p:grpSp>
        <p:nvGrpSpPr>
          <p:cNvPr id="52" name="Gruppe 51">
            <a:extLst>
              <a:ext uri="{FF2B5EF4-FFF2-40B4-BE49-F238E27FC236}">
                <a16:creationId xmlns:a16="http://schemas.microsoft.com/office/drawing/2014/main" id="{0BBF0EF2-DCEC-9DB0-D3A2-9BDF91C989B6}"/>
              </a:ext>
            </a:extLst>
          </p:cNvPr>
          <p:cNvGrpSpPr/>
          <p:nvPr/>
        </p:nvGrpSpPr>
        <p:grpSpPr>
          <a:xfrm>
            <a:off x="4081108" y="4255757"/>
            <a:ext cx="1530099" cy="271206"/>
            <a:chOff x="5463071" y="2636843"/>
            <a:chExt cx="1530099" cy="271206"/>
          </a:xfrm>
        </p:grpSpPr>
        <p:sp>
          <p:nvSpPr>
            <p:cNvPr id="57" name="TekstSylinder 56">
              <a:extLst>
                <a:ext uri="{FF2B5EF4-FFF2-40B4-BE49-F238E27FC236}">
                  <a16:creationId xmlns:a16="http://schemas.microsoft.com/office/drawing/2014/main" id="{A8E9BFB6-3FB6-17CC-CACD-A88C61B65A70}"/>
                </a:ext>
              </a:extLst>
            </p:cNvPr>
            <p:cNvSpPr txBox="1"/>
            <p:nvPr/>
          </p:nvSpPr>
          <p:spPr>
            <a:xfrm>
              <a:off x="5595407" y="2682372"/>
              <a:ext cx="1397763" cy="206980"/>
            </a:xfrm>
            <a:prstGeom prst="rect">
              <a:avLst/>
            </a:prstGeom>
            <a:noFill/>
          </p:spPr>
          <p:txBody>
            <a:bodyPr wrap="square" rtlCol="0">
              <a:spAutoFit/>
            </a:bodyPr>
            <a:lstStyle/>
            <a:p>
              <a:r>
                <a:rPr lang="nb-NO" sz="745"/>
                <a:t>Datakvalitetsansvarlig</a:t>
              </a:r>
            </a:p>
          </p:txBody>
        </p:sp>
        <p:pic>
          <p:nvPicPr>
            <p:cNvPr id="58" name="Grafikk 57" descr="Kvinne med heldekkende fyll">
              <a:extLst>
                <a:ext uri="{FF2B5EF4-FFF2-40B4-BE49-F238E27FC236}">
                  <a16:creationId xmlns:a16="http://schemas.microsoft.com/office/drawing/2014/main" id="{D57626E7-7AC6-09F5-88B5-3393550E16F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63071" y="2636843"/>
              <a:ext cx="271206" cy="271206"/>
            </a:xfrm>
            <a:prstGeom prst="rect">
              <a:avLst/>
            </a:prstGeom>
          </p:spPr>
        </p:pic>
      </p:grpSp>
      <p:grpSp>
        <p:nvGrpSpPr>
          <p:cNvPr id="23" name="Gruppe 22">
            <a:extLst>
              <a:ext uri="{FF2B5EF4-FFF2-40B4-BE49-F238E27FC236}">
                <a16:creationId xmlns:a16="http://schemas.microsoft.com/office/drawing/2014/main" id="{A336B9A8-A604-B108-F0A2-654B572A268F}"/>
              </a:ext>
            </a:extLst>
          </p:cNvPr>
          <p:cNvGrpSpPr/>
          <p:nvPr/>
        </p:nvGrpSpPr>
        <p:grpSpPr>
          <a:xfrm>
            <a:off x="4255659" y="4709011"/>
            <a:ext cx="1632593" cy="271206"/>
            <a:chOff x="4017600" y="4746739"/>
            <a:chExt cx="1632593" cy="271206"/>
          </a:xfrm>
        </p:grpSpPr>
        <p:sp>
          <p:nvSpPr>
            <p:cNvPr id="59" name="TekstSylinder 58">
              <a:extLst>
                <a:ext uri="{FF2B5EF4-FFF2-40B4-BE49-F238E27FC236}">
                  <a16:creationId xmlns:a16="http://schemas.microsoft.com/office/drawing/2014/main" id="{79FE8ADD-B7E8-C993-D42B-683E74A5672D}"/>
                </a:ext>
              </a:extLst>
            </p:cNvPr>
            <p:cNvSpPr txBox="1"/>
            <p:nvPr/>
          </p:nvSpPr>
          <p:spPr>
            <a:xfrm>
              <a:off x="4252430" y="4772466"/>
              <a:ext cx="1397763" cy="206980"/>
            </a:xfrm>
            <a:prstGeom prst="rect">
              <a:avLst/>
            </a:prstGeom>
            <a:noFill/>
          </p:spPr>
          <p:txBody>
            <a:bodyPr wrap="square" rtlCol="0">
              <a:spAutoFit/>
            </a:bodyPr>
            <a:lstStyle/>
            <a:p>
              <a:r>
                <a:rPr lang="nb-NO" sz="745"/>
                <a:t>Forretningsarkitekt/ressurs</a:t>
              </a:r>
            </a:p>
          </p:txBody>
        </p:sp>
        <p:pic>
          <p:nvPicPr>
            <p:cNvPr id="60" name="Grafikk 59" descr="Mann med heldekkende fyll">
              <a:extLst>
                <a:ext uri="{FF2B5EF4-FFF2-40B4-BE49-F238E27FC236}">
                  <a16:creationId xmlns:a16="http://schemas.microsoft.com/office/drawing/2014/main" id="{911E4635-9237-EEF3-33BF-FF51A931AD4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017600" y="4746739"/>
              <a:ext cx="271206" cy="271206"/>
            </a:xfrm>
            <a:prstGeom prst="rect">
              <a:avLst/>
            </a:prstGeom>
          </p:spPr>
        </p:pic>
      </p:grpSp>
      <p:sp>
        <p:nvSpPr>
          <p:cNvPr id="62" name="TekstSylinder 61">
            <a:extLst>
              <a:ext uri="{FF2B5EF4-FFF2-40B4-BE49-F238E27FC236}">
                <a16:creationId xmlns:a16="http://schemas.microsoft.com/office/drawing/2014/main" id="{5DF77FC0-F271-4943-CAC4-764D84EDF5E5}"/>
              </a:ext>
            </a:extLst>
          </p:cNvPr>
          <p:cNvSpPr txBox="1"/>
          <p:nvPr/>
        </p:nvSpPr>
        <p:spPr>
          <a:xfrm>
            <a:off x="7352896" y="2610408"/>
            <a:ext cx="1397763" cy="206980"/>
          </a:xfrm>
          <a:prstGeom prst="rect">
            <a:avLst/>
          </a:prstGeom>
          <a:noFill/>
        </p:spPr>
        <p:txBody>
          <a:bodyPr wrap="square" rtlCol="0">
            <a:spAutoFit/>
          </a:bodyPr>
          <a:lstStyle/>
          <a:p>
            <a:r>
              <a:rPr lang="nb-NO" sz="745"/>
              <a:t>Analytikere og fagressurser</a:t>
            </a:r>
          </a:p>
        </p:txBody>
      </p:sp>
      <p:pic>
        <p:nvPicPr>
          <p:cNvPr id="63" name="Grafikk 62" descr="Mann med heldekkende fyll">
            <a:extLst>
              <a:ext uri="{FF2B5EF4-FFF2-40B4-BE49-F238E27FC236}">
                <a16:creationId xmlns:a16="http://schemas.microsoft.com/office/drawing/2014/main" id="{53C9E187-EB9B-F791-798E-2657864394B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86382" y="2863931"/>
            <a:ext cx="271206" cy="271206"/>
          </a:xfrm>
          <a:prstGeom prst="rect">
            <a:avLst/>
          </a:prstGeom>
        </p:spPr>
      </p:pic>
      <p:grpSp>
        <p:nvGrpSpPr>
          <p:cNvPr id="25" name="Gruppe 24">
            <a:extLst>
              <a:ext uri="{FF2B5EF4-FFF2-40B4-BE49-F238E27FC236}">
                <a16:creationId xmlns:a16="http://schemas.microsoft.com/office/drawing/2014/main" id="{2406D50C-B8BE-8B9A-9D47-1307862F4A73}"/>
              </a:ext>
            </a:extLst>
          </p:cNvPr>
          <p:cNvGrpSpPr/>
          <p:nvPr/>
        </p:nvGrpSpPr>
        <p:grpSpPr>
          <a:xfrm>
            <a:off x="5278493" y="4117984"/>
            <a:ext cx="1584769" cy="277438"/>
            <a:chOff x="4801931" y="3569681"/>
            <a:chExt cx="1584769" cy="277438"/>
          </a:xfrm>
        </p:grpSpPr>
        <p:pic>
          <p:nvPicPr>
            <p:cNvPr id="64" name="Grafikk 63" descr="Mann med heldekkende fyll">
              <a:extLst>
                <a:ext uri="{FF2B5EF4-FFF2-40B4-BE49-F238E27FC236}">
                  <a16:creationId xmlns:a16="http://schemas.microsoft.com/office/drawing/2014/main" id="{E0D6B3A6-7AF8-3DD5-8F2C-F5736077BC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801931" y="3575913"/>
              <a:ext cx="271206" cy="271206"/>
            </a:xfrm>
            <a:prstGeom prst="rect">
              <a:avLst/>
            </a:prstGeom>
          </p:spPr>
        </p:pic>
        <p:sp>
          <p:nvSpPr>
            <p:cNvPr id="65" name="TekstSylinder 64">
              <a:extLst>
                <a:ext uri="{FF2B5EF4-FFF2-40B4-BE49-F238E27FC236}">
                  <a16:creationId xmlns:a16="http://schemas.microsoft.com/office/drawing/2014/main" id="{022221DD-B951-F7A0-55AD-9F966654A875}"/>
                </a:ext>
              </a:extLst>
            </p:cNvPr>
            <p:cNvSpPr txBox="1"/>
            <p:nvPr/>
          </p:nvSpPr>
          <p:spPr>
            <a:xfrm>
              <a:off x="4988937" y="3569681"/>
              <a:ext cx="1397763" cy="206980"/>
            </a:xfrm>
            <a:prstGeom prst="rect">
              <a:avLst/>
            </a:prstGeom>
            <a:noFill/>
          </p:spPr>
          <p:txBody>
            <a:bodyPr wrap="square" rtlCol="0">
              <a:spAutoFit/>
            </a:bodyPr>
            <a:lstStyle/>
            <a:p>
              <a:r>
                <a:rPr lang="nb-NO" sz="745"/>
                <a:t>Analytiker</a:t>
              </a:r>
            </a:p>
          </p:txBody>
        </p:sp>
      </p:grpSp>
      <p:grpSp>
        <p:nvGrpSpPr>
          <p:cNvPr id="66" name="Gruppe 65">
            <a:extLst>
              <a:ext uri="{FF2B5EF4-FFF2-40B4-BE49-F238E27FC236}">
                <a16:creationId xmlns:a16="http://schemas.microsoft.com/office/drawing/2014/main" id="{2B1F4F48-BD32-DCB5-CFCC-AF9D2E714DCC}"/>
              </a:ext>
            </a:extLst>
          </p:cNvPr>
          <p:cNvGrpSpPr/>
          <p:nvPr/>
        </p:nvGrpSpPr>
        <p:grpSpPr>
          <a:xfrm>
            <a:off x="5589277" y="3865924"/>
            <a:ext cx="1213007" cy="271206"/>
            <a:chOff x="4016435" y="3784531"/>
            <a:chExt cx="1213007" cy="271206"/>
          </a:xfrm>
        </p:grpSpPr>
        <p:sp>
          <p:nvSpPr>
            <p:cNvPr id="67" name="TekstSylinder 66">
              <a:extLst>
                <a:ext uri="{FF2B5EF4-FFF2-40B4-BE49-F238E27FC236}">
                  <a16:creationId xmlns:a16="http://schemas.microsoft.com/office/drawing/2014/main" id="{5509CB1B-5609-5F7C-FD7D-D8185F936154}"/>
                </a:ext>
              </a:extLst>
            </p:cNvPr>
            <p:cNvSpPr txBox="1"/>
            <p:nvPr/>
          </p:nvSpPr>
          <p:spPr>
            <a:xfrm>
              <a:off x="4169558" y="3833107"/>
              <a:ext cx="1059884" cy="206980"/>
            </a:xfrm>
            <a:prstGeom prst="rect">
              <a:avLst/>
            </a:prstGeom>
            <a:noFill/>
          </p:spPr>
          <p:txBody>
            <a:bodyPr wrap="square" rtlCol="0">
              <a:spAutoFit/>
            </a:bodyPr>
            <a:lstStyle/>
            <a:p>
              <a:r>
                <a:rPr lang="nb-NO" sz="745"/>
                <a:t>Fagansvarlig</a:t>
              </a:r>
            </a:p>
          </p:txBody>
        </p:sp>
        <p:pic>
          <p:nvPicPr>
            <p:cNvPr id="68" name="Grafikk 67" descr="Kvinne med heldekkende fyll">
              <a:extLst>
                <a:ext uri="{FF2B5EF4-FFF2-40B4-BE49-F238E27FC236}">
                  <a16:creationId xmlns:a16="http://schemas.microsoft.com/office/drawing/2014/main" id="{37BE2BB1-C53D-4DB1-FE7F-BE189737CC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16435" y="3784531"/>
              <a:ext cx="205648" cy="271206"/>
            </a:xfrm>
            <a:prstGeom prst="rect">
              <a:avLst/>
            </a:prstGeom>
          </p:spPr>
        </p:pic>
      </p:grpSp>
      <p:grpSp>
        <p:nvGrpSpPr>
          <p:cNvPr id="69" name="Gruppe 68">
            <a:extLst>
              <a:ext uri="{FF2B5EF4-FFF2-40B4-BE49-F238E27FC236}">
                <a16:creationId xmlns:a16="http://schemas.microsoft.com/office/drawing/2014/main" id="{A4507C41-54B5-72A8-460B-076C206AC6AF}"/>
              </a:ext>
            </a:extLst>
          </p:cNvPr>
          <p:cNvGrpSpPr/>
          <p:nvPr/>
        </p:nvGrpSpPr>
        <p:grpSpPr>
          <a:xfrm>
            <a:off x="5203517" y="3405013"/>
            <a:ext cx="1213007" cy="271206"/>
            <a:chOff x="4016435" y="3784531"/>
            <a:chExt cx="1213007" cy="271206"/>
          </a:xfrm>
        </p:grpSpPr>
        <p:sp>
          <p:nvSpPr>
            <p:cNvPr id="70" name="TekstSylinder 69">
              <a:extLst>
                <a:ext uri="{FF2B5EF4-FFF2-40B4-BE49-F238E27FC236}">
                  <a16:creationId xmlns:a16="http://schemas.microsoft.com/office/drawing/2014/main" id="{B2D3590E-D231-D585-919E-A5066B6BE41C}"/>
                </a:ext>
              </a:extLst>
            </p:cNvPr>
            <p:cNvSpPr txBox="1"/>
            <p:nvPr/>
          </p:nvSpPr>
          <p:spPr>
            <a:xfrm>
              <a:off x="4169558" y="3833107"/>
              <a:ext cx="1059884" cy="206980"/>
            </a:xfrm>
            <a:prstGeom prst="rect">
              <a:avLst/>
            </a:prstGeom>
            <a:noFill/>
          </p:spPr>
          <p:txBody>
            <a:bodyPr wrap="square" rtlCol="0">
              <a:spAutoFit/>
            </a:bodyPr>
            <a:lstStyle/>
            <a:p>
              <a:r>
                <a:rPr lang="nb-NO" sz="745"/>
                <a:t>Testansvarlig</a:t>
              </a:r>
            </a:p>
          </p:txBody>
        </p:sp>
        <p:pic>
          <p:nvPicPr>
            <p:cNvPr id="71" name="Grafikk 70" descr="Kvinne med heldekkende fyll">
              <a:extLst>
                <a:ext uri="{FF2B5EF4-FFF2-40B4-BE49-F238E27FC236}">
                  <a16:creationId xmlns:a16="http://schemas.microsoft.com/office/drawing/2014/main" id="{52B98385-425B-4B47-E3A3-08AC6FFB41F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16435" y="3784531"/>
              <a:ext cx="205648" cy="271206"/>
            </a:xfrm>
            <a:prstGeom prst="rect">
              <a:avLst/>
            </a:prstGeom>
          </p:spPr>
        </p:pic>
      </p:grpSp>
      <p:grpSp>
        <p:nvGrpSpPr>
          <p:cNvPr id="72" name="Gruppe 71">
            <a:extLst>
              <a:ext uri="{FF2B5EF4-FFF2-40B4-BE49-F238E27FC236}">
                <a16:creationId xmlns:a16="http://schemas.microsoft.com/office/drawing/2014/main" id="{C106CC86-5F27-268D-2A4D-39F142710BF1}"/>
              </a:ext>
            </a:extLst>
          </p:cNvPr>
          <p:cNvGrpSpPr/>
          <p:nvPr/>
        </p:nvGrpSpPr>
        <p:grpSpPr>
          <a:xfrm>
            <a:off x="4789462" y="3699470"/>
            <a:ext cx="1213007" cy="271206"/>
            <a:chOff x="4016435" y="3784531"/>
            <a:chExt cx="1213007" cy="271206"/>
          </a:xfrm>
        </p:grpSpPr>
        <p:sp>
          <p:nvSpPr>
            <p:cNvPr id="73" name="TekstSylinder 72">
              <a:extLst>
                <a:ext uri="{FF2B5EF4-FFF2-40B4-BE49-F238E27FC236}">
                  <a16:creationId xmlns:a16="http://schemas.microsoft.com/office/drawing/2014/main" id="{73DA6025-5AE3-9414-EB12-5B5BB0032436}"/>
                </a:ext>
              </a:extLst>
            </p:cNvPr>
            <p:cNvSpPr txBox="1"/>
            <p:nvPr/>
          </p:nvSpPr>
          <p:spPr>
            <a:xfrm>
              <a:off x="4169558" y="3833107"/>
              <a:ext cx="1059884" cy="206980"/>
            </a:xfrm>
            <a:prstGeom prst="rect">
              <a:avLst/>
            </a:prstGeom>
            <a:noFill/>
          </p:spPr>
          <p:txBody>
            <a:bodyPr wrap="square" rtlCol="0">
              <a:spAutoFit/>
            </a:bodyPr>
            <a:lstStyle/>
            <a:p>
              <a:r>
                <a:rPr lang="nb-NO" sz="745"/>
                <a:t>Systemutvikler</a:t>
              </a:r>
            </a:p>
          </p:txBody>
        </p:sp>
        <p:pic>
          <p:nvPicPr>
            <p:cNvPr id="74" name="Grafikk 73" descr="Kvinne med heldekkende fyll">
              <a:extLst>
                <a:ext uri="{FF2B5EF4-FFF2-40B4-BE49-F238E27FC236}">
                  <a16:creationId xmlns:a16="http://schemas.microsoft.com/office/drawing/2014/main" id="{DD7CCC86-53F6-970F-9977-1C581FC2343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16435" y="3784531"/>
              <a:ext cx="205648" cy="271206"/>
            </a:xfrm>
            <a:prstGeom prst="rect">
              <a:avLst/>
            </a:prstGeom>
          </p:spPr>
        </p:pic>
      </p:grpSp>
      <p:sp>
        <p:nvSpPr>
          <p:cNvPr id="75" name="TekstSylinder 74">
            <a:extLst>
              <a:ext uri="{FF2B5EF4-FFF2-40B4-BE49-F238E27FC236}">
                <a16:creationId xmlns:a16="http://schemas.microsoft.com/office/drawing/2014/main" id="{C707A733-9EDE-60ED-A4E4-A90E85D677D3}"/>
              </a:ext>
            </a:extLst>
          </p:cNvPr>
          <p:cNvSpPr txBox="1"/>
          <p:nvPr/>
        </p:nvSpPr>
        <p:spPr>
          <a:xfrm>
            <a:off x="1184820" y="3898037"/>
            <a:ext cx="1397763" cy="206980"/>
          </a:xfrm>
          <a:prstGeom prst="rect">
            <a:avLst/>
          </a:prstGeom>
          <a:noFill/>
        </p:spPr>
        <p:txBody>
          <a:bodyPr wrap="square" rtlCol="0">
            <a:spAutoFit/>
          </a:bodyPr>
          <a:lstStyle/>
          <a:p>
            <a:r>
              <a:rPr lang="nb-NO" sz="745" b="1"/>
              <a:t>Tverrteamgreier</a:t>
            </a:r>
          </a:p>
        </p:txBody>
      </p:sp>
      <p:sp>
        <p:nvSpPr>
          <p:cNvPr id="76" name="TekstSylinder 75">
            <a:extLst>
              <a:ext uri="{FF2B5EF4-FFF2-40B4-BE49-F238E27FC236}">
                <a16:creationId xmlns:a16="http://schemas.microsoft.com/office/drawing/2014/main" id="{BD250232-D403-8FC3-1B6E-315F9B9B9346}"/>
              </a:ext>
            </a:extLst>
          </p:cNvPr>
          <p:cNvSpPr txBox="1"/>
          <p:nvPr/>
        </p:nvSpPr>
        <p:spPr>
          <a:xfrm>
            <a:off x="1258299" y="4202530"/>
            <a:ext cx="1397763" cy="206980"/>
          </a:xfrm>
          <a:prstGeom prst="rect">
            <a:avLst/>
          </a:prstGeom>
          <a:noFill/>
        </p:spPr>
        <p:txBody>
          <a:bodyPr wrap="square" rtlCol="0">
            <a:spAutoFit/>
          </a:bodyPr>
          <a:lstStyle/>
          <a:p>
            <a:r>
              <a:rPr lang="nb-NO" sz="745"/>
              <a:t>Sentrale funksjoner</a:t>
            </a:r>
          </a:p>
        </p:txBody>
      </p:sp>
      <p:sp>
        <p:nvSpPr>
          <p:cNvPr id="77" name="TekstSylinder 76">
            <a:extLst>
              <a:ext uri="{FF2B5EF4-FFF2-40B4-BE49-F238E27FC236}">
                <a16:creationId xmlns:a16="http://schemas.microsoft.com/office/drawing/2014/main" id="{9C7F4A9F-ECF7-8DCB-0747-A47BE388F4E8}"/>
              </a:ext>
            </a:extLst>
          </p:cNvPr>
          <p:cNvSpPr txBox="1"/>
          <p:nvPr/>
        </p:nvSpPr>
        <p:spPr>
          <a:xfrm>
            <a:off x="1321492" y="4403464"/>
            <a:ext cx="1397763" cy="206980"/>
          </a:xfrm>
          <a:prstGeom prst="rect">
            <a:avLst/>
          </a:prstGeom>
          <a:noFill/>
        </p:spPr>
        <p:txBody>
          <a:bodyPr wrap="square" rtlCol="0">
            <a:spAutoFit/>
          </a:bodyPr>
          <a:lstStyle/>
          <a:p>
            <a:r>
              <a:rPr lang="nb-NO" sz="745"/>
              <a:t>Godkjenningsorganer</a:t>
            </a:r>
          </a:p>
        </p:txBody>
      </p:sp>
      <p:sp>
        <p:nvSpPr>
          <p:cNvPr id="78" name="TekstSylinder 77">
            <a:extLst>
              <a:ext uri="{FF2B5EF4-FFF2-40B4-BE49-F238E27FC236}">
                <a16:creationId xmlns:a16="http://schemas.microsoft.com/office/drawing/2014/main" id="{54228B56-2B69-92C5-F492-DB6A2D908A44}"/>
              </a:ext>
            </a:extLst>
          </p:cNvPr>
          <p:cNvSpPr txBox="1"/>
          <p:nvPr/>
        </p:nvSpPr>
        <p:spPr>
          <a:xfrm>
            <a:off x="1746723" y="4033640"/>
            <a:ext cx="1397763" cy="206980"/>
          </a:xfrm>
          <a:prstGeom prst="rect">
            <a:avLst/>
          </a:prstGeom>
          <a:noFill/>
        </p:spPr>
        <p:txBody>
          <a:bodyPr wrap="square" rtlCol="0">
            <a:spAutoFit/>
          </a:bodyPr>
          <a:lstStyle/>
          <a:p>
            <a:r>
              <a:rPr lang="nb-NO" sz="745"/>
              <a:t>Tidstyver</a:t>
            </a:r>
          </a:p>
        </p:txBody>
      </p:sp>
      <p:sp>
        <p:nvSpPr>
          <p:cNvPr id="79" name="TekstSylinder 78">
            <a:extLst>
              <a:ext uri="{FF2B5EF4-FFF2-40B4-BE49-F238E27FC236}">
                <a16:creationId xmlns:a16="http://schemas.microsoft.com/office/drawing/2014/main" id="{20B367D2-7F25-4F6F-C053-3FDEF18CEFDA}"/>
              </a:ext>
            </a:extLst>
          </p:cNvPr>
          <p:cNvSpPr txBox="1"/>
          <p:nvPr/>
        </p:nvSpPr>
        <p:spPr>
          <a:xfrm>
            <a:off x="2205103" y="4137130"/>
            <a:ext cx="822331" cy="206980"/>
          </a:xfrm>
          <a:prstGeom prst="rect">
            <a:avLst/>
          </a:prstGeom>
          <a:noFill/>
        </p:spPr>
        <p:txBody>
          <a:bodyPr wrap="square" rtlCol="0">
            <a:spAutoFit/>
          </a:bodyPr>
          <a:lstStyle/>
          <a:p>
            <a:r>
              <a:rPr lang="nb-NO" sz="745"/>
              <a:t>Plattformgreier</a:t>
            </a:r>
          </a:p>
        </p:txBody>
      </p:sp>
    </p:spTree>
    <p:extLst>
      <p:ext uri="{BB962C8B-B14F-4D97-AF65-F5344CB8AC3E}">
        <p14:creationId xmlns:p14="http://schemas.microsoft.com/office/powerpoint/2010/main" val="395776983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667566" y="512701"/>
            <a:ext cx="6076880" cy="512448"/>
          </a:xfrm>
        </p:spPr>
        <p:txBody>
          <a:bodyPr>
            <a:normAutofit/>
          </a:bodyPr>
          <a:lstStyle/>
          <a:p>
            <a:r>
              <a:rPr lang="nb-NO" dirty="0"/>
              <a:t>Data </a:t>
            </a:r>
            <a:r>
              <a:rPr lang="nb-NO" dirty="0" err="1"/>
              <a:t>mesh</a:t>
            </a:r>
            <a:r>
              <a:rPr lang="nb-NO" dirty="0"/>
              <a:t> - Essensen! </a:t>
            </a:r>
          </a:p>
        </p:txBody>
      </p:sp>
      <p:sp>
        <p:nvSpPr>
          <p:cNvPr id="3" name="Plassholder for innhold 2"/>
          <p:cNvSpPr>
            <a:spLocks noGrp="1"/>
          </p:cNvSpPr>
          <p:nvPr>
            <p:ph idx="1"/>
          </p:nvPr>
        </p:nvSpPr>
        <p:spPr>
          <a:xfrm>
            <a:off x="320692" y="1589314"/>
            <a:ext cx="8371046" cy="2771394"/>
          </a:xfrm>
        </p:spPr>
        <p:txBody>
          <a:bodyPr/>
          <a:lstStyle/>
          <a:p>
            <a:r>
              <a:rPr lang="nb-NO" dirty="0"/>
              <a:t>De som kan domenet og fagsystemet får også ansvaret for å tilrettelegge for analyse og deling</a:t>
            </a:r>
          </a:p>
          <a:p>
            <a:endParaRPr lang="nb-NO" dirty="0"/>
          </a:p>
          <a:p>
            <a:r>
              <a:rPr lang="nb-NO" dirty="0"/>
              <a:t>Da merker domenet selv forespørslene og behovene utenfra</a:t>
            </a:r>
          </a:p>
          <a:p>
            <a:endParaRPr lang="nb-NO" dirty="0"/>
          </a:p>
          <a:p>
            <a:r>
              <a:rPr lang="nb-NO" dirty="0"/>
              <a:t>De tar selv initiativet til å sikre ting er på stell når de leverer fra seg data</a:t>
            </a:r>
          </a:p>
          <a:p>
            <a:endParaRPr lang="nb-NO" dirty="0"/>
          </a:p>
          <a:p>
            <a:endParaRPr lang="nb-NO" dirty="0"/>
          </a:p>
          <a:p>
            <a:endParaRPr lang="nb-NO" dirty="0"/>
          </a:p>
          <a:p>
            <a:endParaRPr lang="nb-NO" dirty="0"/>
          </a:p>
        </p:txBody>
      </p:sp>
      <p:sp>
        <p:nvSpPr>
          <p:cNvPr id="4" name="Tittel 1"/>
          <p:cNvSpPr txBox="1">
            <a:spLocks/>
          </p:cNvSpPr>
          <p:nvPr/>
        </p:nvSpPr>
        <p:spPr>
          <a:xfrm>
            <a:off x="70658" y="3840251"/>
            <a:ext cx="9074930" cy="703210"/>
          </a:xfrm>
          <a:prstGeom prst="rect">
            <a:avLst/>
          </a:prstGeom>
        </p:spPr>
        <p:txBody>
          <a:bodyPr vert="horz" wrap="square" lIns="0" tIns="0" rIns="0" bIns="0" rtlCol="0" anchor="t" anchorCtr="0">
            <a:noAutofit/>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pPr algn="ctr"/>
            <a:r>
              <a:rPr lang="nb-NO" sz="2800" dirty="0"/>
              <a:t>Tverrfaglige produktteam med tydelige ansvar for </a:t>
            </a:r>
            <a:r>
              <a:rPr lang="nb-NO" sz="2800" dirty="0" err="1"/>
              <a:t>viderebruk</a:t>
            </a:r>
            <a:r>
              <a:rPr lang="nb-NO" sz="2800" dirty="0"/>
              <a:t> av data løser det </a:t>
            </a:r>
          </a:p>
        </p:txBody>
      </p:sp>
    </p:spTree>
    <p:extLst>
      <p:ext uri="{BB962C8B-B14F-4D97-AF65-F5344CB8AC3E}">
        <p14:creationId xmlns:p14="http://schemas.microsoft.com/office/powerpoint/2010/main" val="1473942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121095" y="236363"/>
            <a:ext cx="8371046" cy="512448"/>
          </a:xfrm>
        </p:spPr>
        <p:txBody>
          <a:bodyPr/>
          <a:lstStyle/>
          <a:p>
            <a:r>
              <a:rPr lang="nb-NO" dirty="0" err="1"/>
              <a:t>Skyklar</a:t>
            </a:r>
            <a:r>
              <a:rPr lang="nb-NO" dirty="0"/>
              <a:t>? </a:t>
            </a:r>
          </a:p>
        </p:txBody>
      </p:sp>
      <p:pic>
        <p:nvPicPr>
          <p:cNvPr id="4" name="Bilde 3"/>
          <p:cNvPicPr>
            <a:picLocks noChangeAspect="1"/>
          </p:cNvPicPr>
          <p:nvPr/>
        </p:nvPicPr>
        <p:blipFill>
          <a:blip r:embed="rId2"/>
          <a:stretch>
            <a:fillRect/>
          </a:stretch>
        </p:blipFill>
        <p:spPr>
          <a:xfrm>
            <a:off x="1073520" y="945741"/>
            <a:ext cx="6903360" cy="3184244"/>
          </a:xfrm>
          <a:prstGeom prst="rect">
            <a:avLst/>
          </a:prstGeom>
        </p:spPr>
      </p:pic>
      <p:sp>
        <p:nvSpPr>
          <p:cNvPr id="5" name="Tittel 1"/>
          <p:cNvSpPr txBox="1">
            <a:spLocks/>
          </p:cNvSpPr>
          <p:nvPr/>
        </p:nvSpPr>
        <p:spPr>
          <a:xfrm>
            <a:off x="239188" y="4326915"/>
            <a:ext cx="8906400" cy="783230"/>
          </a:xfrm>
          <a:prstGeom prst="rect">
            <a:avLst/>
          </a:prstGeom>
        </p:spPr>
        <p:txBody>
          <a:bodyPr vert="horz" wrap="square" lIns="0" tIns="0" rIns="0" bIns="0" rtlCol="0" anchor="t" anchorCtr="0">
            <a:normAutofit fontScale="85000" lnSpcReduction="10000"/>
          </a:bodyPr>
          <a:lstStyle>
            <a:lvl1pPr algn="l" defTabSz="681091" rtl="0" eaLnBrk="1" latinLnBrk="0" hangingPunct="1">
              <a:lnSpc>
                <a:spcPct val="90000"/>
              </a:lnSpc>
              <a:spcBef>
                <a:spcPct val="0"/>
              </a:spcBef>
              <a:buNone/>
              <a:defRPr sz="3700" b="1" kern="1200">
                <a:solidFill>
                  <a:schemeClr val="tx1"/>
                </a:solidFill>
                <a:latin typeface="+mj-lt"/>
                <a:ea typeface="+mj-ea"/>
                <a:cs typeface="+mj-cs"/>
              </a:defRPr>
            </a:lvl1pPr>
          </a:lstStyle>
          <a:p>
            <a:r>
              <a:rPr lang="nb-NO" dirty="0"/>
              <a:t>Vi jobber mot ny informasjonsplattform i Sky. Tør vi å legge dataene i andres hender? </a:t>
            </a:r>
          </a:p>
        </p:txBody>
      </p:sp>
    </p:spTree>
    <p:extLst>
      <p:ext uri="{BB962C8B-B14F-4D97-AF65-F5344CB8AC3E}">
        <p14:creationId xmlns:p14="http://schemas.microsoft.com/office/powerpoint/2010/main" val="2935553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endParaRPr lang="nb-NO"/>
          </a:p>
        </p:txBody>
      </p:sp>
      <p:sp>
        <p:nvSpPr>
          <p:cNvPr id="3" name="Undertittel 2"/>
          <p:cNvSpPr>
            <a:spLocks noGrp="1"/>
          </p:cNvSpPr>
          <p:nvPr>
            <p:ph type="subTitle" idx="1"/>
          </p:nvPr>
        </p:nvSpPr>
        <p:spPr/>
        <p:txBody>
          <a:bodyPr>
            <a:normAutofit lnSpcReduction="10000"/>
          </a:bodyPr>
          <a:lstStyle/>
          <a:p>
            <a:endParaRPr lang="nb-NO"/>
          </a:p>
        </p:txBody>
      </p:sp>
      <p:pic>
        <p:nvPicPr>
          <p:cNvPr id="4" name="Bilde 3"/>
          <p:cNvPicPr>
            <a:picLocks noChangeAspect="1"/>
          </p:cNvPicPr>
          <p:nvPr/>
        </p:nvPicPr>
        <p:blipFill>
          <a:blip r:embed="rId2"/>
          <a:stretch>
            <a:fillRect/>
          </a:stretch>
        </p:blipFill>
        <p:spPr>
          <a:xfrm>
            <a:off x="260711" y="177070"/>
            <a:ext cx="8661411" cy="4833067"/>
          </a:xfrm>
          <a:prstGeom prst="rect">
            <a:avLst/>
          </a:prstGeom>
        </p:spPr>
      </p:pic>
    </p:spTree>
    <p:extLst>
      <p:ext uri="{BB962C8B-B14F-4D97-AF65-F5344CB8AC3E}">
        <p14:creationId xmlns:p14="http://schemas.microsoft.com/office/powerpoint/2010/main" val="21657144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79414" y="243101"/>
            <a:ext cx="8371046" cy="512448"/>
          </a:xfrm>
        </p:spPr>
        <p:txBody>
          <a:bodyPr>
            <a:normAutofit fontScale="90000"/>
          </a:bodyPr>
          <a:lstStyle/>
          <a:p>
            <a:r>
              <a:rPr lang="nb-NO" dirty="0"/>
              <a:t>Informasjonsforvaltning -</a:t>
            </a:r>
            <a:br>
              <a:rPr lang="nb-NO" dirty="0"/>
            </a:br>
            <a:r>
              <a:rPr lang="nb-NO" dirty="0"/>
              <a:t>Mye er på plass</a:t>
            </a:r>
          </a:p>
        </p:txBody>
      </p:sp>
      <p:sp>
        <p:nvSpPr>
          <p:cNvPr id="6" name="Rektangel 5"/>
          <p:cNvSpPr/>
          <p:nvPr/>
        </p:nvSpPr>
        <p:spPr>
          <a:xfrm>
            <a:off x="4479225" y="1469099"/>
            <a:ext cx="4185523" cy="20306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a:t>MEN… </a:t>
            </a:r>
          </a:p>
          <a:p>
            <a:pPr algn="ctr"/>
            <a:endParaRPr lang="nb-NO" sz="500" dirty="0"/>
          </a:p>
          <a:p>
            <a:pPr marL="171450" indent="-171450">
              <a:buFont typeface="Arial" panose="020B0604020202020204" pitchFamily="34" charset="0"/>
              <a:buChar char="•"/>
            </a:pPr>
            <a:r>
              <a:rPr lang="nb-NO" sz="1100" dirty="0"/>
              <a:t>Fagområdet er ikke godt nok forstått internt</a:t>
            </a:r>
          </a:p>
          <a:p>
            <a:pPr marL="171450" indent="-171450">
              <a:buFont typeface="Arial" panose="020B0604020202020204" pitchFamily="34" charset="0"/>
              <a:buChar char="•"/>
            </a:pPr>
            <a:r>
              <a:rPr lang="nb-NO" sz="1100" dirty="0"/>
              <a:t>Rammeverk er ikke helhetlig implementert</a:t>
            </a:r>
          </a:p>
          <a:p>
            <a:pPr marL="171450" indent="-171450">
              <a:buFont typeface="Arial" panose="020B0604020202020204" pitchFamily="34" charset="0"/>
              <a:buChar char="•"/>
            </a:pPr>
            <a:r>
              <a:rPr lang="nb-NO" sz="1100" dirty="0"/>
              <a:t>Roller og prosesser er ikke integrert i linjen</a:t>
            </a:r>
          </a:p>
          <a:p>
            <a:pPr marL="171450" indent="-171450">
              <a:buFont typeface="Arial" panose="020B0604020202020204" pitchFamily="34" charset="0"/>
              <a:buChar char="•"/>
            </a:pPr>
            <a:r>
              <a:rPr lang="nb-NO" sz="1100" dirty="0"/>
              <a:t>Fagområdet er ikke godt nok integrert i prosjektmetode</a:t>
            </a:r>
          </a:p>
          <a:p>
            <a:pPr marL="171450" indent="-171450">
              <a:buFont typeface="Arial" panose="020B0604020202020204" pitchFamily="34" charset="0"/>
              <a:buChar char="•"/>
            </a:pPr>
            <a:r>
              <a:rPr lang="nb-NO" sz="1100" dirty="0"/>
              <a:t>Det er ulike perspektiver og jobbes i ulike retninger</a:t>
            </a:r>
          </a:p>
          <a:p>
            <a:pPr marL="171450" indent="-171450">
              <a:buFont typeface="Arial" panose="020B0604020202020204" pitchFamily="34" charset="0"/>
              <a:buChar char="•"/>
            </a:pPr>
            <a:r>
              <a:rPr lang="nb-NO" sz="1100" dirty="0"/>
              <a:t>Det er mangel på styring (governance)</a:t>
            </a:r>
            <a:endParaRPr lang="nb-NO" sz="1000" dirty="0"/>
          </a:p>
        </p:txBody>
      </p:sp>
      <p:sp>
        <p:nvSpPr>
          <p:cNvPr id="8" name="TekstSylinder 7"/>
          <p:cNvSpPr txBox="1"/>
          <p:nvPr/>
        </p:nvSpPr>
        <p:spPr>
          <a:xfrm>
            <a:off x="358070" y="3774137"/>
            <a:ext cx="3569245" cy="938719"/>
          </a:xfrm>
          <a:prstGeom prst="rect">
            <a:avLst/>
          </a:prstGeom>
          <a:noFill/>
        </p:spPr>
        <p:txBody>
          <a:bodyPr wrap="square" rtlCol="0">
            <a:spAutoFit/>
          </a:bodyPr>
          <a:lstStyle/>
          <a:p>
            <a:pPr marL="171450" indent="-171450">
              <a:buFont typeface="Arial" panose="020B0604020202020204" pitchFamily="34" charset="0"/>
              <a:buChar char="•"/>
            </a:pPr>
            <a:r>
              <a:rPr lang="nb-NO" sz="1100" dirty="0"/>
              <a:t>Data er kritisk for samfunnsoppdraget</a:t>
            </a:r>
          </a:p>
          <a:p>
            <a:pPr marL="171450" indent="-171450">
              <a:buFont typeface="Arial" panose="020B0604020202020204" pitchFamily="34" charset="0"/>
              <a:buChar char="•"/>
            </a:pPr>
            <a:r>
              <a:rPr lang="nb-NO" sz="1100" dirty="0"/>
              <a:t>Informasjonsforvaltning er gitt et strategisk fokus</a:t>
            </a:r>
          </a:p>
          <a:p>
            <a:pPr marL="171450" indent="-171450">
              <a:buFont typeface="Arial" panose="020B0604020202020204" pitchFamily="34" charset="0"/>
              <a:buChar char="•"/>
            </a:pPr>
            <a:r>
              <a:rPr lang="nb-NO" sz="1100" dirty="0"/>
              <a:t>Funksjonen er tatt inn i organisasjonskartet</a:t>
            </a:r>
          </a:p>
          <a:p>
            <a:pPr marL="171450" indent="-171450">
              <a:buFont typeface="Arial" panose="020B0604020202020204" pitchFamily="34" charset="0"/>
              <a:buChar char="•"/>
            </a:pPr>
            <a:r>
              <a:rPr lang="nb-NO" sz="1100" dirty="0"/>
              <a:t>Bred og god kompetanse finnes internt</a:t>
            </a:r>
          </a:p>
          <a:p>
            <a:pPr marL="171450" indent="-171450">
              <a:buFont typeface="Arial" panose="020B0604020202020204" pitchFamily="34" charset="0"/>
              <a:buChar char="•"/>
            </a:pPr>
            <a:r>
              <a:rPr lang="nb-NO" sz="1100" dirty="0"/>
              <a:t>Det er utarbeidet rammeverk og gode beskrivelser</a:t>
            </a:r>
          </a:p>
        </p:txBody>
      </p:sp>
      <p:pic>
        <p:nvPicPr>
          <p:cNvPr id="40" name="Bilde 39"/>
          <p:cNvPicPr>
            <a:picLocks noChangeAspect="1"/>
          </p:cNvPicPr>
          <p:nvPr/>
        </p:nvPicPr>
        <p:blipFill>
          <a:blip r:embed="rId2"/>
          <a:stretch>
            <a:fillRect/>
          </a:stretch>
        </p:blipFill>
        <p:spPr>
          <a:xfrm>
            <a:off x="208184" y="1467151"/>
            <a:ext cx="4174709" cy="2123594"/>
          </a:xfrm>
          <a:prstGeom prst="rect">
            <a:avLst/>
          </a:prstGeom>
        </p:spPr>
      </p:pic>
      <p:sp>
        <p:nvSpPr>
          <p:cNvPr id="68" name="Vinkeltegn 67"/>
          <p:cNvSpPr/>
          <p:nvPr/>
        </p:nvSpPr>
        <p:spPr>
          <a:xfrm rot="5400000">
            <a:off x="6012906" y="2875650"/>
            <a:ext cx="639009" cy="1634023"/>
          </a:xfrm>
          <a:prstGeom prst="chevron">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solidFill>
                <a:schemeClr val="tx1"/>
              </a:solidFill>
            </a:endParaRPr>
          </a:p>
        </p:txBody>
      </p:sp>
      <p:sp>
        <p:nvSpPr>
          <p:cNvPr id="69" name="TekstSylinder 68"/>
          <p:cNvSpPr txBox="1"/>
          <p:nvPr/>
        </p:nvSpPr>
        <p:spPr>
          <a:xfrm>
            <a:off x="5958408" y="4032169"/>
            <a:ext cx="1928446" cy="577081"/>
          </a:xfrm>
          <a:prstGeom prst="rect">
            <a:avLst/>
          </a:prstGeom>
          <a:noFill/>
        </p:spPr>
        <p:txBody>
          <a:bodyPr wrap="square" rtlCol="0">
            <a:spAutoFit/>
          </a:bodyPr>
          <a:lstStyle/>
          <a:p>
            <a:r>
              <a:rPr lang="nb-NO" sz="1050" dirty="0"/>
              <a:t>Utarbeide et mandat som beskriver hva, hvorfor og hvordan dette kan løses.</a:t>
            </a:r>
          </a:p>
        </p:txBody>
      </p:sp>
      <p:pic>
        <p:nvPicPr>
          <p:cNvPr id="20" name="Grafikk 19" descr="Dokument med heldekkende fyll">
            <a:extLst>
              <a:ext uri="{FF2B5EF4-FFF2-40B4-BE49-F238E27FC236}">
                <a16:creationId xmlns:a16="http://schemas.microsoft.com/office/drawing/2014/main" id="{2235B2FB-4A38-4206-B5EE-0773AAB03D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64937" y="3873783"/>
            <a:ext cx="772412" cy="772412"/>
          </a:xfrm>
          <a:prstGeom prst="rect">
            <a:avLst/>
          </a:prstGeom>
        </p:spPr>
      </p:pic>
    </p:spTree>
    <p:extLst>
      <p:ext uri="{BB962C8B-B14F-4D97-AF65-F5344CB8AC3E}">
        <p14:creationId xmlns:p14="http://schemas.microsoft.com/office/powerpoint/2010/main" val="4189145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8"/>
                                        </p:tgtEl>
                                        <p:attrNameLst>
                                          <p:attrName>style.visibility</p:attrName>
                                        </p:attrNameLst>
                                      </p:cBhvr>
                                      <p:to>
                                        <p:strVal val="visible"/>
                                      </p:to>
                                    </p:set>
                                    <p:animEffect transition="in" filter="fade">
                                      <p:cBhvr>
                                        <p:cTn id="12" dur="500"/>
                                        <p:tgtEl>
                                          <p:spTgt spid="68"/>
                                        </p:tgtEl>
                                      </p:cBhvr>
                                    </p:animEffect>
                                  </p:childTnLst>
                                </p:cTn>
                              </p:par>
                              <p:par>
                                <p:cTn id="13" presetID="10"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9"/>
                                        </p:tgtEl>
                                        <p:attrNameLst>
                                          <p:attrName>style.visibility</p:attrName>
                                        </p:attrNameLst>
                                      </p:cBhvr>
                                      <p:to>
                                        <p:strVal val="visible"/>
                                      </p:to>
                                    </p:set>
                                    <p:animEffect transition="in" filter="fade">
                                      <p:cBhvr>
                                        <p:cTn id="18"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8" grpId="0" animBg="1"/>
      <p:bldP spid="69"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2" descr="Et bilde som inneholder tavle&#10;&#10;Automatisk generert beskrivelse">
            <a:extLst>
              <a:ext uri="{FF2B5EF4-FFF2-40B4-BE49-F238E27FC236}">
                <a16:creationId xmlns:a16="http://schemas.microsoft.com/office/drawing/2014/main" id="{9CDEBA92-8099-4C5C-B469-69A538E4372E}"/>
              </a:ext>
            </a:extLst>
          </p:cNvPr>
          <p:cNvPicPr>
            <a:picLocks noChangeAspect="1"/>
          </p:cNvPicPr>
          <p:nvPr/>
        </p:nvPicPr>
        <p:blipFill>
          <a:blip r:embed="rId3"/>
          <a:stretch>
            <a:fillRect/>
          </a:stretch>
        </p:blipFill>
        <p:spPr>
          <a:xfrm>
            <a:off x="5713805" y="1090473"/>
            <a:ext cx="3280030" cy="2795035"/>
          </a:xfrm>
          <a:prstGeom prst="rect">
            <a:avLst/>
          </a:prstGeom>
        </p:spPr>
      </p:pic>
      <p:sp>
        <p:nvSpPr>
          <p:cNvPr id="37" name="Plassholder for innhold 2">
            <a:extLst>
              <a:ext uri="{FF2B5EF4-FFF2-40B4-BE49-F238E27FC236}">
                <a16:creationId xmlns:a16="http://schemas.microsoft.com/office/drawing/2014/main" id="{A6F3570C-563A-47F0-8497-92F2AAF6796E}"/>
              </a:ext>
            </a:extLst>
          </p:cNvPr>
          <p:cNvSpPr>
            <a:spLocks noGrp="1"/>
          </p:cNvSpPr>
          <p:nvPr>
            <p:ph idx="1"/>
          </p:nvPr>
        </p:nvSpPr>
        <p:spPr>
          <a:xfrm>
            <a:off x="531019" y="596425"/>
            <a:ext cx="6369456" cy="4110411"/>
          </a:xfrm>
          <a:ln>
            <a:noFill/>
          </a:ln>
        </p:spPr>
        <p:txBody>
          <a:bodyPr vert="horz" lIns="53633" tIns="53633" rIns="0" bIns="0" rtlCol="0" anchor="t">
            <a:normAutofit/>
          </a:bodyPr>
          <a:lstStyle/>
          <a:p>
            <a:pPr marL="0" indent="0">
              <a:buNone/>
            </a:pPr>
            <a:endParaRPr lang="nb-NO">
              <a:cs typeface="Arial"/>
            </a:endParaRPr>
          </a:p>
          <a:p>
            <a:pPr marL="168865" indent="-168865"/>
            <a:r>
              <a:rPr lang="nb-NO">
                <a:cs typeface="Arial"/>
              </a:rPr>
              <a:t>Vi har ikke en oversikt over hvilken informasjon vi har </a:t>
            </a:r>
          </a:p>
          <a:p>
            <a:pPr marL="507068" lvl="1" indent="-168865"/>
            <a:endParaRPr lang="nb-NO" sz="1564">
              <a:cs typeface="Arial"/>
            </a:endParaRPr>
          </a:p>
          <a:p>
            <a:pPr marL="168865" indent="-168865"/>
            <a:r>
              <a:rPr lang="nb-NO">
                <a:cs typeface="Arial"/>
              </a:rPr>
              <a:t>Vi opplever store utfordringer med å sammenstille </a:t>
            </a:r>
          </a:p>
          <a:p>
            <a:pPr marL="0" indent="0">
              <a:buNone/>
            </a:pPr>
            <a:r>
              <a:rPr lang="nb-NO">
                <a:cs typeface="Arial"/>
              </a:rPr>
              <a:t>   på tvers</a:t>
            </a:r>
          </a:p>
          <a:p>
            <a:pPr marL="168865" indent="-168865"/>
            <a:endParaRPr lang="nb-NO">
              <a:cs typeface="Arial"/>
            </a:endParaRPr>
          </a:p>
          <a:p>
            <a:pPr marL="168865" indent="-168865"/>
            <a:r>
              <a:rPr lang="nb-NO">
                <a:cs typeface="Arial"/>
              </a:rPr>
              <a:t>Sporing – hvilken informasjon brukes til hva? </a:t>
            </a:r>
          </a:p>
          <a:p>
            <a:pPr marL="0" indent="0">
              <a:buNone/>
            </a:pPr>
            <a:endParaRPr lang="nb-NO">
              <a:ea typeface="+mn-lt"/>
              <a:cs typeface="+mn-lt"/>
            </a:endParaRPr>
          </a:p>
          <a:p>
            <a:pPr marL="168865" indent="-168865"/>
            <a:r>
              <a:rPr lang="nb-NO">
                <a:cs typeface="Arial"/>
              </a:rPr>
              <a:t>Ressurskrevende å tilrettelegge for analyse, AI og maskinlæring </a:t>
            </a:r>
          </a:p>
          <a:p>
            <a:pPr marL="168865" indent="-168865"/>
            <a:endParaRPr lang="nb-NO">
              <a:cs typeface="Arial"/>
            </a:endParaRPr>
          </a:p>
          <a:p>
            <a:pPr marL="168865" indent="-168865"/>
            <a:r>
              <a:rPr lang="nb-NO">
                <a:cs typeface="Arial"/>
              </a:rPr>
              <a:t>Prosjekt og linje må etterleve føringene og oppdatere kartet </a:t>
            </a:r>
          </a:p>
          <a:p>
            <a:pPr marL="168865" indent="-168865"/>
            <a:endParaRPr lang="nb-NO">
              <a:cs typeface="Arial"/>
            </a:endParaRPr>
          </a:p>
          <a:p>
            <a:pPr marL="168865" indent="-168865"/>
            <a:endParaRPr lang="nb-NO">
              <a:cs typeface="Arial"/>
            </a:endParaRPr>
          </a:p>
          <a:p>
            <a:pPr marL="168865" indent="-168865"/>
            <a:endParaRPr lang="nb-NO">
              <a:cs typeface="Arial"/>
            </a:endParaRPr>
          </a:p>
          <a:p>
            <a:pPr marL="168865" indent="-168865"/>
            <a:endParaRPr lang="nb-NO">
              <a:cs typeface="Arial"/>
            </a:endParaRPr>
          </a:p>
        </p:txBody>
      </p:sp>
      <p:sp>
        <p:nvSpPr>
          <p:cNvPr id="24" name="Tittel 1">
            <a:extLst>
              <a:ext uri="{FF2B5EF4-FFF2-40B4-BE49-F238E27FC236}">
                <a16:creationId xmlns:a16="http://schemas.microsoft.com/office/drawing/2014/main" id="{817DDD3D-2E62-4C4B-A176-A07A98DB51E0}"/>
              </a:ext>
            </a:extLst>
          </p:cNvPr>
          <p:cNvSpPr>
            <a:spLocks noGrp="1"/>
          </p:cNvSpPr>
          <p:nvPr>
            <p:ph type="title"/>
          </p:nvPr>
        </p:nvSpPr>
        <p:spPr>
          <a:xfrm>
            <a:off x="445086" y="249450"/>
            <a:ext cx="8365073" cy="346249"/>
          </a:xfrm>
        </p:spPr>
        <p:txBody>
          <a:bodyPr>
            <a:normAutofit/>
          </a:bodyPr>
          <a:lstStyle/>
          <a:p>
            <a:r>
              <a:rPr lang="nb-NO" sz="2458"/>
              <a:t>Kartet må følge terrenget - Informasjonsarkitektur</a:t>
            </a:r>
          </a:p>
        </p:txBody>
      </p:sp>
    </p:spTree>
    <p:extLst>
      <p:ext uri="{BB962C8B-B14F-4D97-AF65-F5344CB8AC3E}">
        <p14:creationId xmlns:p14="http://schemas.microsoft.com/office/powerpoint/2010/main" val="427047294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55709" y="270535"/>
            <a:ext cx="7888070" cy="672528"/>
          </a:xfrm>
        </p:spPr>
        <p:txBody>
          <a:bodyPr/>
          <a:lstStyle/>
          <a:p>
            <a:r>
              <a:rPr lang="nb-NO" sz="2800" dirty="0"/>
              <a:t>	</a:t>
            </a:r>
            <a:r>
              <a:rPr lang="nb-NO" sz="2800" dirty="0" err="1"/>
              <a:t>Informasjonsrepository</a:t>
            </a:r>
            <a:r>
              <a:rPr lang="nb-NO" sz="2800" dirty="0"/>
              <a:t> - Kunnskapsgraf</a:t>
            </a:r>
          </a:p>
        </p:txBody>
      </p:sp>
      <p:pic>
        <p:nvPicPr>
          <p:cNvPr id="6" name="Plassholder for innhold 5"/>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84332" y="1015602"/>
            <a:ext cx="8676603" cy="4006648"/>
          </a:xfrm>
        </p:spPr>
      </p:pic>
      <p:sp>
        <p:nvSpPr>
          <p:cNvPr id="7" name="Plassholder for bunntekst 4"/>
          <p:cNvSpPr>
            <a:spLocks noGrp="1"/>
          </p:cNvSpPr>
          <p:nvPr>
            <p:ph type="ftr" sz="quarter" idx="11"/>
          </p:nvPr>
        </p:nvSpPr>
        <p:spPr>
          <a:xfrm>
            <a:off x="684332" y="4861424"/>
            <a:ext cx="6552750" cy="160826"/>
          </a:xfrm>
        </p:spPr>
        <p:txBody>
          <a:bodyPr/>
          <a:lstStyle/>
          <a:p>
            <a:r>
              <a:rPr lang="nb-NO"/>
              <a:t>Skatteetaten – Informasjonsforvaltning</a:t>
            </a:r>
          </a:p>
        </p:txBody>
      </p:sp>
    </p:spTree>
    <p:extLst>
      <p:ext uri="{BB962C8B-B14F-4D97-AF65-F5344CB8AC3E}">
        <p14:creationId xmlns:p14="http://schemas.microsoft.com/office/powerpoint/2010/main" val="2518585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p:cNvSpPr>
            <a:spLocks noGrp="1"/>
          </p:cNvSpPr>
          <p:nvPr>
            <p:ph type="sldNum" sz="quarter" idx="4294967295"/>
          </p:nvPr>
        </p:nvSpPr>
        <p:spPr/>
        <p:txBody>
          <a:bodyPr/>
          <a:lstStyle/>
          <a:p>
            <a:fld id="{D8865200-363A-4A27-BFE2-9D2920C8E885}" type="slidenum">
              <a:rPr lang="nb-NO" smtClean="0"/>
              <a:t>6</a:t>
            </a:fld>
            <a:endParaRPr lang="nb-NO" dirty="0"/>
          </a:p>
        </p:txBody>
      </p:sp>
      <p:pic>
        <p:nvPicPr>
          <p:cNvPr id="3" name="Bilde 2"/>
          <p:cNvPicPr>
            <a:picLocks noChangeAspect="1"/>
          </p:cNvPicPr>
          <p:nvPr/>
        </p:nvPicPr>
        <p:blipFill>
          <a:blip r:embed="rId2"/>
          <a:stretch>
            <a:fillRect/>
          </a:stretch>
        </p:blipFill>
        <p:spPr>
          <a:xfrm>
            <a:off x="-304429" y="-189151"/>
            <a:ext cx="9754445" cy="5486876"/>
          </a:xfrm>
          <a:prstGeom prst="rect">
            <a:avLst/>
          </a:prstGeom>
        </p:spPr>
      </p:pic>
    </p:spTree>
    <p:extLst>
      <p:ext uri="{BB962C8B-B14F-4D97-AF65-F5344CB8AC3E}">
        <p14:creationId xmlns:p14="http://schemas.microsoft.com/office/powerpoint/2010/main" val="202712141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dato 3"/>
          <p:cNvSpPr>
            <a:spLocks noGrp="1"/>
          </p:cNvSpPr>
          <p:nvPr>
            <p:ph type="dt" sz="half" idx="10"/>
          </p:nvPr>
        </p:nvSpPr>
        <p:spPr/>
        <p:txBody>
          <a:bodyPr/>
          <a:lstStyle/>
          <a:p>
            <a:fld id="{0ACE4012-6C18-449D-8BBC-54252FF123E6}" type="datetime1">
              <a:rPr lang="nb-NO">
                <a:solidFill>
                  <a:srgbClr val="7F7F7F"/>
                </a:solidFill>
              </a:rPr>
              <a:pPr/>
              <a:t>19.10.2022</a:t>
            </a:fld>
            <a:endParaRPr lang="nb-NO">
              <a:solidFill>
                <a:srgbClr val="7F7F7F"/>
              </a:solidFill>
            </a:endParaRPr>
          </a:p>
        </p:txBody>
      </p:sp>
      <p:sp>
        <p:nvSpPr>
          <p:cNvPr id="6" name="Plassholder for lysbildenummer 5"/>
          <p:cNvSpPr>
            <a:spLocks noGrp="1"/>
          </p:cNvSpPr>
          <p:nvPr>
            <p:ph type="sldNum" sz="quarter" idx="12"/>
          </p:nvPr>
        </p:nvSpPr>
        <p:spPr/>
        <p:txBody>
          <a:bodyPr/>
          <a:lstStyle/>
          <a:p>
            <a:fld id="{2383CA57-A44B-46C8-9FD1-0300097AA787}" type="slidenum">
              <a:rPr lang="nb-NO">
                <a:solidFill>
                  <a:srgbClr val="7F7F7F"/>
                </a:solidFill>
              </a:rPr>
              <a:pPr/>
              <a:t>60</a:t>
            </a:fld>
            <a:endParaRPr lang="nb-NO" dirty="0">
              <a:solidFill>
                <a:srgbClr val="7F7F7F"/>
              </a:solidFill>
            </a:endParaRPr>
          </a:p>
        </p:txBody>
      </p:sp>
      <p:sp>
        <p:nvSpPr>
          <p:cNvPr id="158722" name="Rectangle 2"/>
          <p:cNvSpPr>
            <a:spLocks noGrp="1" noChangeArrowheads="1"/>
          </p:cNvSpPr>
          <p:nvPr>
            <p:ph type="title"/>
          </p:nvPr>
        </p:nvSpPr>
        <p:spPr>
          <a:xfrm>
            <a:off x="781195" y="188417"/>
            <a:ext cx="8606328" cy="987422"/>
          </a:xfrm>
        </p:spPr>
        <p:txBody>
          <a:bodyPr>
            <a:normAutofit/>
          </a:bodyPr>
          <a:lstStyle/>
          <a:p>
            <a:pPr algn="ctr"/>
            <a:r>
              <a:rPr lang="nb-NO" altLang="nb-NO" sz="3200" dirty="0"/>
              <a:t>Orden og</a:t>
            </a:r>
            <a:r>
              <a:rPr lang="nb-NO" altLang="nb-NO" sz="3000" dirty="0"/>
              <a:t> samlet kunnskap er forutsetninger for god informasjonsforvaltning</a:t>
            </a:r>
            <a:endParaRPr lang="nb-NO" sz="3000" dirty="0"/>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195" y="1255623"/>
            <a:ext cx="7408666" cy="3647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5841019"/>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013750" y="378737"/>
            <a:ext cx="8033268" cy="512448"/>
          </a:xfrm>
        </p:spPr>
        <p:txBody>
          <a:bodyPr>
            <a:normAutofit/>
          </a:bodyPr>
          <a:lstStyle/>
          <a:p>
            <a:r>
              <a:rPr lang="nb-NO" sz="2400" dirty="0"/>
              <a:t>Digitaliseringsarbeidet endrer retning</a:t>
            </a:r>
          </a:p>
        </p:txBody>
      </p:sp>
      <p:sp>
        <p:nvSpPr>
          <p:cNvPr id="6" name="TekstSylinder 5"/>
          <p:cNvSpPr txBox="1"/>
          <p:nvPr/>
        </p:nvSpPr>
        <p:spPr>
          <a:xfrm>
            <a:off x="4578096" y="1307315"/>
            <a:ext cx="4273296" cy="3046988"/>
          </a:xfrm>
          <a:prstGeom prst="rect">
            <a:avLst/>
          </a:prstGeom>
          <a:noFill/>
        </p:spPr>
        <p:txBody>
          <a:bodyPr wrap="square" rtlCol="0">
            <a:spAutoFit/>
          </a:bodyPr>
          <a:lstStyle/>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Aktører henger i stadig større grad sammen i lange verdikjeder med en gjennomgående digitalisering</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Etatens oppgaver kan løses i større grad ute i samfunnet, der den økonomiske aktiviteten finner sted</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På mange områder er regelverk, standarder og samarbeid viktigere enn intern utvikling for å legge til rette innovative løsninger</a:t>
            </a:r>
          </a:p>
          <a:p>
            <a:pPr marL="285750" marR="0" lvl="0" indent="-285750" algn="l" defTabSz="68395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Arial" panose="020B0604020202020204"/>
                <a:ea typeface="+mn-ea"/>
                <a:cs typeface="+mn-cs"/>
              </a:rPr>
              <a:t>Piloter og innovasjonssamarbeid vil bli viktigere</a:t>
            </a:r>
          </a:p>
        </p:txBody>
      </p:sp>
      <p:pic>
        <p:nvPicPr>
          <p:cNvPr id="7" name="Bilde 6"/>
          <p:cNvPicPr>
            <a:picLocks noChangeAspect="1"/>
          </p:cNvPicPr>
          <p:nvPr/>
        </p:nvPicPr>
        <p:blipFill rotWithShape="1">
          <a:blip r:embed="rId3" cstate="hqprint">
            <a:extLst>
              <a:ext uri="{28A0092B-C50C-407E-A947-70E740481C1C}">
                <a14:useLocalDpi xmlns:a14="http://schemas.microsoft.com/office/drawing/2010/main"/>
              </a:ext>
            </a:extLst>
          </a:blip>
          <a:srcRect b="-1179"/>
          <a:stretch/>
        </p:blipFill>
        <p:spPr>
          <a:xfrm>
            <a:off x="445008" y="1203864"/>
            <a:ext cx="3753120" cy="3664014"/>
          </a:xfrm>
          <a:prstGeom prst="rect">
            <a:avLst/>
          </a:prstGeom>
        </p:spPr>
      </p:pic>
    </p:spTree>
    <p:extLst>
      <p:ext uri="{BB962C8B-B14F-4D97-AF65-F5344CB8AC3E}">
        <p14:creationId xmlns:p14="http://schemas.microsoft.com/office/powerpoint/2010/main" val="498008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30CA616E-E139-F651-6AF3-7ACB81F51A8D}"/>
              </a:ext>
            </a:extLst>
          </p:cNvPr>
          <p:cNvSpPr>
            <a:spLocks noGrp="1"/>
          </p:cNvSpPr>
          <p:nvPr>
            <p:ph sz="half" idx="2"/>
          </p:nvPr>
        </p:nvSpPr>
        <p:spPr/>
        <p:txBody>
          <a:bodyPr/>
          <a:lstStyle/>
          <a:p>
            <a:endParaRPr lang="nb-NO"/>
          </a:p>
        </p:txBody>
      </p:sp>
      <p:sp>
        <p:nvSpPr>
          <p:cNvPr id="3" name="Plassholder for dato 2">
            <a:extLst>
              <a:ext uri="{FF2B5EF4-FFF2-40B4-BE49-F238E27FC236}">
                <a16:creationId xmlns:a16="http://schemas.microsoft.com/office/drawing/2014/main" id="{01A7A8EA-E8E6-D8DB-930A-98AE76A368F1}"/>
              </a:ext>
            </a:extLst>
          </p:cNvPr>
          <p:cNvSpPr>
            <a:spLocks noGrp="1"/>
          </p:cNvSpPr>
          <p:nvPr>
            <p:ph type="dt" sz="half" idx="10"/>
          </p:nvPr>
        </p:nvSpPr>
        <p:spPr/>
        <p:txBody>
          <a:bodyPr/>
          <a:lstStyle/>
          <a:p>
            <a:fld id="{1A1F10B7-A01E-430E-A625-DB4259FCF2CA}" type="datetime4">
              <a:rPr lang="nb-NO" smtClean="0">
                <a:solidFill>
                  <a:prstClr val="black"/>
                </a:solidFill>
              </a:rPr>
              <a:pPr/>
              <a:t>19. oktober 2022</a:t>
            </a:fld>
            <a:endParaRPr lang="nb-NO">
              <a:solidFill>
                <a:prstClr val="black"/>
              </a:solidFill>
            </a:endParaRPr>
          </a:p>
        </p:txBody>
      </p:sp>
      <p:pic>
        <p:nvPicPr>
          <p:cNvPr id="5" name="Bilde 4">
            <a:extLst>
              <a:ext uri="{FF2B5EF4-FFF2-40B4-BE49-F238E27FC236}">
                <a16:creationId xmlns:a16="http://schemas.microsoft.com/office/drawing/2014/main" id="{E6A5CD5D-856D-19CD-053D-73A7569FD2C8}"/>
              </a:ext>
            </a:extLst>
          </p:cNvPr>
          <p:cNvPicPr>
            <a:picLocks noChangeAspect="1"/>
          </p:cNvPicPr>
          <p:nvPr/>
        </p:nvPicPr>
        <p:blipFill>
          <a:blip r:embed="rId2"/>
          <a:stretch>
            <a:fillRect/>
          </a:stretch>
        </p:blipFill>
        <p:spPr>
          <a:xfrm>
            <a:off x="82732" y="123438"/>
            <a:ext cx="6544383" cy="4713554"/>
          </a:xfrm>
          <a:prstGeom prst="rect">
            <a:avLst/>
          </a:prstGeom>
        </p:spPr>
      </p:pic>
      <p:pic>
        <p:nvPicPr>
          <p:cNvPr id="7" name="Bilde 6">
            <a:extLst>
              <a:ext uri="{FF2B5EF4-FFF2-40B4-BE49-F238E27FC236}">
                <a16:creationId xmlns:a16="http://schemas.microsoft.com/office/drawing/2014/main" id="{9B63ED0C-2A99-8741-D9F2-3B4405D3445C}"/>
              </a:ext>
            </a:extLst>
          </p:cNvPr>
          <p:cNvPicPr>
            <a:picLocks noChangeAspect="1"/>
          </p:cNvPicPr>
          <p:nvPr/>
        </p:nvPicPr>
        <p:blipFill>
          <a:blip r:embed="rId3"/>
          <a:stretch>
            <a:fillRect/>
          </a:stretch>
        </p:blipFill>
        <p:spPr>
          <a:xfrm>
            <a:off x="3040447" y="1826629"/>
            <a:ext cx="4537932" cy="3281946"/>
          </a:xfrm>
          <a:prstGeom prst="rect">
            <a:avLst/>
          </a:prstGeom>
        </p:spPr>
      </p:pic>
    </p:spTree>
    <p:extLst>
      <p:ext uri="{BB962C8B-B14F-4D97-AF65-F5344CB8AC3E}">
        <p14:creationId xmlns:p14="http://schemas.microsoft.com/office/powerpoint/2010/main" val="372047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a:xfrm>
            <a:off x="978923" y="646217"/>
            <a:ext cx="8515018" cy="3816140"/>
          </a:xfrm>
        </p:spPr>
        <p:txBody>
          <a:bodyPr>
            <a:normAutofit fontScale="25000" lnSpcReduction="20000"/>
          </a:bodyPr>
          <a:lstStyle/>
          <a:p>
            <a:endParaRPr lang="nb-NO" dirty="0"/>
          </a:p>
          <a:p>
            <a:r>
              <a:rPr lang="nb-NO" sz="3700" b="1" dirty="0"/>
              <a:t>Informasjons og analyseplattform	</a:t>
            </a:r>
          </a:p>
          <a:p>
            <a:pPr marL="0" indent="0">
              <a:buNone/>
            </a:pPr>
            <a:endParaRPr lang="nb-NO" sz="3700" b="1" dirty="0"/>
          </a:p>
          <a:p>
            <a:r>
              <a:rPr lang="nb-NO" sz="3700" b="1" dirty="0"/>
              <a:t>Fremtiden innkreving</a:t>
            </a:r>
          </a:p>
          <a:p>
            <a:pPr marL="0" indent="0">
              <a:buNone/>
            </a:pPr>
            <a:endParaRPr lang="nb-NO" sz="3700" b="1" dirty="0"/>
          </a:p>
          <a:p>
            <a:r>
              <a:rPr lang="nb-NO" sz="3700" b="1" dirty="0" err="1"/>
              <a:t>Tax</a:t>
            </a:r>
            <a:r>
              <a:rPr lang="nb-NO" sz="3700" b="1" dirty="0"/>
              <a:t> 2030 </a:t>
            </a:r>
          </a:p>
          <a:p>
            <a:pPr marL="0" indent="0">
              <a:buNone/>
            </a:pPr>
            <a:endParaRPr lang="nb-NO" sz="3700" b="1" dirty="0"/>
          </a:p>
          <a:p>
            <a:r>
              <a:rPr lang="nb-NO" sz="3700" b="1" dirty="0"/>
              <a:t>Bedre styring og forvaltning av informasjon</a:t>
            </a:r>
          </a:p>
          <a:p>
            <a:pPr marL="0" indent="0">
              <a:buNone/>
            </a:pPr>
            <a:endParaRPr lang="nb-NO" sz="3700" b="1" dirty="0"/>
          </a:p>
          <a:p>
            <a:pPr lvl="1"/>
            <a:r>
              <a:rPr lang="nb-NO" sz="3700" b="1" dirty="0"/>
              <a:t>Operasjonalisere styring og forvaltning av informasjon </a:t>
            </a:r>
          </a:p>
          <a:p>
            <a:endParaRPr lang="nb-NO" sz="3700" b="1" dirty="0"/>
          </a:p>
          <a:p>
            <a:pPr lvl="1"/>
            <a:r>
              <a:rPr lang="nb-NO" sz="3700" b="1" dirty="0"/>
              <a:t>Sikre personvern og informasjonssikkerhet</a:t>
            </a:r>
          </a:p>
          <a:p>
            <a:pPr lvl="1"/>
            <a:endParaRPr lang="nb-NO" sz="3700" b="1" dirty="0"/>
          </a:p>
          <a:p>
            <a:pPr lvl="1"/>
            <a:r>
              <a:rPr lang="nb-NO" sz="3700" b="1" dirty="0"/>
              <a:t>Komme i posisjon til tenke strategisk på data, hvem som eier og hvilke data som har mest verdi</a:t>
            </a:r>
          </a:p>
          <a:p>
            <a:pPr lvl="1"/>
            <a:endParaRPr lang="nb-NO" sz="3700" b="1" dirty="0"/>
          </a:p>
          <a:p>
            <a:r>
              <a:rPr lang="nb-NO" sz="3700" b="1" dirty="0"/>
              <a:t>Smelte sammen forretning og IT i tverrfaglige produktteam</a:t>
            </a:r>
          </a:p>
          <a:p>
            <a:endParaRPr lang="nb-NO" sz="3700" b="1" dirty="0"/>
          </a:p>
          <a:p>
            <a:r>
              <a:rPr lang="nb-NO" sz="3700" b="1" dirty="0"/>
              <a:t>Smidig etat som samtidig bygger riktig	</a:t>
            </a:r>
          </a:p>
          <a:p>
            <a:pPr marL="338172" lvl="1" indent="0">
              <a:buNone/>
            </a:pPr>
            <a:endParaRPr lang="nb-NO" sz="3700" b="1" dirty="0"/>
          </a:p>
          <a:p>
            <a:r>
              <a:rPr lang="nb-NO" sz="3700" b="1" dirty="0"/>
              <a:t>Sky </a:t>
            </a:r>
          </a:p>
          <a:p>
            <a:endParaRPr lang="nb-NO" sz="3700" b="1" dirty="0"/>
          </a:p>
          <a:p>
            <a:r>
              <a:rPr lang="nb-NO" sz="3700" b="1" dirty="0"/>
              <a:t>Maskinlæring og ny teknologi</a:t>
            </a:r>
          </a:p>
          <a:p>
            <a:endParaRPr lang="nb-NO" sz="3700" b="1" dirty="0"/>
          </a:p>
          <a:p>
            <a:r>
              <a:rPr lang="nb-NO" sz="3700" b="1" dirty="0"/>
              <a:t>Globalisering </a:t>
            </a:r>
          </a:p>
        </p:txBody>
      </p:sp>
      <p:sp>
        <p:nvSpPr>
          <p:cNvPr id="3" name="Plassholder for dato 2"/>
          <p:cNvSpPr>
            <a:spLocks noGrp="1"/>
          </p:cNvSpPr>
          <p:nvPr>
            <p:ph type="dt" sz="half" idx="10"/>
          </p:nvPr>
        </p:nvSpPr>
        <p:spPr/>
        <p:txBody>
          <a:bodyPr/>
          <a:lstStyle/>
          <a:p>
            <a:fld id="{1A1F10B7-A01E-430E-A625-DB4259FCF2CA}" type="datetime4">
              <a:rPr lang="nb-NO" smtClean="0">
                <a:solidFill>
                  <a:prstClr val="black"/>
                </a:solidFill>
              </a:rPr>
              <a:pPr/>
              <a:t>19. oktober 2022</a:t>
            </a:fld>
            <a:endParaRPr lang="nb-NO">
              <a:solidFill>
                <a:prstClr val="black"/>
              </a:solidFill>
            </a:endParaRPr>
          </a:p>
        </p:txBody>
      </p:sp>
      <p:sp>
        <p:nvSpPr>
          <p:cNvPr id="4" name="Tittel 1"/>
          <p:cNvSpPr txBox="1">
            <a:spLocks/>
          </p:cNvSpPr>
          <p:nvPr/>
        </p:nvSpPr>
        <p:spPr>
          <a:xfrm>
            <a:off x="715352" y="57204"/>
            <a:ext cx="8371046" cy="512448"/>
          </a:xfrm>
          <a:prstGeom prst="rect">
            <a:avLst/>
          </a:prstGeom>
        </p:spPr>
        <p:txBody>
          <a:bodyPr/>
          <a:lstStyle>
            <a:lvl1pPr algn="l" defTabSz="676341" rtl="0" eaLnBrk="1" latinLnBrk="0" hangingPunct="1">
              <a:lnSpc>
                <a:spcPct val="90000"/>
              </a:lnSpc>
              <a:spcBef>
                <a:spcPct val="0"/>
              </a:spcBef>
              <a:buNone/>
              <a:defRPr sz="3674" b="1" kern="1200">
                <a:solidFill>
                  <a:schemeClr val="tx1"/>
                </a:solidFill>
                <a:latin typeface="+mj-lt"/>
                <a:ea typeface="+mj-ea"/>
                <a:cs typeface="+mj-cs"/>
              </a:defRPr>
            </a:lvl1pPr>
          </a:lstStyle>
          <a:p>
            <a:r>
              <a:rPr lang="nb-NO" dirty="0"/>
              <a:t>			Oppsummering </a:t>
            </a:r>
          </a:p>
        </p:txBody>
      </p:sp>
    </p:spTree>
    <p:extLst>
      <p:ext uri="{BB962C8B-B14F-4D97-AF65-F5344CB8AC3E}">
        <p14:creationId xmlns:p14="http://schemas.microsoft.com/office/powerpoint/2010/main" val="25482374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p:cNvSpPr>
            <a:spLocks noGrp="1"/>
          </p:cNvSpPr>
          <p:nvPr>
            <p:ph sz="half" idx="2"/>
          </p:nvPr>
        </p:nvSpPr>
        <p:spPr/>
        <p:txBody>
          <a:bodyPr/>
          <a:lstStyle/>
          <a:p>
            <a:pPr marL="0" indent="0" algn="ctr">
              <a:buNone/>
            </a:pPr>
            <a:r>
              <a:rPr lang="nb-NO" sz="2800" dirty="0"/>
              <a:t>Spørsmål? </a:t>
            </a:r>
          </a:p>
          <a:p>
            <a:pPr marL="676341" lvl="2" indent="0" algn="ctr">
              <a:buNone/>
            </a:pPr>
            <a:endParaRPr lang="nb-NO" sz="2400" dirty="0"/>
          </a:p>
          <a:p>
            <a:pPr marL="676341" lvl="2" indent="0" algn="ctr">
              <a:buNone/>
            </a:pPr>
            <a:r>
              <a:rPr lang="nb-NO" sz="2400" dirty="0">
                <a:hlinkClick r:id="rId2"/>
              </a:rPr>
              <a:t>geir.myrind@skatteetaten.no</a:t>
            </a:r>
            <a:endParaRPr lang="nb-NO" sz="2400" dirty="0"/>
          </a:p>
          <a:p>
            <a:pPr marL="676341" lvl="2" indent="0" algn="ctr">
              <a:buNone/>
            </a:pPr>
            <a:endParaRPr lang="nb-NO" sz="2400" dirty="0"/>
          </a:p>
          <a:p>
            <a:pPr marL="676341" lvl="2" indent="0" algn="ctr">
              <a:buNone/>
            </a:pPr>
            <a:r>
              <a:rPr lang="nb-NO" sz="2400" dirty="0"/>
              <a:t>@</a:t>
            </a:r>
            <a:r>
              <a:rPr lang="nb-NO" sz="2400" dirty="0" err="1"/>
              <a:t>geirmy</a:t>
            </a:r>
            <a:endParaRPr lang="nb-NO" sz="2400" dirty="0"/>
          </a:p>
          <a:p>
            <a:pPr marL="676341" lvl="2" indent="0" algn="ctr">
              <a:buNone/>
            </a:pPr>
            <a:endParaRPr lang="nb-NO" sz="2400" dirty="0"/>
          </a:p>
          <a:p>
            <a:pPr marL="676341" lvl="2" indent="0" algn="ctr">
              <a:buNone/>
            </a:pPr>
            <a:endParaRPr lang="nb-NO" dirty="0"/>
          </a:p>
        </p:txBody>
      </p:sp>
      <p:sp>
        <p:nvSpPr>
          <p:cNvPr id="5" name="AutoShape 2" descr="data:image/png;base64,%20iVBORw0KGgoAAAANSUhEUgAAALcAAACvCAYAAAC/609pAAAAAXNSR0IArs4c6QAAAARnQU1BAACxjwv8YQUAAAAJcEhZcwAADsMAAA7DAcdvqGQAAJDxSURBVHhe7Z0HoF5Fmf7fr9fbS3ojlRJ6E1iKFAEFBRsIFuy41l37/nV1d9W1rF1XQUVRQBAEaaJ0lN5rCCQhlSQ39ya3fL3+n9+cO+HKgrsklBDuwMk593znzJkz87zvPO8778yx8TSettcUaiqNHo+nFyj5Kg6FQlar1dxxNBp1+/H0wqXw6H48vUAJYJfLZatWq+5vAE7ifKPRcMfj6YVJ4+B+gRNgjsfjFolERs+o0sNhd94DfTy9MGkc3C9C8mBGW/uNVK/XNx+Pp+c/jYP7RUiA2AMZDe61+DiwX9g0Du4XKQFoNDg8u1KpOGBjVI5TkxcujYP7RUiA2gN7eHjYBgYGnNdkHNgvbHrFgTufz48ePTMtAIB4N6ARPvH3/5bIC8D6PMnn6d4QwPzLX/7S3vzmN9vXv/51GxkZGf0lSNzLc7nvmco2np5bekWBG/DhuQA4xWLRnQNI0AQPYDSspwsenP8Xn7S/1mtj9v7Y//bXv/7Vfv7zn1tLS4tdffXVdtxxx9ktt9ziyoM253roiy/TeNq69IrT3LFYzAEnkUg4UHEM4NkKhYLT7IAMkCMMgH6sG++ZEmAkr2e6jvPkNTg4aGeeeabNnDnTvv/979v5559vU6ZMsXe/+9123333WVtbmxO4TZs2OWFi80IxnrYsvaLADWBKpdJmwLEB9oceesht6XTaMpmMAzTXcT2g5/jvJa9xx2rqsW4+zl9//fV28cUX2zHHHGNz5851zwLs06dPt+985zvuWclk0oHc3zOeti694jQ3GpsNw460evVq++xnP+t48I9+9CPr7++3VCrlgAlIARnX/73ENR6MnjN77wjn165d64DN8U9+8hP73ve+5/LnOQhXX1+f499eU48VwPG05ekVFVsCzUBD8sq5XM6B6dvf/rbjvSRAtttuu9nb3/52+4d/+AenSQGrB+n/lsjXA3ts+u///m/70pe+ZGeccYajPhiT9BBcS5kQqn333dddyzmeR17/l2eOp7+TAPcrJQmoo0fNpkDVvOyyy5rHH398U4aeOyeQN0UbmjvvvHPzC1/4QlNa3Z0XD3f7/y0JmC5fn3jenXfe2RRwm1/+8pdHzzab9957b1NC1HzDG97QXLJkibtv2bJlzccee6z55JNPNiUAzWq1Onr1eNrStN31e3qnzd372MR5kvdCQEtuvfVWRzkOPPBAd+5Vr3qV4794M37wgx/Ypz71KVu6dKnjxyS0OMlr3GdK/Maz2NDSAqw98cQT1t7e7oxF0u67724nn3yybdiwwTo6OuyRRx5xXpQvfvGL9pnPfMYuuOCCzd4b8vN5+r998r+R/DPHnnulp4i6yy+NHm8XiQYGhHTpNLI/HtvwROhBT/BO/O53v7PJkyfbjBkzHP/lnDSrff7zn7fLL7/cARDQ8xuAhnKQJ/l4+sF58odOcN7TCYzRbDbrzuP6kxbfTHV++tOfOsE64ogj7KMf/agTNOgKv//2t791z4MieWEkX/9uvvw8l7859u/JnjTO17dDcNPAY0HnGx0AcJ5jgIIxN23aNKfB4cQYffiaAR2a+n3ve5+tX7/enTv00EMd6Pz93HP77bfb0NCQdXV1ufMe3CSu4W9Sa2urEw5cgIsWLbKLLrrILrnkEqfVEaAbb7zRrrjiCttll11cj3HSSSc5LX/22WebaIsrC/mTt383DE4Eg3P+/bywcc5f+0pP25VB6TUbQPYa1Dc8Dc7v/I0BSdcPYA855BBbvny5/eUvf3EG5dSpU+0Tn/iEAz8a9S1veYudeuqp7n6oAufxUf/sZz+znXbayfbZZx/n3uvp6XFlQKDGPs8nr1EB8+OPP+4Av9dee9mrX/1qR4sWLlxov/rVr5zvG+EBvHhW7r77brvqqqts0qRJJvvA7Xk//64kr7l94h15/is9bXfgBlx06f6YDY3GORr9j3/8o33ta19zWpvfVq5c6TwV73rXuxxw0Z5QFTQsVOW73/2uoxaAjTxl+Nk3vvENp2l7e3vt2muvdb8fddRRTlDQtFznAe4HgXg+dIIyAEafXv/61ztfNwM769atc1r93HPPtbe97W1Og59zzjnO901ZSf/1X//lngvl8QLsaYoH9FjBfiWn7YqW+Mb0wOJv9oCL9OSTT9q3vvUtRzP+3//7f/aa17zGacI//OEPzs8MJQCcaPIdd9zRAR5Nyv2AFO2IdkWzcj8AhxeT7zXXXGN33XWXdXZ2ujwBI/cAasrjwUde0AqO/eDQ73//e3c9NAjOjysSIcNNiUvy3/7t35zgwNsBP2XdeeedHcA9iNnIg2chXP7cKzqpIrarJEA1xYXdMe40Nbg7xp2HC050wO35zaezzjqrefTRRzdvu+02575jE/DcvbjlSBzjKjzxxBObohbu3ODgoMuXTcBu/uu//mvzhBNOaH7zm99sbty40V3Dc9goF4m8fZk4n8vlmqJI7j4JW/O0005rPvTQQ00BuynK0ly6dKm7lvTFL36xKSFxrkvZCE31Qs1Vq1Ztzpsys42nIG13xAwN6V13eD3g1gKAOwfNwJDDgOM6rzkxCtGw3rPBeTQsmg86QuI+qAo8+eCDD3baE82JtiShwT/2sY/ZBz7wAcep2fNsnkNe5IvnA83K3wwikT/lksC4UUs4Nj3LhAkTnAsSPk+ZvceE3oFYFMqAq/Id73iHSaDc+3ieTpm4fiwHf6Wm7dIV6OnAmjVrnN8aKgGIACBcm1eGSgDMBx980H784x87lxz8F1AARIAHCAEKf2PU3XTTTfaFL3zBAUha1/3mgQtYOV6wYIHtv//+Lu8rr7zS/vznP9vs2bOd1wQD1peR8vnE3/i74djwfvKhXPi/d911V0dR4OS4CxEAQgY+/OEPO0MW2kTg1QEHHOCEk/IjQF6I2FNWhIznUC7OvxLSdjf87l+HPaAD4AAD7UbAEhoSo/ArX/mKG1Sh8fGIvOc977Hu7m4Hag8AtDVCgZsQDQmA4OFEDiJA/MZziPiDawNeP1ADeBnAwVdOqKtohx177LHOeOSZ3OdBxjPh2gCb3gaDFg3NwA7A5XcCrz73uc+5QZ7DDz/clRWujlAB3CVLlth1111nokPufbAHALp/H8oL+DkeK1jbdVIlbzcJDqvu2R3DZQU0x3EFpuYDDzzQlKHWnDhxYlMGWnPx4sVueP3RRx9113Md96vx3fUcw6U5/41vfKMpULv84LeiJI5T8zu8m2dxDNfnb3g6+ZAH5+DooilNga553nnnNQcGBtwz/XXqAdwz2e65557mnDlzmmeccYa7Bn5NOMCRRx7p7pPmdn8//PDD7nrKc/755zcFZvd+n/jEJ5oymJvqadz9lJnrSL5MlPWVkLYrWoKmhneinaAOaEKB1wQEp1nRzgymoBnZoAJ4TtBu3It2I3k+zv3QA3zap59+us2fP98N6qChuQbNLuA4jYgG5W/oB3kxskl+UA2eCU8WsJzrEG2M1serghaFL5Mn2pv7eTb8nh5BYHcU6t///d+dC/Cd73ynvfe973UUiiQj2IUJEIj1H//xH84nz/VoeugR/nfyo7zeTvB2xPaetkvODUgALCOCvB7ReLj7ACLG4D/+4z86agGPBnQAAOBxDxt0AdBx7stf/rLr4gEVHBugAF7AghCx53mABpADaDZ4shcAygSY99tvP+fCUy/i3HpwZ4xZBo64hnzJE/qDMCIE3M9gEkKIoJIPrkL2vA9UhNHSPffc0wGasiNod9xxh6MvvCf0BcMUAQLY3Md7bu9puxvEAYAAE8Dhiwag+K8Z/MAgA6innXaaC16Cg9PQNDp7wEWCq5IAIF4JJhUAQu9FIU+u5TncV6vV3XEkgvbHI1J3eZK80PB7KBSWEAQzgeDh9B6FQlHAPcT5s315vLBwj0+cA5g8l/fkb8pDLDrPwq7AB37zzTe7QaCDDjrI9Thwd4SJoXx6Ebw4CM4rIW13mtuDCcMMjYXGRTtDB3DVYUwSS4JWZRDHa7CxewC0YsUKF2eCmw6tmMuNCFwBdUBDA2CJkwNjNBoRwPGelN0xAgCA6/WahcIha0hYACR/IzgAfOrUaQL0Qe7aP/3pKlGnh3SNOaqE1vd50At4QaJsnjoBaM6hmS+99FInrIcddpj7DWoDdWH09Zvf/KYTbqgRPQEDTQz3Izzbe3rZgRuQ0Mh03+zZAAFg4DjQoBEHTuI4aHAaH64MHYFHc/1HPvIR53Gg2/fAYfP546mAC+NyKxTwSEBFQlatlQVyaexmw+oNlQGANwX0ELTClVCbeoEIgtLQP3WLxihbQ9fVdH9FZa+4vNLppHP17bvP3vbY449J8/7BAbK3d4LK1uPK5XsRnwAl70cC9PBw/Pi8I65HegS0Mz5yhBmKg2eIPW7DH/7whzZv3jyT0eryGJvG1unYvxFgv+eZL5f0shvEoZKpdN/oaFIqHGOJhiURAAWPxriiC8ZNtsMOOzhth3HJ0DpBTyTf1ZMvWpE93TiGGjHX/O2uccCuKo+ErmMaGP5wAUEbe9o8+BtAE08tQOg4JNA3GqIqzYr7OxrTNZG6lasFyxeHLVfYaJmWlH3yU5+wz3/+M3qvin3hC5+3H/3oh84FiTDSy1DGscBCYwM2Bnz++Z//2V772tc6wLLH8GXonsEkBBp+Tn2RF8JBz4AGf//732+f/vSnXbw5Qk3y9euB7c+ROEfP+HJJL0vODdf0GpqwUwKLGNHDF01sNsA++uijXaQdIMAoZABmjz32cL5numqOaTS0OA2Gt4HGAzB0ZggCoOFZgKJep1FpZF9dQYMHiXOj5x2wSc9UrWOve+r3CMAVXweA1WrN7rjtDrtIlGqgf9je+ta32ete97rNwPaeDs/7fU/D3wgBG+9IBCGG6oUXXui4NkoArwq/nXXWWe7dOEd9YdgSCUmEoq9b8vN2Q1Cuqns2zxsrZNtyellybirXd82eO0IvCDxi+JoGRGMDYLQWhhrBULjIPvjBDzqPiXe/+cZCa9N4DPbAzz/0oQ85rQjYq1Vp6RDGHY3Kc9k41ua0mt84N3bPdVHhWWVs6v4m0YBsOt8cvU5GJuqF5/BOiUTcJk+ZaAeKRrS1ddj551/ownHxskBBcDF6YQTUAI/7eA9ACf0i0IrEdfyOjYBxjVeFEU6ehZGMAiBC8uyzz3b1Q3AW9el7CuoEgfe0jTQO7hcw0TBUtK9sn9DeGE2AmW6XuA581NAPumu0OKOEGF40OMCm8T1fJzG6iHcEDcZwfABsNCScGYCOAnMUlAGASfzN3v/NfvR3gF1Pjd4LwMkH7atN+1otZKlEi4QnYaWi6EC1aelUq96hQ+We59yHAM+HxBIH7n3h1AHal3fx74CdQZgsvRiGJLYD3hOEHYFFSKBwgBSgI/hQGQCLJwnBxo0ItaEuveAAeF/vT6/7bTW9LGkJWhotS8XTUIAZwKLVqHi0DwYlbjJ83cRa33///c77QZwHNMN3vSTyoXFxFxLPwWCIXz8EgIcF7HoNsLJ5aqFtlFu7tJmOsOe60b89mJ9ey46WMAQfslIZozYibRzXcUlUa5MrTyqVdhvAYoIFgocPG/cecSWAmvfmd69loV+LFy92tAQ7A/BjcPK+vBPzNHFrsodv/+lPf3IhCfjEqTO0N70CXiIGmd761re6633+/PZySS9LWgKAAaTXwOyZhIAmwmNAN8wEhFNOOcUdAwziOuiG/QgiQgHIAS8bgMDvTGOi5XkGfB3gNKEQLoASjSXQAuSnb5tBz/GYFMKTUhTey9oqT+1DbOLJMT3fCgJ1zirVosUTIWttS1siiaaEGlQdsGbNmmVvfOMbXdlxcRKQRRAYfBph9nSBc3hKoDCAkd+oK4BKPTHQg6EJNSPOhcEtejzqC+pC74DW55msa8i9uEJ9D4eQvFzSNqu5KdYzdX/e4OE3goTQKmgcRvE4RwOjjdA8uMLwjCAAJBoHrY/2AdAcA37yhHuS0Gb8TZeMZkdTtrZ2WLNBWdioLgALiD24R08H/6jsEgR3qH24KgZDWKxObBaSUWqjVBF4U+mkQIgXhtFNwnAJrFK2AncyEWhKbASAih8c4xmAM8gEpaBnwr2HIJLIh3dl83XIe/BOeGAIJeDdMSbxDNFjUR/UIbqOwCvAjKAz/A+do54Y8kcIPGS8QPnkernRv/01z9SGL1baJjU3FYOWoWI49hVFosEAHXsam2sIaQXgeAbwXXMM8DGUcHMR6oqGo/K5zyd/P9qMkT00PVqMhuc6D/BUKuF82k9pasAtSuP2lBOg163hykrOEkyBF3CG3fVcyznRn5A0srg3HD4k3s2+XosK5LqrIUCGUxaB31vcXdtsBj0LAopQUy8AHL81gosGv+yyy3ioTZw40dE1rgNkvh7Zey8L1IQejN8BMKO1GN4f//jHHXBxHVIv0Dg0N3SF0U5co8STw/l5PnnSM4wFNxSIeuMcz6XufBuyZ3sx01Ml28YSlUQFsVGJbCQqzh+jzfgd7QK/BNDEi8BJ4dcYUXgPyIuK5Vqfr298RixvuOEGZ1gxoELy10JLuCYapSsGwDwXoMLVATZ/Ax5+Q4sF5YtEcFOKDoQF4HBU4K2NjlL69UfU4NwCzJV3lOsFZGtK8KTdw+GY85p4kPqyAnLKBSjRznvvvbfzDqFp6a2gFewJuOJ6Nq4FZFzP3xwDTkZucZHiZkQ46K0I50UIuIcejDph0AfDlGf4FQIAMQqE3oDk2wFlwG9e+VCPtBX74L1f3LRNam5fOWM3GtZ3e3S/NACGJJVGY8Kh4dOAm8EbztOgeAjglvxNPtxPYk9+eAfQSmgseCoNRmPwDMpBCp4PmNVAzhBEG7MPGiziACpNizfEuf5i1qwrf90CoCPi1cSdhEJqcAFYjxUYtNUA3+iaJzIsI7AKCUytXlLZC8o9GNr3wKC8HLNx7D0leIDQvrg6eR+MYs7Ds7EruJ66GKvReSf2vCfAJESBHg7KhneFEU+oGj0Z6ydCXRjhZMSXY9ZWYWY+dU6P4duI/Hw7+ed4cLNne7HSNmtQevB5yacBSL7yqCy6TgZx6E5pBK4577zznBYH5ACVLthrFN+YgJY9LjY0PJySwCU0ECDwXThlABCco5FUEJ0FaNpvbiOVUyCt1xie1jUNUQ3n5hNSG9AK9RSNkn7jPhpaWlqamfzwkEQiAkBUWj1UsnpTGrA5or+LlsrSE0jzSb4waCm7Tx4g0Ac0LuVj4Ip6AIBwcvg4mhaBxS7hnbjWA829jxJ1gREKZ0dhcA3rqRAuCzcnYXSi3aFtxOWgteH6tA3+cgSD51L/HtS0Ec/kb8pHos5fzLTNcm4234hUkK8YzlGpaCZcdlARgImWojIZakerULms3Iq/1jckeZKPr3Ci5hAORu7GdqdsNDTABkCMGsJ/n/KYaC/ABXs4NPw4KdAmpMF1P8Px+pkNV18KihFJSqfDp7kubnFp+5i0MvlwDa/HUD6aPgSPD9NTof0DzUei3Byz98eUlXdlQ0tjJEKv0KgMseM9olfD1+8Na96LOvT1CqD9MefJA7qCncLSztAXfP88g1WzWO6ChfPR4oTcEtJAEBr5Ux7KRV3yHLQ+SoNelme8mGmb1dxUpAc0xxh5jB7iy0ZLUYl0i8Q4U9FcS5fKoAc0hMbBEPJ5ULEAlZBUKh2ezkAP07boVsmf3xmwCYy4QHMGYOIc+SAko6BmEEc0g3NNRh+lrSP6W5ATYPUTilZbKReyFYsitn5F1FYvjdiKx8K2cklIm9nKpfp9JGzVUlSEJm6JaMri4axyzCqfjPJIu+cQnxL6G2BQhsCgQ6CpHwAMoAAYG8YmLjzOUW+E+/KeDMl74HE/iTx4T8+bUQjYKwg8GpseEsOTY/zgb3rTm1wetAHRl9gteFZwMdJzUuc8i/zR7Cgc+LvX5C9W2iZdgRQJsAFWKpy/0aRM5KVbhEYwjI7W/ad/+ifnOeCYhMFD94z1z33cT0Ny7OKtK1AEs09+6pM2oWeCG8yolGW4NogrqVmlSsw2IaVED8oQK+EtyQQGoXMHSjM5Xq3uF+qtM6m0/q2HbOMGAXaF2dLH16pBV9ia1X023C9KtGmGVYoRK6m3oBcISVMn4qIlcVGZ0JClM2YdXVHrmZgWRei1HeZ02cwdzCbPMMu06d3reg89S+akNZolYO3eFQO0rh8IDYjFRNdUIGLL0fwIKgLKu69atVK92QVu9PKQQ/7BARXtTIguUthQHoERTI8F8IMZ+9Qd/B3NixYnkhLjkoArwI2tQ6+JyxWBIIISioNHBsHC304oAMLAPYD7xUzbJLi9VkCboJWQdo4ZYIBLMwWLYB9G6egWoSTMNEHTcC2DHQyfe82EJnHgjGgTQC79w8V2we8usW/+57ett3uq5fPEaohbV4atUOpTQyYsGU9KYEYE7ri1d7ZZqdDvfL31aotV8klpWFWezIDBAbO/Xt+wh+8v2JLH19nK5ZtsZLjojEnA1aipO673ShDi7tloXN4FbawfVEaMVjwwUJG6JZIRa2vPqAxx650Ss933abeDDovarAW6RKyi2hySXMnobYoMxdqtWg5GT6MS3IR+xwjNF3Pa6zkSwqDHSlq1VrT77nvQfv/7C2zlyifsjW8+zg4//DC9/0T9VnOUCi9NrQrQQ6qLsusBqH8S9stXv/pVp50Z5AHAzAgCPqwIAD8HxCgbBsTQ2LhXcSVimOKipT18u/o2xiPlR5g5/3TNjpKjHFui8bdZzc2LkqgQ+DGaG8n3xiGRbVjtgJzKplI9mKk0+CeJa9XOFk/FRRvq9sTqJ+wrX/m6HXzQqyUEJ+se6cFyTfmKXljBwpGyKpxZ8XXLZjp1T8YKuYIlYgJJVFShkRa4zdavMvvLNWW7+ILFtrEvZfVypw0P1gWUkPh1sH6IC3eV1g3B16EyFGSUUvjkGk2nmhIEgF4XmHh3Z2zGpVljA9bWM2C77JW2I4+bY/sdHLOWjqblC0xiiDo3Yq3WEG9mtFP3xXH38R5RgT0t4AeDOtRbPNGUjTIsDf4n+/Vvfm4LdpznFMEeu+8rcCMZGIMqjorkwxpoC+rV82dCAHCdklAa/P3rX//a0TzWUETDA1zmfGKsY/8wRY5zvBf3wPHZkyegRoB878qzaGvP3yl7UJcBHp5L2ibBzQvywlQAjT8W7BgvvDABUVQ2xg08D01NF4gG92msNqDLDgvcX//2f9niRU/a977zfYexULhkteZGVa5AxX9NUZBKIvB+6J5YtGbRcAZGbZWC2WOPNOzyS9bbVZfdY+tWScum56k8GWnQpMVCrdL4gXFIUg+vMogOKe+xgB6bKBsbr4em592hGkyACEVzIiCbrFovyO4sOlDvumePHfv62XbgYSHrnSqaJfQ2w0MShKZ6l5Ird2trl8BETxB2Grmg86VS4ArMZMTJU1Fbu3aVnXHmT51f/PBXH2nvfc+HHB+nHHUJNpMzqDuARpkQDgBKW6C9OQeP5jx1j5BAd1BAzPjB544HBfDTZnw2hd/Q5PjnAS7v7dvaa/Kx1IXn04ZB/Tx3cG+TBiUvw4vy0mwckxiJBMD4c/EI0DViscO5GY5mjRL+9pVBw9AY3F9R5T2y6FE784yz7YPv/7jNmT1J9EFaIakOPERcx4jAr3tk3Fk9bdEQLj2ZeXTX0mhL7q3bWT/O2/e++Ve769YNFq7NsHR0ByvnswJ1u2USaQds9DPaUsV2nByj1CHGWZj/M9F4Xr9Q5qc2DL2k+HiHpZOTLBmZYrmhtPh8zh68t8/uu6tfwEhY74SkdXanrCpbIhxtWktrRr2V6JT+xodeq4tyCYAtLRlXLyiGYlGaPJO1I494je2/34F2/fU3S0FcoAJHbJK4eDbDeixBD+IVDD0g9YiAMAgEzaDc/A39wLDHFkIrs1YL2p2eFb/7v/zLv7h7oTa4FTFWcT1yP2HKCAJtiWLyMT++Tng2ibI817TN0hISUk2l8IJY+3w7hrBM1s5m4IW/6bIImKKyCVnFk8J9NArJd4cR/f3Jf/6CtXV02b987qOWGxGopMnDBDFZ0epNNZ6uC0tL54ejlo21WDoRsXUrRT+uLtnZZ6yxgfVhaUdptXCrNetqAG3JRFR7QKrKVE6Amo2uXe3upptVRH0cQX+WNLYJvGCSW0NGaqXCbyFLi2VxOlesWqXZJwrSZ629g/aqQ3rtxJPn2t4HxS2aqlhOtkFd9Crb2mnlIhOJ8dtnXIwKEQS1URqA4clzW1pS4u5Ru+jCK2WHXGjtHS126ttPsj32WOgMeurPUwbuY8/fJF/PhACwsheGPEamj4fH2MQdizDwO75z3Le4KKEwvCsRib/4xS/c5GZ6BNrzyCOPdIqJ51AXCAwa/bkCfJvU3L4r8pXHS9GtEbpJpXH8yU9+0nE5YrbxxRIoBU/jWhqAeznmfrTONVdfp0a4zr70pX9VRYVtkyzB7u528euSoBO3tmyHVcpqvEbU2ttaLSot9uDtNfvFj3J2ztkrbGR9u7i2zot6JKLt0vIJBz7YRl17iAeeQcDMRjsQa6Icg5d6Fs2NZwLwUmY2n5yQ1NWDuXdwjzFRa5w1loq1WirTZcMDIXv80QFb9OCQVYtpmzIpYV09raIiAdcm34gb4axbqViQNpehq4wZ8kc7sq9Wm9KWRdtt9x1d3MiaNSvs0ssuNgZqqE/vdgVg7Nl8Walj9nhIcMFCR6A5LCmHNsaopO4Z+aRnBbA8F63OKDI9LV4UpsRRLmYD4WUhKtMn8vcK7rmmbZaWkMZyZjwluLL88gXM7sZKp8Jw/zESSQX5btQ3AMeMRH7rv75lb3rzG2333RdYoZhXw8kYC8fFlcEL/m3CRmOWjCasJM197eWb7CffWWY3XsWoZZfFmz2iHWg5gppwzVE2HYUYXmf4XPALS6DC4vaiB+EoqpzGR40/u8aBtjivisrOu9KQJHg3Bl5MRiKAJkQ2lipJm4qHCpCDBXHw2ETLxKfZ6hVNu+POlZYfqtuEXlGQVvz54sfKLy6NxzMi0ZCLPkzEMeL4BDhcWrRPxUylpYklfCkZ3Ye9+mA3qglQ8WszSEavyDnK5ntC9mzUN1oVqgElZGY9GhwPFtqZMQe0NnkQlozPHUrCOAR0BQOUZeIYKCLhboSi+LanXngux881bbODOCSnZUa7QEbYcMXB2xgGxjBhAIEujW4MafcekrFAQbswM4XGfd973y1NKg0kwBONhw+bUFMMyXKJlaPiNrQhYuecsdx+c+YSW3SfDNn6LJvcihtLAqf6rYpilGUp4hOPCtTxBODV38q30WSYGbceYa4qQxhDWPcJpJTnmTYvhBwjiE6w9RyaEr1vCEukqufnpT0LTpvHomlLR5JuwKiYH53J08CQW2GPLarZhK4OmzM/aZnWhBVL0rrS2vEYfuuq8ijqLp4nkZagUkbCbCkvVT04uFGad0dHKQCkjwZkHIGBGYBHGalbKATKxfeOgJxrADbvhLZnihzT9dDIAJljFtZnKiAam5lCzPxBaeEypB0BNoln8CzqZkvSNsm58X1ihfNSaN2zzz7bVRZGJFQEDkcXBh2hMhiIodKpTG+MUOlUNvzu61//hn3s4x+23fec54bHC3lcdBFx6rSb0Y5XoTWdscF1ITv7x3121k8esvLQVOvM7iADE2qgniBQqNSYNmloogG1l47VBsCpRjWCgPy3e2hHQD2eW6InKOk2CQyPdMP/4vf4y7Und0bvi7pEGJMA1Gwgt96i8ZrNX9BiJ30wYce9La1eJWR9AyUZnvjxR2w4N+jqjx4rKJvK5cJyZXwbYQYSz4oEJtXiaAmuVmgg9Yj2Zpgd7gwf99BxAqlE/aOMPCDpUZkex5A9bYFiwrvFABJjFOSFpsY/DpVhgA5gIywoKJLPe0vSNgluLHoqg8EAujS0Bt0elYRFzTocgJ4uEzrCtVSq1/S8EpWLgclM956eXtGY09Rw6t6kqVhqIaw9fLdcDFkykrXh9VH75Y/77YJfr7LyYI9F6xNUOzFTT+60dZNW98nHdANqt/kqpCG0eWA7cHMeAD3Xatb1IZaFk8HrJxczZQ2OQlbKMiJAO17veircfmEH2uHqkzZxwXJ75+kz7M0nTbWIbAzZoZZIFSWQJdEJAsFwuVFW5efeRYKKcU3ezYSzPQAWACd/vCEYjrj1CFIj5AFl47U217L5XtMbg7hrEQzug5szsQINjdFJ5CEhECiv3/zmN5uX2yBtt+D2kwUI+qECADhagWg3uBldH+eIdiP5rpE9jeHBzeQFujviRxbustCqpaZ6hbK1dKh7Lg+Je5esp2uO9S8z+9l3n7RzfrXSGiPTbFbvZBvYFLKRSsO62gSMQlnG4tOGjh3Wn1Z17k8P6NHkr3MTGp5L0juoV4BCOM0PCJsICb8FI61o4mxGPZX+q1XC4tMJB/CRUt5ydp+lu1faP378KHvHB7qsKNCXRUs6usJWKAWhCoHmpksSuN2ECjxH+qsmgzPZ4igd9U4vSo9IuwBUXH0Yg8SZsEwbGp26p85pB1//nAOcAB2NzHniUFBItB+hurhx4dwM3fsEsLmWe8lnS9M2ybkBNp4ROBlAZnoT/I55hAQEwdPgcGgQtDyVR6IyfKWg2TFo6EIZZCiKX9er+M7DVmvk1IA1yyS6LLchYRectdF+96s1Vtg43dLhCeqWdY3aGr+1iqJGZkAEIIxJYA6wjd0C5P3P5KjM6PH/OalhpT3ZHABd9mhXqApGHcCHAjABWeCRcRisU1izOPMvwzKMyxF7YtkGcfQO23Mvhv/N+jeOWFt71r2foEimQf4+6U+G4KFBAIv6BGyAE7CjfeHjgB2DEz6OkiHMeCyo2bjGa2Da1CdAjc1E/A92FN/f9D3uWGD79vT5Pte0TYKbSmR6GH5seDWagWB8tAgWOvQEqxxL3FcawT2ep1NBDM/jc8Wr4iupIoC3tMVteFAGVrjT4pa2S8/bZGd+734rDEy2jgwxySErqOGzTF3UPcPFQcvgZNYxvbjMQD1DezZdsvl47MZ1f/N30DjPeZPAuP98HhH1IMzJVC9ACC42Q6lAWGzIEkmArl6snrNqXQZis8Wy6Sm2bv06e+zx5TZx8lTbZdeoDGBWng1mJDlQo715AG/jqFNY79vqBNorDmgfdcg9lIuExwPvCPWOsoG2QCtQQlzPddQ5PJv7EA4ATxvBr2kj2pYxCwSD5N977HO8cPD855q2Wc2NxY3vmgoh7poAKSob3ykWN8O9GDUAngqlO/QVgBcFjYLBQiA93Wk0qkqKbhAI1H1bp+y0qN3zFwnBf6+1ZYtV6fHJ1qwRqxGxlJRhXJ1BXlyy3JRxK02IsYXbL6AXaGKeBSCCndvC/C7JYEIwXTwz3R2fHb32OaWgoYM7BWxA7WiK/gaQjYCH12T8MbJKefEIYUvwdyiUsREZzslEynL5fnt86YM2Z/48mzYjbLkC13O/cnf2AUBnzxb0VLSBHzcIRjWLri1QPJSIGUIY8fiwMeqJHsR45B6Wz+A+ruca7iE/QE87wcOJWyEkmSF/ruM8yYOa5LW4/+25pm2Gc1MMXoyKIH4YnzYGCzQELc63H/GT7rffPnbmz850C9ZEwsEQPS6yjLhnTV1ySfz4O9/5rjSFict93uVHPHalmrNobNjyQ02b0LGDrXq4aZ/96JN2z20D1p7ZQRhUF1pzCA2MtHpNBpg0Xazp/OKEhDZUPmFHewrs/tEGkOCZvIPuBuAyMsmDfXCDDoGlhA9t7I7FoQVDpyz5GVghPN4L4yYdK4+waBT1Qm56kruVAjR0AprlloDQcbHcsFq9rHcsu+UhGs2MVUVpUuqBcqUVlq/dbceeONNO/6c9bd7OEtwCD3Vs3eWPGLk4mAjhv+Qjo7IelY2CEVq2TDZmuPi5hokZ1C+gT2fQ1FH1ksP2wAMP249//AOnzQlmo/3I23uwaIuxnJz7vY3kExrea256ad9jbEl6yTS3fyHAyYsgvbwY8/cYoiXAnaAbpJzYbazz6dOn2fU38L3HO6yrs1PafYq0NtFvcO6qwB6y2++4xS6/4ko79ZR3iKPPtHwOn5c0DRN1y3FLRSZaTZrrv7+9yW6+foW1puZZbkgamxnnKgcoI946HAsAxZA1jdlQQzNtzCGbgRm8C/i0m1WLpxhN1V/6M6Hy4JXJF3FnMbfSrFQbEpaLFo5K0NxgD8+BKglQuo+RR9ovCniaJSvXBh1IG6FhATQnakBYK94gNJ+4qdCcLw9LK+u8hKWhMjFQE5U2DkeVr8DYCLHksozhnIBSbXexKU8sfVLPyNk++/WYiqnnVqxa63daPy0Ablg7bC2tSTdLqCZjOqp3XvpoSXWo8216l3jBBWFFjKUxgulyxJdXqgX1LAlp4elufRiWe6YdWTYCX7kf5aTN2Qc9qepcm6c+TsC0AWb2JK7dEjri00sCbgDtQc0LINFQC4Zl8YMCbibsYhTiE0VzY2Uzq/241x1r1157tf5ebsccfWzQ2G7F1aYseCLdzrD99tnfjjzyGAe4dDpug5sGtU9ZPMSXgEN2zaU5u/ziR2zDkzLEKh2WimWdQnSJA7cBYAAOCHWEQwG0u0ZQxqMnGAwZVpdNmGtaQjY0Io1WaVp7u36LVi0v2pRta3V+9VKpZoVSUYZewfHihgTDTS3Ts5pOw6supBkZsWQMPxlPW0JlazYQrrhA1NS9rhACY0bApmD60zEKlTcooP7HJRdMurBaSgImGiLJKeTrohd5a+/M2JydCCetWqvAjKAWC0Vr72i1cl7CIKFLqUd46K6KnX/OTVI6Fdt54QwZqlXH7/V0CbUy53kYuHhbZJy6dpW0wsVZto3FkBiO965c+DaApq396CYJpTYW1M9XeknA7aXUvxRGB38zbYyRK1YgxaGP1saSZiUoqMoRRxwuvj3JDj74IGmIY9QAWOPB0gtU+uVXXOFiTU7/4IdkwXcLCMSN6DlSv01pvbTU6ND6pn3vm7fZw/cNSJtP0X1JyybTamiHJ4cNB5SASyihyoN2dL85ULOpfQXsejNuWYKSpEEBdSIpUCeGbKS02oq11eoFalau4y+P24SepE2eGrPuCWFLZ6tuOB1wlGo5y6nnalZjlhQdYLpZs5bW3wJ1JWGVsjSYAJqUvYCrr15VT6H3jcCVXXnFMZwXRWXGJ+4mRgTD1rUqNAC/c8iKpaZt6Mvp3o22z4G91qny4DtHubBwkNv0vknV0xOPmJ37y5V25eU3Ws+ETtHB+eoZ9HyVD0FVg43WA88F3CqCypYUr2b8AWOfkWPsIuwlQiZIaHJATtujybnHRwI+3+klATcvhZRjpJCoAKQY45DYbCSbCiFIiphh1t3mN0Iq0TKtLa3if3ErEbqZZgpY05avWGW/+MVZ9uY3v8X223cf2zTYL+2WtI2bNsp4yQokSYup+77iorxd/Lt7hd+J0tgzLSJuiuehJHBDIejyA00UaG6noVwSaJ2hGDQk2jFY2JLZ9CEBlCF4CWms38qhJRZNrbJZ85t24GE99vo3TLDDj4naa06I2FGvj9uhx6TswCNa7MDD22yP/WK24y4J62yXJq0O2kaVO1+kmwfo4rmuV5YtIjCEIlVLpiSu0qxSuqJS/DY2qezOSITPS3FIIJh57yY4izZEwwzImA0Or7e2rqLtsQ8fgwrWNYnFklaqjEgIs7ZuWdjO/umwXXHJAzYySGDUBFGZ6ZZpEe1BYAhI4VnOeIb2AXLKpT8l8LQvCgsDkihOXH9ob2bkE7NC+2J0ws3h3IDd9+TPZ3pJwI2m4GWQVkBNqCPTx3AvUSkERPHS8DcGYZjlwaIwuIwqVWagUImMnqFxpZX1309/cpa0QdNOP/0DlssPOyDGxUn55kwikbaMjtc/YfaDbz1kyx8rWlt2rlWLGdEJWVxqcBpd7aJ/aLRRYLstAHfIDXIEjRhcSCOyBXMoQ+G8leorLdG2wXbfN2NvOnWmnfre+XbMid2236ubNnfPqk1bULTeWTmboG3KvILAX7ad9w7Z7vu12MI9EzZnx4r1TKyIzhQFwCdFcQRyS6mHkhCFK+Liww44UVEggK1HUzId0L3rGlc2EFYXYAEdQV0qt64MNUXLdBOhvyMjG21kOGd77j3NeqbgRxZg1TtkW1PWvy5iv/3ZkF12wTobGkhZS6ZX+Zntuc9UmzpNbacqIFTY+dxdnbCnJEih+L9+ArxoZj9yCecmahCgQzFRVgzIAXD83CTv9Xo+00tGS3h5Ei9P7AJDsIx20ZWxLAFfR8A7gosJYAN0hsuZ5BuJRNXFFiUYAlcjbI8uesLO/+3v7aMf/phNmtJl+cKwtbWlpY3FhaN0vRlLCJBXXlizP/x2qXh2p6XiE60wEpY2wydLOSiY/qdrFrgdTtRgbtOxGaN3iBHqHY2tPecjZfUlG6zcXGkz5oftlPfOtHd/aAc78NXtNmGa+HpkGDoqA68sLVq1WrMsI45lJIpOUKEXVEVLe8123K3dDji4w+bt3GrRdFng7rfhwZKLQIzF+QwhhiXAVZZ0MyqAk8XgSP/hZWDOKSuyloG0KE6L3pHF83lBFVsUhbrH6GvvDNkee3ZYPKueS0Z2KRezqy5ea+f+fJVtWtcjujbV9WqMaO64S4fttKt4P80Wxc2pzT08ELGnwB3QRO/rxlGA0cgzoSQMAOGqpW0ZnEPRkTAqPQd/vtJLyrkBNrNqmLFBxBgzq+miCJnEBchADaBmNMtNzq0HXRe+aKZhRQVywja/8u/fsN123cve+OajpJEq4rOywqs5gaAijpqxeCRlA2tD9uNvLrF1y1ssEelVg7cLcfBHNYoDNSWjsajssQ3G7/pbxh+padIu6vqhL6GIeHK4z6qRVfbaN060j312pr36GOXfqt5EGrMhI7Fag/djQOs2ce+mOD5T2djCIWa8SHi4rloX2CVYui+YGNxtC3fpsbIoyuKliyyfL1hrpsd5TZhVxCwdZ3gGkvdUkSlrGJohoDOCKc3PKlfMynEelSjGJobriHqCis1f0GW9vWHRn5Bd+JsVdvYZj1j/6h5rz8ywQhHlUbNUNmRTp0t77ystG5WAw+89uKFBrndDCRBpGHMeFUDrB384BtwAGHrCGoSMHNNTQ4nowbkWG+H5TK5JX+wEJSHx4kQAEj0GHyN4BvDSPTH4wkIwLA/Add74wKfMEHrUHYfdBNRBGTDvPu1k27hBgNM5jKlCkQ+KqnJl2Sek9a67eo0tXZyXEp2oNum0agVXlgAwWgPo5M18+n8kcuQ/Fo+sqWtXG8eatrG01EKtG+xz/zbPPva5qbbTPnGLZCtWjxSs2mQJCTQuzwhGFoOs8PelVQkCSj1r4aZ6mCICGbHh3GpVStni6YplOvK21yER+/DnZ9qJJ02xdGufFcp97v2C6lOJieRjcAf58y0pihJW3iFrcV4WdXDuenzfpcqwi4JsbWPxoIwteqDf/nzpGpP82S035O3MHz5i61dMskx8potVkRy4nrEiQ3T92pINDQrGeHUcHeF9kFh6MXpHvFZMYws8X7QVtIS2xqYCvGzYVLQ3wGaKGaCHktDurvjwvNHEMb97vDzX9JKAmwKTCKfERURwFAsvsnQAI4/E9/KyvBRdWgBqtE4wgsjfdH3r+1bbHy690N7+rlNVoRlx8MDXq1oRHdG1GFGRmG1cb3b/3RvFsVvUHgALDeouU77au9KQ+IMqoVVHq8ZRlIbFpClL9aK1t8VkUFWtVO2zKVOTdtr759sRr+uytklhK9mAle1JiyaHZHihrSKiFOplHBDwRvA8n3/IASeO96GatKFNTXv04T679a9LbPVyvXM9patCNm122D78yR3tXR/YV0KzxkaKK6y7JyOlMGJJgYg1R3LFvBWZjazi07O7JZQZ/BHQ8ZIQFsNgTbYlqceWbcPQWseNK6WI5YciduPlZt//6hKrDe9qqfDOug/3IHnhCmVBpJKAWJIS0SNctQC20R4Ovt+AKwdUDe1LO9HG7AE20ZmcZ2F8luVgosLYdR6hoXhM0PBjwU2b09ZsW5K27K6tTHRPvLBfIpdQStaGZpYG0s0UJPzdgJu/vaFRKJStIs0QoDFkZ/78JzZlyiQ75NADnaFDr8YSCQAyFkeT4FYL2dJHzRY/KB5aURcNZHxPTj6bj/0fAC/oZn3iJybG8HMkXrXB0nJx4k32uhN77K1vz1qrbK5aeIOU15NWD290AzEADArDdDSXl+OmZML+qVTImePF4WrWnni4zb7zb3fbj7/6pF1/cdgG17A0m1nv9LC99Z3ddvxbJulZK61cXyVNHLG+Ydkdyn9Cb0o2RsyqdeZQ5hxHR+viwWmG8s4/jUYtFkRn0nVLxGTslXK2cOF0mzZ1qv36zE328F091ixO0ItAYRrKX4WTUIYjqlgJyron89a/oa7yUEdek+rYaW62oL68BmYPoGlD2hvg4tIlyArujbuQdiW2nDYG4F7pkbgPysKGgtuS9FQLvsiJjw/hIUEqic9m3RH4NkE4aHHAhuTzOy/NCzpXHZpC9XfTX65XHjfbxz7+IavJOEtJ2RQK0k91CQAWl16N9a7B0pJHC7Z2pU41BG6PbBJt40YbdZHTpIE25b5g8Uk2usWmE6rudhm6G9dJew3Yqw5L24knt1hLt4AvGhKKDTutSH7Bc9XDKH/4btBbpLShQt1JbXqu9rpajRuydDJiLekZ9sh9Vbv0glX2/a/12Xe+UrA/XmC2cpEALtyd/tHZtu9B3bZ26AGBtGpdGQxFs/6+kGwNeLYogOhNLA54BSpGZWXA8jlAhshjMdGGEl+LqNmCnSbaQQfNtNUrKvbgA2ZdLT0ShqgrHvWNTcEwPLN1kolWGbYVe3L1kDg/ggpsvJD+LYR8W3lA4/0C0PTOGJJMNqFtsbGI+PSa3Ssyr6XZk4enOFuSXhKDkphgpoexUigzMQhJZbgWzg3/esc73uHiEjA04G1UhtPeqtS4+LPsIPvK1/7NDjxobztCvLzmQJkSsBsWjQOaoi4lLiNjpeGYXXnhoN1/h7SOuDbzJZ2CduASMhzPBuCQACrR/RhsTtvyewD0rAzF9YNLbLd92+x9H55ju+1vNgivDOcsHBP/dcPzDOjg3kort1iQp7hvCHDDtx03Ub5u4CVnyTTwRpgkxHqvxx6uWGEoa+vXNe2Be1bZ4ocGbMXyurrtmM2cEbM5cybapr643ffIUnFlDFMZY6Jj2AF867Le4HuXdcuXC9LocdGvuA0WRmxib7ub67lucMA6usN2wptmiEOX7aLz1eNU0qI1CWuTDGJ0YrhDSVgeAg8N3ql8qd8mT4vbTnu0WyKDJ0aFpS71vq6uZGDiacLPTRsCTNoNRwDrO9ITE6LMWiZMGURj8xsam+AqrkfxcA9CAdj5mw1w/41S+j+mLROJrUzMyuCFoSRElWE00mUR2kpkGct0EQzPCyHNbLwbAVDU429/e4nL5w1vOM4KrDfivAPQkpC4NmtroCHF/VQpq5aLkiwqWL3cqorXRXBoZ+mrq3NcmJEycsMYddkHm/54qnK5ICKOP2hdPWF79dGdtvt+ZsPlpqVaRAEkUI2auo56p7LvFuDE7fV8eC66ORAeNuXjego9O5x3W66wVtp1WIJs4tJx6+mdZPlczZJhdd+tO9uaVQm75HdL7L+/tci+9LkN0uwVO+boWfaG1+5t02eXrK1nox4FFSK4SyDnSw3VsKXUGxSLAR1pjXfbSK5ky9YvtZmT2uzkN8/WbzW75pq1Vswz6ykuDV21CtIlwePz3cKWewf4dKUUs0oxZmtWV2xkSMV2mptaGpOckVlzBrTX2oxV0PuiuNDOzK5HUwNclBXXUL8s78DSHQCbv7mHY3oB3xNsSXpJwM1UMQpMXDYJDU3XxWQE4q9J+L15QV4U3sUCjfROTywdUKPcZK9/w/HW0ckSC0i72kGNEo6Ip4mWBEaPgB4PqSutyECrqNH50BPCQQPCJavSciUrV8uqbM4Fvu3N6P6bJKNGwCk3CjZnfpsddNgES7Y2rNYcslBEdES0pek8IJ0qSJvEIK0sojIk8yoXLgYRa1EXi2ofHQ7+dgImwRLoaWQ4fUo8emJPrxVYAU5UBo9GJjLR2qJ72PDanezqK/L2rX/vs6uvGrK58+v2xrdNsX0PNZswfbWM2A3Ksy7jkcCttHh22Iby4mJ6L756vGmIWUetdthRPdbW0bQrL19la9fmrLenyyq1QevsCFmuusGqekfqGXoWjTAkDgeXga5jFtR3sukq6OnQQUkwSaFsmXTwjUyUEqAlZohRSkCPxmbP8Dy0hLalJ2cpCOL3CZjjXsDPdfB29luStpqWIFkkCoREjj1m76XTnycxYoU7iFnpxI9QeEJcGXJnziMjV3RjDL9zDxtdE9s5oi4M0pxyypsd8OOxVlW16AfYoSutCjxugR3xtWib3XJNv918TdUitS5dR/cNDRAvr+Wcppw3P2QVcctCcaMaVkBFqzrPBr0AtIJ3US/Acmvxgh15XNaOOl6Nl5DAJApqbGbCE3aK2zGgHYSmEAglhqv8lIMMLnX2wgP+YfJHGnVtM+2mczFCWCoGoZ35oYY9cHfFqvkuGYAy/qRVo+G0qFjUOrPt4v4xe/gxZrkPOXfm1ClZ23vvyTZtWruoRd425TYJMDnVu3oGPbWjPWPD+T5rSLu/TRp70tS6nXfueimJurUmJqnHachGIay1oXKrXJSfWTwVPE86Fj/PVVbYxFkFO+SYDtvjgFaLpQmb4B2wI/Qeeg5ChG1SVo+QzgSxI7QbMUIYj0xJQ5NDQ4jVB9iMcTAcz4QFXML03gCdqEEUoI83eUk4Ny/gQUwBADLalo3EOf+SjFQBaObfEeGHH5vfmarEC+Imes973uOWwmXZNIDLms9INvkiySwz8PtLfmcnnXKC7bLTjqoEUQJp5HKB7hgpR3uzjFjerbBUL6TtsgtW2uJ71QDVTmlHdZ1hVpfKW2d33E54Y7ct3CMpDipjK5EX4PPG3Mqq9qyaGozm8Z5RK9fKlu4cttP/aarNmC/G2SzoOdLADQYfACqCzaaGxnPgegIJCd+ghG8DBjQ3/u6QaFO9XRtfUpNotggMTeLNk7ZpY9luvnGDFYc6LRmjB9Dtqk/qynn7mLQc6xTYk7Z0yYA99mjO+jbUpIEjtvserTZzdlLG5ojlhxNWLSdsQ+UR8fp+O1Iae+q0Nrv5pg123/1V64jPUJEw1mSFJODHaicZoNgufAZlSPhNxmHWay3RscxOeu8se/M7J8mAHhkVUL0Xg1HOSOat1SsqBQvpBxGCRAXi+mNQDk0NJSHKEzcg7UlYBcvjsQAQbc0seEak6bXZcx0cnbQlAN9icANgDzrAS/IF4DdezjWIQM01cGgmHBAdxsRduismhWI8Ymgwa4YuC82N9BL2yowb8kJA0GpMKp05awc3Q4cVUSsyeNyMb5WD0UpWOY0IYOFwymKhjA2tj9rVl/bZkkfQnh2WSBGfscHFgpx00hT1AFW75tr1LmJvxx17bOEuXSpDWkKTtP6BnLRkUdRGmjNeUyNvsr1fFbdj3pi1bJe0tSiHA3FTxiIa22kv9DyH2ruZOPALXSMBgDI4I1Kgd64zBnH0W0jgYr0TppBxvjQSsjtvGbG+VYS8cg09I0NMQd5UNbqDwax0usW9+4a+YSmMnK1bz3IWSZs3t9t2WtAicMStYDnba/fpdtCBU+3qqzfa9Tf325TsbBdHTrs5CueeIRuBLx0TWiutnUw2rVRfbZHscjvuLTPsHe+fYR0TK+LqFSf47p3wCrlC6Z0QZLS/3ichYWEkkpFn2p6RZgAP9UQbo7X5G5cgbUyPDaC5FpcwC2Uy1sHMeHCDcwHBeK5pi8HttTXg84QfAHLOn2cPMPF4sJwWkszXt7COmQBMF0WXhaHBcDu/E/IK78bY9DSH7uzCC39nS5c+Ye9857tssro1qEk0Ls0dw20FuNVzVHVcxzfM4pQx2/Ck2Q1/HrB1K6WZI61WlRaKJfPi69OtpZXRzVUCxRpbt6Zpq1fm1aWGlXer7bN3xmZOF1UoZ2zjpn4r1dZYPbbUjj5hqh10hHoE0Yt6Q9o9zBC6tBfAQH2huR26lTCwADcaDc3tIgpFS5x2R9sxUKKyikpVayMSIimEmqiJuvr776rZ4ocGJXTS7gIePQgADxKCEzyG+k3EZbRFklbIV6yvr2Ab1jb0PhXdG7P2zrgddtAEmzq1xS69eL0tfjhv2VSv5YsCoNoKjxJ1R3LroQjYhA4zeSKaHrJK+CE79NhOO/0TC6y1S4qhMko5anonjE3n9cFLgp0jYRb1IgKRkWEWvGTUGdcf2hc3LwN2gBkQe0cBwVR4zfgdwxOXIWCGkgJoAqwYqeb355oCVbuFCYADQEDN5oGORvddE8CEQzFAw+fhADT+Tv+9GrQ5L4AQMHL1n//5ny6ghrxInGck8+qrr3Felflz59rgIMvdEpxDPHXOEsmqNB+hnazIJAOzKgCogUpSrrmRmoxMKMcGVf2gHXjwdJsxMy5+t0xgalpv5yy3/HDf2oTdfkvVLpOm//Of1qpm0vaGE7N24pu7bM6CNjVuwWbNzZiUpWCmd5bwNKR5Cbvl62NBXLOE3C2PQNkFPwDgKIp7FSUHydF98H648OiFhFOdqVtGynraTCmI+CaBbCioB9dDIBDs0eC4LVlzJeKCv+oqfzY1wTpap+rdE/bkqrKd98eH7Mprltkdt+ftxmtz9ujDVasW2yxe1+Y1tp7o/PI8Ai2MbKpoyWzJNo7cZ0e8bqJ97NM7We/0qhWrm6RMdCE0pA4lCTxP7p2d56ekNuDz2anN3yVihQIfPwLFAKxgAxuLkUn2YIRheHpu1vnmHlY98F9rYCkP7t2S5F5xS5MHIJLIMRTEA53kAY8/E87FOiTMSgfgAB0B8D5OXprrMTYANL5SLyBoAV7wsEMPk6CY6IKERt1vXX1rWbzXdemq3FgCvqdunl5W9T4y3LANGwYsV+53NOKII+fYfvu12vkXPG4rV26QEalnWps1a63Swp3SXAmBJWFrVrbY9ddttMsuXybgZuykt82yk086wnZZyOx6ZS0A1Sr4sVnrOiWjCy2N3xpNjSbURW7UThqb/eYEOKmb0WqX5nMRiKOTI5iCxkoNM2ZHrb0LoSTEFQEB2AhEoLV9wlOUzUatVfSDIKlCrq66iapu2m1S2ySdSdnVNy63a25eLvBPkvHdbiPFprVlVK8A2gkY4Ib0YCMoTxmQpfrjtt/BHXbyafNth51CAvZ6a2kjEIoJD4y+Bh4q9w90RJSLpSYw6Gm7Cy+8yGEBu4o2ReuCAdqW3gaw0+YoNYxJ1jGBc2OPMZjHB7gwMAmN9UFVW5K2Gtwe4GhsjgEk4arMnAGUjFABUDQ13AoPCRwMSxmgYxUDXO7lJZBoKsS/EPG/cHBCJWfMnKbKJLoMlxQ0hOZmChaTTYnb1uuoosE2b1Yq5yUMg9bWEnPxyAvmt9jVf95gy5cNy1hrt0yq23KVYZsxrUVdrUARzwgAaRsU5Vn5ZJ+teKJqN934hP3sjHtsZLDNHrjD7LH7lXWVuZiiIzUBaqQowSyocYm9VhcNSBoxFTOh31t0HFj8Ttr0q9scUKk3/LhMt+IvwIEyELhnJW3KDBl5YswmmuUoMUqS1oLeRIqySfMWS+EdWWdrN61TGSrW1ZmxttYW9SZRq4wkbXiwYelwh01um6nqiI5+HSKke4KS8KxgoU71NszxjKn8iX6bs7BuH/7UTrbL7mFb29dv6Syor7tgNKIKXQqaXYmcAoElnv6OO++Q4X+rm9lOu4IHuDb2FIBHsXnAAmS0Odya84AZjs3YB98/AjNbCmzSVoEb0CKFJCQRDU4AzBlnnOG6GeZBMrkXaQXQTDyAc/FSGA3wbQwI/6Ur8uMlnaGjDcHA2sZ1yNpyhH0SHNUUey6WKqIVCQdQ5vTlc8FClCy440bP6GUZ3Ek2bIfZ06QdUnb7bXm78/b1Fgt3S9tNkpKN67jNlj0p/q7razW6/Lh1ZifaxE4AkbWhjQ0bWJ+2c8660772pb/ad//zIbv2sootfVhQFkg6W7PO5fjUEDsRcmhbQDxava77Bg0OnZzQxjkWh4ez6k+VGv7dkObvnhi13qm6Pr5e5HeTA56JdrmeQTTgqRlBDWvJtFprul0gZfm4mg0P4YKUERxCsNQrhrt0qYzrwbIN5cuyPUx15p7uklNQDtxDFoqJjsWX2GmnL7A9D4hZul01m8a/HVOPoEeqTYg1Icwg8PrwjniK6DnibmUuFkIC0FAKrqdnZgPQaG9oKloZ5VdTb03oBZqde6Ai3A8V4Xq/RIRXoM81bbFBCRCRREBJISkcIMaNh+WLnxpgs+YIFAPtC7diuJ3IP9w+jEQyu4a8eAnyQUhI/I1HBSqDgcnopROkUSMITRQOpZzGRXMncWcxOKOGV88oLKXsgbvXWN+TETvkoFl2791xu+euQTV0hxpC3K9CUI+0oowjmZu6DwMZD1BVDVl1RhPfYY+FRVmsUwbqZN3baqtWbLBbb1oso2+T+9JBWzahnkFCIoAnoy2O/9J1EOtSrpbcIjnue5MOjGxCsqMmbPo30nBD5mhw7IhkIi0wRcVVp9m0qV0y/vpsuLDMipW14ry6Oxy1WpmJzQEtYoifJR4qGNMCaTyhOkzWVSfEcvP5wGAOZUQal3DVuvgIs+UZYmdCQyIlwzI6YtXGGmvpGrIPfXIvO+L1AnSioPpWsQVaRl95FhGNUJCKDOB0OimByek9GRxjhFMUSHbRJRdfZscff7wDLIqMvY8hoU1xLnhDkbZFwxNAx/oluILh67iK4d4oNe4h+f1zSVu1bglgBNC4fdizhjbcCVCzTC1amOWGCZBimtHKlStdwAzamG4K+sEGuLkfagO4KRL0BOOSl8ZyBtiNJp/SK6iR1e3XZHnhjiI53jeoxhUFEkhSyQnqaVvt/lsatuyRkN1207DdcmOf1Ys632wN7nGaE/0VaEAqjzIQcB/WRq2oWI76ICxwVL5t0wxvsHJtQNy0KA0btglTGrb/IT226169tutuLP5OA8K8RbNacuLQsh8KahgaR+V0yXFobe40o5MM9oie8CFW9SRNgbUKfdez+9eZ3XbzgP3l+qV2/52bbKBfXXptBzf9q1bic3xB1nEJE5F8eprlC3mLNPSeokej4zKOS7uYcj0Pj5JbPF+UJFfst0zriIVTq+30j+1pbzmt3RqZYauH1WPUJigPZUw1STAcdYnIaFfBws4FyvxVPhMYcl9I+/z/+7SjIAcffLDb09a4+9hw/+IJg2NDRUnMsALM4ISvY0BjcPeiyNDiaHp6dzQ/OHmuaYs1t3fxobnpagCl//YJtAOpw0nPClH4svGKIKVMKUPj4yICTGh1Evd5OQNoGBdobpYqRvprVQaIpJGs7Awvx2Wx3IM7XMPRXSdYTKbWZvVS2BrlsP35inV2953rbYjRaQPcaM7gHnfgKAPanmhCPB38jiGr7lBYJLIPxYtrF0qUSmb1jG5rVtotN5iwDetq7gNSD96/xtasyAo4LLsQsdZO3R/vt6HhNaJr+GiVAWmz1tbfhAxo5777HmZhd71diaAhEQuM41TV2ifUbefdsrb7nlNtztyp1t6aseGRgq3ZtNFSTKFTchM0pJ0rNWlV1S3aPRYRVdC7An4nRDJa3cwhUTaoUE3GOB9/qtdLzjPz5rftYu29YRmQMYuk+yTEahcGmtQzbq4vlbduhNAGzysXMezx8Zud+bNfimrcZye+8QSBMuNoBRoa9x/gZiQae4v255gl1VCEjEyzhAeKEaUHluDajH14heO355q2ys8NFUHreu8GcdksYwbgkVykkJfDt41Uci3xJEgmw7Ek7iUf3+1wjOuPYVv8nwgE3BvNzQsGUX8YbXgiRsGN10GNgXDUqxK0ZsaKgyG75Px+++2vHrQKH2WKqIsT95R6d+0UbBwH/BWAMQGCtboxVt30MyUHbj2G2fHEjLNIJCtTEaAUw58e6dQzEzbQV7EH7l3pPsS05smS9U7K2LQ5aPwRPQqjUoB2HBywjGoh5c3SZXg9mKsYTGSAOrB6FCs/5VWukt4Zj0jYZu0Qsx13zdqsOZ02sTdm6zc8IeozZCW+HejujUpIZIcksV/0DjqDqxFcAEZGaJuySxhWr+u9c+Wctbcl7MjXTLBse9MeWnSz7bb3ZMt2SJFQL6JhmxUI9SWlUq8zd1V1pV6Gz43wgak773rAfv6zM+zVhx86uu4f39ppcd4RtC+2GAtoorWvv/56FyiFOxiNjELkN0avATxUlTgUsMLGvb5nf65pqzg3mttLFZKK850uBp82Ia0sjsj3CPF1kligxU9MYBiWBJhJ5If2hurA1zmP1oaqIAAkJiDgcgLEIWfIiJ/TXTKQICOHqD/oSiUXsWsuH7Iff/tRa5Ym6pJuN1wdTBwA0C67YO80t/4XwAAXI2yUA7BzHmdCtc6ae/yNdwjNyg8gRvdrX5N2a0n1WLjeZYMby7Z+7WqbODVue+7X5fzwDQDttDUA51j3u4RxTCPq/aXxeT4RefjvWbosKpsCns80sLI0cjwdso6pIZu7Y0g0KGl7H9BjbZ1BnExDNkK1FLNCEWMbTxJGX+CBQXgQasJqCS6LRuHdAroo3GuO6rTps2L2u4v+ZFFx9RNOmivOnpJQcg8kX+Xlfo8tjvUHwtfakhV9HLL//Pp/qLwRO+zVh0rJFR3XRql5rk1vgkZGa6O4WKObdgUn8GsmhTPqTG+Olud62gCF5pXolqQtBjeARqooAIUBgEgpBWS1IXg4i8cT6oiEMpCDxGIBf+ADH3AABdAUnjx4GY6hMgwAsLwtlYTW5jcqB3eXsCdAAG4GEQB24EWAkjDLO1RL2ZUXDtmPvr3IBte3WCIug1XaPJsifgM0SlAQCIfMANg0Fpq6UqlbVRtzHzHAgmlW+lt0yNmEEc5TVvgrOWCUUQbpZrw9TWJBUlaSXTBzdpvtf1Cb89gECXTg+wbkT2khRhgpBBOdMfJcEd1AUEVl0t8SJNoWvk/EXrUkaiEBSWXC1j0lZI1K1JKpjM2Y2WvdPTUrSRIGRjZIO+O2k52i+gD4vCehCm7dkVpBWK/aoYdNst32iNtVf1pq9z78sO2/30I74MDJTok0KSteGVe/cHUKRqQg3+ikx6mqvRN20cXn2uVXXmyvf/3xro3AwLRp052So92glCQUIdMI6bHh0/BtsEAMPwYlQoDGJoEnAO2UjMqMwuP4uaanavk5JsDJQwE4L+V9l9ATAmV++MMfOk8J4MQpD+8mhpuF4AG1074CMxt/k5Bm3Ii4/fB1cm8A6iB4HTzCaQPtpzxCJUdHgrjsqAu6v+nPA3bWGffYYF+7ZRMscJlwWp6FcxxyuJbRRAkELi0GUcg6k4nYhIkZgahmxVq/FcvrBeuN+jtnsURVXT8+6cBTY+KubkQuVrRIoihgqy6Uf75AaGjSKoUWW7O8aiOb1CA1FsgH1DzfSdJooiy4UqFTfKtdGlt1qbZUeQIbwK0tGGPtwBFd01DeCT0nKl4ukVMxSkN1++vND9lFv7/Yliy73+bsGLPjju+yN57QajNFicKJghUqG60g6xSqgxIGOKVS3fbeu9v23CtmV/1x2BY9krdWGeG9XdNEtyTQkn8GhYI6zul9B5VZ3gkzwsa7ZjKttnrNCrvgonPtwIP2tclTeiVkcWne4IMAaGDsMO8kQIERcuHjSsAJy66h8CgTIPY9NED3io8NrGxJ2mLNTeLBnpb4REH4G0nDf42kIgAYEbgA6ZK4xhfY38+GMOBRIaCKe/w1T70gmkeag/gRcVS673xxk8WiGctE2+3W66r27S8tsbVLJ1o2NldcWMYRFSRQST5UwXhD6FLzTgMz43xkZJNbAu3oY9N25NEh65wQs0p9kw0Xluu6QQmPuGolIiOy1bncWFohFhW9kSariO9msspfZc/n65aM4Z7ELbfRYpkB2+tVU2zC5LBoDdfQUMRz0GjMbZSAERLrhu3VE6hXYPg6GLHEhmALievDuQn6TwsEKBIJqjh/VLRpU3/Rfv3zu+yJRVlbv7LLlj+WsKHBps3YIWu77CyAz2R11YT19a+xanON8h+xWrNkc+dl7bAjWuyWW0p2370bheGUq9dXHdxj+x8qKqL/C6URGbXqnfVO1Yp6FfVQURmpLDzKYpvMB+ELxEuXLLMjDj/K0aoJvZOsvb3DORPQ4CSATfvRnriCidmGkmIwco7FMgE9gXLeUwYW/J57t0Rrk7bKoGQbm3xB/HmkE5cfw7DwcdaqQBMjoVzHnpfgmBFLjEjWLmERc34jHw9wEtny3USW/uJ34oeTyay0c9buu6Vpv/rRanv4jnZLhqY7zeYmt6JpEQrpolbVd6msBkupJzAMsX51wSF1zxNt8tSq3ftg3iZMiauRW23+/E5p4pD19eVdwxVENdqyxI4TTxIsFEl0YaHIJzgkALWEpdTwfIDJBKJIos923rPdZsxOS+NFBOLR+hK4cfs5P5/KBs3iG/HQJR/n4TQ89EWCSPhpNJZys3Ma6rEYLZQSdOBes6JqF/5mlRX6d1Z2c60wnFI9DtvadSPGx2BbBLA99kzY3vtIISivlasfs4W78T2bLnvw4Yrddmu/Ss7MnYxMh5odeVyr7SRtDuOriwLRLry7+8BUmJBi9bKyOVi2+IYbb7ALL7zYFi7c3aZNmeU0eWcna6BMcD047QN46XVJaGsMRmgqo4/MxmJhHmK4Tz75ZOfXpn4ANMkDe2vSFtOS/0vyhgASSfQXXRXdDV0Uid/9CzAxmLl1dFVUDMkDe/NLYtCpm0wkQVDJaeaktPbSR8J2zs+fsOv+tNbSMRmqug1O7IAdIuYDpJuN5E3Chtcjb+m2ug0VV9k+r0rZQQdH7OabK3bjdf12wTkP2zlnPWob1iXthNfPtve9Z4GumWgdk5bZxspfbbjc57RWvtiw9QOUk9HJFuc9ocuOxxCiKUJHm23sl72g56LZASuGKPyXGJaQ+HnYWnQd/no2PBP6e/MxK8MSOScDucz3b4qWaa1YkWFRCQLhKLffELGhvh71LK0Wj0TFc6VR1ZutWZW3B+7J22UXL7WLL3xCApq2g/9hin3sIwfYwQd12bKlZbvx+tVWypcsFk6oTlk3pWZTZwlcejcGlTJZFgwiXqgquhR8UKtcwQ0bEl0ccSOJzK3cacedpWBS0ta94tfBF4exseDaCAe+bRQWyo14IqI/cRiABagsDgf499YC+ZnSVtGSv5cAqAc3vIvEy3qJ9Bqbv/F14uTHiKRL8+Aem6T39K8s/QRuqrIDSUZa+/EHzH71k8V267UytnKTLc6nq7nUeUEYrhawnWcj8F0PFpmBE7X+jUtt3/1m2OGHz7Arrxi0u+5Y5+JNMMA2bWrYI4vW2aIHc5ZOdturDozbzrtNkBGn3wZqtnFEAqbG7ulqsVqlKS0pDctIoIpddYoqZCOFVdY9uWz7HjTJokm4K4Yg74WtIVnDs6PNBUY5Ts4mPuCOqTeEQW+s3onvSGZbIxaXUA8MrLdkpMs2rjP79r8vs76VHdaaZp1y5RtVb6c7E9FW8XLVWJ3lHiIy7NfY8mVDAtMk61vfVH33y+Avq/fpFHAzVq7226RZVTvlfV2W6WDmvISfxfyldWlD2gleTJvh4rv44kuc1+vQQw9xFMMbkrQdfBmNzRA7AzTAC7CjnUn0zvyOC9DFC43OuAEjHi/PV0K/vSAJSuI1Ly9DwTnnjQcvqVQgFjMvCkfHq8J9/t7NSZdzDxWdy+X1J4vZhO3qK9faZRc9bsXBCdbVNhWlrbdSzxARXcDr4H3LuqNVSjYmsPf1rbF58ybb8cfPttvuXm9X3/KgTeiaqq6eCMGseoMJlolNt8H+FrtWBup/f3+13fbXYZs/b6J96rNT7ORTuq2lc4NtHHrUcqX1jv4w3K42cnt8y+VizJY8XDJiypnAHBhlIyoGPmkCNVQ2NyRPiRFENnqagK447Syg18Tz8ZQkkkUZuev0Di16h7BddWnDViwWB7apMjQDBTKS69MeGhW19nSXxKNHwqfCCORrVtbshmvW2F//ul49zogo1gQJc6cVZQRXmxtt6syQpSVARCLyfBQMbUPboY35G4rJoqXMnsLTwZxX2hJwA2pGJAE/q7fiLWFJajT+5z//eae1+doCWpvBHIKluN4Dmnye7/SCgRtp9BqajWMqgZcdC27iUKg4FsEEuFSmT38L8FHO2iAoqNV9CYABxY39FeGizZJxPhenqwi/ZB0RAugFAoaIXZSebh1gOeP2pnV0RuzEE3awRx/O2R8vWWPTW3ex4XxVGkzdcyqr7rfpPsTa1tJtrZluGxxM2MP35u0nP7hV3fyATZoStdPeP8NOPHmmTZs9YpXwI+oRVtmwNCxsHl9ye2uvFXOtNjhA0dHcLBmmso26IYN6GQW1AzhAH90AvsrPJ0j4UgMjniytQPxINtljK5eYXXTOYoFc/DYeccP9lap6tTAxLrJHZPwNjTT1PspKvUE6JTsk0WGFnMQllLUpXbN1Pqi/nBRONF62eTu3WFIGdjNckSAFcdYe1CgkD0ImnRAch0cMZQWIAbSfhECCcyNsixYtcv5uQih4X7Q7Ew/8d4q8m9crrec7vWDg9pKI9FNBHqge8PyOAx9KwrrbdG9UFufHgvqp+/hXXbU0azzC5/SgNCYNMt0mTOxWQwYa380yd9FzOvYTWMVTuL/alAGZ3GinnjrPVixr2qUX1q0tNd/q5RbRmZSlEmEbHOmzbCZqvd3t0kB1Gxjimh4p1OlSuHPtntsF8h8+ZHfdvcaOOi5h3/rpQjv1QxmbvcfjFm19yEZKi21geLWjQOvXFvWcBmKpciDUbNgZhBqMDo27nkXpbzS3UCeD0xma+h8jjkGTbGKq9a+J2blnjdiqpQSMEdfBJSwfJ8URlbaWDYKfOpsKWU8Hz6lb34YBNXRatsAEN+l400ZROBd8RZ+GCzTrhvjDUgwsQ8dzqUs22os2QTExh5XFlIj4YwQasLLBn/mdhFB4tzDr0RBCQWgzQPbtyx5Nz708A3y8EGmrOLfzPY8mr4l98oVGUyOV/lrOoxF4SZz3nMfgoDL8bz6vsfvgOOxccVjwaIa4tBazbq67eoX195m1SEPhH9bFbhi6Xo1bWJw2KgAUK0PW3VuwE940y0aGm3bNnxqOW/P1YABWqwKRmqXSLERfcK69VDxtqaj4prJU0dT9Z60l3e4+rrRs5RNWF+gOPKzFjjy21+bs2G0dPSphtCStv0n6u2g57WfNj9n+h3Qqb4RaHFuUIRJipnzUeXRUWPfevF7gLuSYukKbxVxvxHIJ2XSbReoddvnvivbz7z9g8eYc1ZW56WQMIpF/XT0Oq8VSt+WyMkTWYxU3epiI8fnwCgRIwtsyGsJKwFXVZu/SsOPf2mZtPbKTlJ37YrLqhHZDY1P3aG9GnRmcQ/NiMDJszrP8aDPHbCgt4vA9VSFSlAm/xGrjHaGNifTkN9+23Be08fOXtlhz0yAAEwB7g5FjzgWNFQzOeK3NC/kEkBmJxB0EHaHr8td52uJf1r8wv7E+CL0XPWQyxaSEps2c07R0S14cUt1zSc9opK1R4UP/bbpX4GdYPpazZnq9HXv8DCcQf7hkwIYG1ehhYk2CaDqGyLH+WV8aLYgHwAFGaJDCFZDrlkzzVQKBIzbJsrajXX7RE3berx6T4DRsvyNa7MOf2cE+/7Wd7T0fn2AL92nY5GkJNeoiGaHKqdEiih18N5KVqWIx3GW8EyDjXXVe/zEH0S2or96GkVKGyZOxDotUu+zGPzbs1z99WDQpLTynHLCLbkSV3kFAjuB/JrZamlZ1hP3KM+jFnKcjzBogcGhcsepV9WyEcKeFndY7KaVz8cAQVV14vu21LfNbmUwAsNG4gBsN7T0jnKOtfDQnHBuujYAQ1Ylw0EvTjnxcAL7u8cKz2D/faasHcUgU2GtnzlEZFJxzvnI8H+N3fJ1MBoWLMVxPxfCCbOTl832mpKZSJtLu0VzwnGrMHrq3YEseKUsLT1Qnq4ZBs0uLtclAypWfUPM9am87ZYF196Ts9xcvs+FNEoJm0loySWdQEePM92aCmBFQITQrJz1IyGaoHZ9tUKZiWe8loSH6MC+gLl68WoAtWXdXu3VNlAk3PWw7LeiwvfadYr0TRREyJeudHhLXj7hVVoOFg8TNG0VpeeKv4dhlUQ/CXmUnCG5oboDOSGQmG5fpHLOrL6nYz36wzBY/WLdMdIqen5ZgcC3FDICx+TOA7lgbqovRVNLoOyGwLo5d1zZDw9bSNWJve2+rzd5J9SZtTbtBgTKZtBsyp21oLwZfaEMmmQBqFBI8mw3FRbvxO9SF4Cjih9DMGJ+4AwmBJlaIr9IROAdWaD8wQnvT9s+3t2SLwc3LII1P17Qk9rwwheU6fqPwvBDnCJhhiYd3vetdDuD8huuIvNieVYpljDnDLEq0XFHNJG0nbTiwLmm3Xr9WxtIk8WeVRc9Pi3OOlFe5GdyHHzvB3nP6ZFu2NGy/u/x6a42LP4iL83k5UMDsF5aGYEUlt1yBj//AP86XEcIjoi0YhCITvCtaXs+IhltlpGXsrttXaN8Qd22xjjY1lnDUPcFs7ry0zZrXa/FM2WIJ+LSAxrA9NgGx0Tqu1iWkERoWjUlPhVbnC2RxAUuaNJ+wy84Tz//OE3b3PUVric0Qd26XQcbsexQGdY6AMLopRFN2AZem2LwmOIKqcyS1hv5lNa6wVZqrbLf9mnbCKT3WofIODeVdr6r+1l1JO/A3M9LZmMANv8Zr4jkzxiRtzHUIBksywL/R1gzaES9C2AXx2uCC8Q6EgHtIHtQe5M9n2irN7UFNQT0gAbUHOnv+5mV4CfZECjIAwDA8AzaAGlrD9VQK2oIXfeYkcLtlBKpucASDqlnNWK0UtquvWCE60m5NZo3QsLGCjVQfsL0OiNo//vNutmCPpA0PmC17pGDFvBojLmAWxLH1TOKbg682jIIgqHdloncK57QXGBlZlGZPJtTLqO2Hi0QxhsWFW2S8ddmixevt7ts2WKTZY7NmihbIlmWUvrVbx2kaE3dd0WnocFQQU95BHckmkTHbrGfUC6Ula/Q9eodG0h57uGDn/GKZnfuzVbb00aR1JGdaNhnMRXTBXUiRAy1qGoBrc+Cm/gE2PSEGNUJA+9AfAG4ppsZGS7Y9aW99V5coVIvJDrWRkWEpBbwtsjfSCdd2DJkzFQxQMuGEZwNuNDcboGaj3XDpAmK8JAzWQD0Ie/VfUcAPDk8HBx4jCITX2NsMuD14SVSC18qc8wUH9P46jvkdY4OuCiAzzE4FUWG8JNqASvIv+z+T8gNkIqqRsBqhkhSYhSDxyr9cv8E29Yt/xzutWCvYcGmJ7XNAwk770E62+/4tbmb8hInSThs77aYb7lO3LiOvmtCzkspT2HVg03tJy1HFnAtiQQIDF23KgjTQFjweFZaaFaaYQlarqwy1Ftu4LmH33dNvix/hCwhZ6+yOymDj/XHniVw4Nx0rQcX0vtKQ6nWyyTbdK0lQWdIi/wlp7FWPhe3i89fbWT+5y665YpUN9XVaR3qeZSRYfPmXyEWEMtD11DHlZuO/IC48zHfiEc4Go6FqD9cmXMRgVsWGSivcl9Teefps655atXoo7+gWseyMUhLIRZvxoVtCI5g6Rj1ANQh+QoPDtWl32hefNksysPwGyumnP/2prV271g25A2pGnwE7lAZXIvdw3di2Jv/nM22V5vYam0KxUVg4NmDn2L+Av5ZjpB7OxeKIzLYB3Lw4FQW38/c9WwIozJuMWKvT0mguXMcP3zdiSx/vt0S022nbmfND9s4P7mCHvy5rVZP2Fd1ItirfSsTuum29DawPWyo21Splys3HlJrinKI6DgCU2Ve0tB6TfwXEakXURQweD0MqGcSf4/1oYoSGWMdaz6qFbclj6+32W1bYA3cP2urlsNys9GXILYQTh24I6OmUDLJE0oY2iNbpfXIDMtqua0pLD9u5v1hj116xyVYtSevpsyUAU7hbdYtWVomoI1dGaWe3oCb1JVDj9oSaAGw3E1/v4LS29lyi31RSUaGitXXU7G3vm2H7Hqr3T6n3rG5SHWT0jizcz5d9S/bQQw+56E6Mflx/aGj2tBmKiPeHRtIr/+Uvf3GKie+G4gJECJgQTjAcbQ7IPeUE0K7uhAk2FBtt/nyDe6vmUPqCUVAKxktSIaz95j/SBOXgPJUB6AE/PI2pRQzgAHK6vE9+8pNubRPyw8H/bCksbow3gXX0iNKjt60Um3bm95ba2WfeKVo7TYZch73vQ/PstW+JWbpTXF8GG9PUImG+YBC2X/0gb9/96gPWntzfhkcIBS2PzgjP66WkSZx/XNp4VHCwM3Hb4S0hprreGLKINHaDD6FqQzMij8xXrOn3RmjQGYuMTDbjA9Y2IWfTZ7YJFClr70jbxMld7vr16/pljLI8RNNWLhuxJ5aWxbE71Kt0W6MqKldnUIvAqWCsIHBt0hMIvypTw41yqmBQEQaqVA43OitOL0btzjUbUgIO3FJCbohJ9VXvt70OqtiXvzPTumZtkoj0CfAVS8Wn6Bkp9Up83zPp4u4BLNGcgA/7iDZlTxsCVCgGs6/wjEA5CKOgjTmPOxA3IPe8//3vdyDH340iIz/yRpN7CG5TmpuXA7xIIgWj+2IGMy/DJFG6H0DN77wIVITroCGMbDGpAR8pRghx3PhQ4Week9GgCAb3IPW8OwMNuZFBXaMuPRMx2VUOhGvXFezGmy+3tt6Svf8j+9sRx2Uty4rCtHuzIhpatFJtnWVaOtyi7IsXVWzZ4xtkAMq4VN0yl5CAqIi0YLEYBBSlUwILv2ELojRdG+hd+UKYtHlIAsBa1a5NtKFAw+oF3HcixaNx1zVrGXH9pPWtitvyxWFb/EDN7rk1Z3ffnLOH76nJBjBbLhoysE5dfLlDerXVLanGd9VZIi4Mj6Z31LOhDRjLHFMuR6EkjPB0Qd6VgX+or3xJwGlrsZEiwqZf8dfz+b6I6EfLenv7++bbnv+gt8lUbXCkX7YDS7e1SwnEraU1Jep4qfNJM5/Ra2qoCByadqRNaRPanz2rG6DY2DPIw3Xcx5IeBE2BCa/pfc/sceO35zttFbgpEAX0hSXCi7ht1lpGSnkRpJj5cXRpYw0JAM7Lso4cL09FwNsIh2QeHpVJF8g9aHz8v8zEYSkEeDcGYG6EQKGYnhWy9X1lGXV32OGv2dUOO2pOsKiNU+xoq6KwoMbOCChh1slLWW93i91252pb3r/GejOTje/FEMzEB1njsYDPEjbK92ESSZCt/z14XB/PNtog7DYf8n78xj16X5NwW6cA26GNxem1VSV1NZ1rdIn3t0p61KM01fgh/NejNEKSxCxIF9/tgKx84c78N/qsIOmPpwED8pEWmNYNbbC2ljZdEbOhwpBlW3Rvcp296tCEvfsfuyzbxeAWHi8UiXR9KSZNmrTVq1fZl7/8r27+KjyZdgKccG3ag7bBn40G5lPmBEixgClBUPjD4d60L/En0BO0s6evHiukFwLQY9MWg9tr7UCjBt9tZ8SR0UYC0fF34j4i+oslijEeASvXUlleM5MHFUDQFJqBc9AVtDjanUECKodK5duKfKAUTsiH/QEQo3ho3EJJxk5H1l59+D42b8esscaHW8vDSoIIHhYM2qSNDFWUV4tNmy6tP5ixh+9aLqBJW4Y7VRZxQlEdwIlXg2cxNYsAfYbAm254fNQrgbHmNoe8YO8OSOy9AGDcBY36TBtdMnXiG3psg7tQWZeXBGVzfqOJ034jjSkTLsGShNIZq5LwXK4h5ZG0TblFNm3usH3qC7vbrN1MxmnB+FhtNtNqueGKA3AqFbWf/PQn0sB3Oq1N3aOYvNamzLQfbUNPzUwaaAo8m54YLxiYIDgKAWCyCjST9+L8i5m2yltCQjOTWK6W4HNehO7s2muvdWBmRIvJnwsXLtxsaNKg7L02R1A4ppK4Dm1BSCXLsVGZgftI3ZlAwhA5xg7LMLAQDI0xNARAmjZ3/nSbMCnpFpNksKVSLYmvEqwkaqM7CSIqFWW8qItGL+64kyz34azdescSa4n3yFCLOQrC3EXoUDIpTZ6MS3BkA6jHkBRoE4g2b7jbRo8ZanSMVgnu6/ajO72v+4/90zaSB/dYYJMYaHHdj9uP+Q0Qu8z9MymX/5s9X/1tWG9P2PoH9ZeKE00OmCWW2Ps+Os9e8xaBOc/n/YadwsCl2hC/b23N2M23/EVG5A/coAu9MsoFYDNYA9ARAMpJu+ARIdaEYChcffyONodaQktpR2gn52lv0tPf8YVMWwxu3zjwLwwKfNd0Y7h9CJbBSiZ+gHOAk5dDcrkH7UzlsOdlATZ/A3KuQ0OwrDHXsyoRw7YcT50y1VplyDAjhG+60/UxjM2gAwMhDHqEBEKat1wpyOjjGy16jlvSQOARuFOptAy1ERcB2N2bts6OqLhwwVatYK2/NhmqYRl0fKFBlEsNz9D8SGGTjtU9OC0tALlNgGaQZ7PG5Kk03KiW5c/RFBwCvP+ZPKj99lQC0AGFC/Id3Tlgs5Gr35O8ZmcYnxHUqA0PO1Zu9fAGKzYesHedvsBO+9A0/V20cn2d6qxsSdku5Qoz2Vtla5TtX//1i85YZqVdxiBoT7xbGJBB7xn01DgN+JspYrQ1bYcyY0MoEAba0bcxio02/tt3fGHTVoEb7cZiKsQKwLdwG6F5WZOC6fpILddAMXDsMwwLkKEhVAbg9IDmxdkjLJynMhkIgLfR/fHlBeJRGFxgKlNnxwQHuEIxpwpruvl+ALzJZ6wFOGaT8OUztD1l4KsBLJPG4A+/tbTRFTfVAPQYLbbokSFbtXaTFHDKklEZSsIsawcmUwgxDaRGFXcVBF0D0UZBkBMbuBvlw27/FDd2m54ZBEU9++bT5mNhFnoU/B6cf+p5Y89xDYZZYFQGcA5iYqrash1lG6ndbceeOMU+/pnZMiArVqoOCYBVlUltWK+qB8QHH7errrrGrrziT66nLam3gl5iO9FetMtYhwAuPz/KfMABB7ixC5QQAuG1PBihvbme9gX0L2baKlpCYVm+AYMCro2VjKsHWuIpBn+z2hTnWPyQCaFINBtawL8w+ZGoELo2/gb4VBTUhj33XnvtdbZy5RpVeJvymOzoCnyYmAxA65YBVlbMIMcnjm5T+7mGwXAqqtFSqayjH2VRKmac9EyOWndXxlYu22ir17G2X4u68qg4NzwRra9cmmltozEnbqYMySEs2LttVHu6cxwHSeLh/n2mNFab+b1LOuRvNxDjt815cB2DZNyrDRrU4G9gHSTckpF4yQr1e+zgI9vtY5/d2XqmNtQLFUW1uCKI96GHy6RbpIlX21e/8l+2x+772s677CiNW3HKCWBDRdh8W9EunGeBJT89kCX00M5QUwxP2h5lhU3Fni14nzHv+AKnLQY3iZfEcvZfRuDlASZLqHlqwXAs1IJYA3gYyxtjbDKShXT7F2ajcgC807T623eFbBwTtJNJt9ptt95lV199nahJyfG69rZ2q0tj8+Vc6q5UwT0ZV9eMvxqOL0Cq8fn2C9+qZHSzWJIxLM0uPDjNOnd+wpX98cc22MYNRffJDj7FXa6wLgszv4MBIwAFMBhEAVhMDHDakkwcsKmZ0QbklE9/p03HNrivi+APhIq6wDAmC86jnXk+8zXD6rkI/MJmoeeTIKvHYV8NDVoltNh23S9mH//8zrbT3hEbkqJJpKQEWGulKXtH9cNa5mjt8357vt1x+7322mNfay2tLNWRdFwbzo32pm1RPCSOoZoYi9Q/7c3y1EzyJTDKjzyDD97F98pj3/PFSFsFbl4WMPLyJPgVfzNbA54GgL/4xS+68Ec+eU03B3BZeYqujNWHMEjouqhEKoP7qQgSfzNqSaVkW7KWiKds7pwFtstOuwnYwYpFt9xyq4CftenTpjsh4NMhaCJAjRsPg6zulkKICgRqHIGSGfSqb+ULXSk5LwifuJs+M2kTerK2bv0mW75qjSAUc7HPeGQEJwcE17z6h7zr9ZBlUvpNebJ8mTJ05XYYdFyc53ka8czbsyX3k/PQMHeRv3W9y5ieA16tnqdas7QMahaFZ2SxWqOXUdkagzZcvcsOe223feoLAvZuURspjlg8WXH+eq4ltqZYaEgjt9tdd95rZ599ju251542Y+ZUp7UBLdqadvHjFbQFhj5jFmhnlAEeEtoSuws6yrLVaHza0AuDb88XO20VuKlwX3D/IkgpXRG0BKAyQsUXq6gcwErlwMFxHRGQA9AJYsc/jvYH/AgJQIWrsSdvBktw/2HVZ7Ottuuuu7nrWefk4t9fYsuWLRd1mWjTpvJl3LwDJFoMTZfJJJyXhHA9likIQF3WT2pspqUJM5Wy+GE6ajvvnrT2jjbx/PWyJ9Y6Dh6XFs8VyIyu3KTxdCQuz6eiWXEKzwvam99d8kbfZirB+WcH8rMmF/zEc4E1+QfP8KGtxGpXWPjexJuTOhfJu29j1kKr7dDXtdmHPzPXdtpHhmVOuTSJTEQBMfqIxpZASsjr1aj94Ptn2caBTXbkUa9yAV+ToCNtgcICxN7gh0+jpRlwY/VVgE3viyLDHuJvPCeem9OOru3GUK8XM22VQUnhKbh/ATYSgzC4hujWAC+RZYQ+YhSy+Ar8HHri195G0okXRiAwTKlMBAGgc4wA0RVCO5JJRsbirmG7uzsdH5+pe9AavzzrV6r0IXWPu0vjZAPNTdOLWkSZtSMtDhAjxDizmLtATqQfa3dEw7gBAWTYZs2J6R26nX/4iWXr3Gz3pJ6ZzSStKrI+QrhpNGItGXoHURVp8M20xIGZjWc76dKfgPK5Ni55IJCjwqE8CIra7GZUUpW4xfaT2bo1whts/aYHrL27Zie9c66d/qmptsPOURsYyIt/N9W7piTArO4qyqU6zecr1tGetUt+f4Ndcdl1dvAhr1LPxRffGqo7FufvcO1HveIMwAtC6CojjnhQGGxjVVbAzaRhbCoGdGg/gAwmaMOxuHix01bFlpC8dDrwBapyszan+yK+gNErKgj6wsAAM90JXKc7IyaBxIquxJigzakcNDJdIwD3lRQIEUPQwXGhUHEzrRksYBSUiEMWW6Qsp532Ljv6aBZcrDgvSSwuYFZVyQyoRAvq7gmmUtlFX8LGUDnUgr/58kDGogLTskUNu/g3Bbvikkds3Yq6taTpbgWSEkBLWjzKyFtAVzYnp1Tx2LDJagXYLnhpSxpYNAMftot3UR5jgM0orexiiVCfjZSWWam2ymbM5gNV+9iJb+u1zmlmw6WNsi/SDswl1QPeJL7dQ7u0tfbYquWb7HOf/pqjF68/8Sh1bP3W2ZWybLrXdl24j3sOoMUhgHZmiTtoJu0DpWSQDpBT3ygp/wUyfqfNgvYKtLaHGccvVtpqcHvwQR/YM6hDtwTg4GsAHQBynj0AZ1QLz4nX1kw3I7CGdUvoBpmmhAuQawmowphEcBz43LysILaamTNocZ1U3gUH8OXLn7Brrr7Grr3+Wtt3373sox/9iM1fMMcZkCUZX3DraAz3nugPI5jq4iPhqDb82lCNihVzdUsn2ywlbd+/2uzuW2t27s+X2IP39dnwSNV623ewaKjTfaKDiMGEDLLNbebArQ3a4wZX9McWgZtm4Z21d2uaSKDpDEjkHyFOpN/W5++XPbLJjj52FzvlnQttt30FJj2uamUbKqy11tYuGdZZ9Z4bdB2DLFE30Aa1++53fmRXXXWdWyc7k00KwFnr6mmzeXN31vOCyD3aFxrCmusoG0IruB6BwNfN71xH7zvWGfB0jQ02OP9ignurODcJ2RhbYC+pdFccw6fpxqgMwI5fHOODb+agwUms441wMDWJRVsQAkCN1uB6vC6c+8VZPxcNKMjomSILX+ZeLAi8KYgLEmvCkDBG67x5c2ze/B3swQfvtd+e/2vbNLjBFsyf7T6nEYo0nTbjg6J1JjtIQFh3JMKyvqIc1ZL+DiX1XqIpAn62s2mz50dsj4Xdxhcb4KZ9G/r0zJLFInonGbO6I9DeVIPfSJ5SOK78XBs1yAgbwWnsURWEKkLA680RiU6/7bFHj73rvfvbqe+ZanN21vVoZ/VMsRS2Cksaj4jOEbKAMuDdGcFtsdtuu9PO/e3PbOFu02z+gqlqq4ZoyBQZ1NAKxh2CwTUS0ZrYNygeXH94RpyXqr3d2U9odRI2EgCnTTwOSB4j/u8XK201uP2LILE+8TcvhLalAsYm/saYhILQncHJcRcyEEQQFSNejHASHE+8CVFmBFYxvP/7318koO9nOy7YWc8FNBgtLCXAZNWgIQiwQrPPmTvbaW7K9de//MUuvewPapAZEoA2a0l1CCsCQg3wSPPwPfgGwVksbSADkkENgSEUqVqlPiRqE5KARm3fA6O2y8LJogIR97kN3I8j+RFxWq6VoABI14gUjfIR/61GHtXaABN3YvA3+wDAbpMgPLUiVfAOjDQGvmzpcNGcqgDNN9wTrf3WPmGTHfem6fbOD062o18fcxGQ9bDuTRSsVBFN6x+RMumUtk6r18w5ZYNRCnOkXX5x1i/sybXL7fAjDnHRgnNmz5V6TaonnWEZKSIW3KQNoZWEQRD+ikLC3YeHi+UamAfLrHZW5aWX9YbnWCCTBxvnX+y01bRkSxKPpIIBN19dQOMyhYlKhJ4w0olXBdCjMRgkes973ivwVeyXvzzL5s6b7Xy0Y3k+e7w0VCoNSfzJ4OBGNWxF3XDOBXXddNONdsCBB9nJJ51qu+62UEBOWj4n7i0gJRJMhWMpsbLOE4xFPHXZUSGiBFnYPRGLiIKETcrQHnnA7Jqr+u2vNzxu/WtjVim0WblAGGxGeSWl1dG48HhBCqAKuPQSDqwAHjyzqc1pAReY5SYJ48mhayfwiwU/RaMS4t7hAWtE19nk6TU7/JjZdthRE223vSTM0sbKWWqKbl/XhZikoHOiMPE44wisRlt0lAatyjlGEqF+hxxyoO200wL3vjvMmaPfMjIy21z70Nuyp/dklShihahXz6WZiIDiYZ0/nAXUPXR0W0pbrbm3JNF9UUFsjG5hgcPJ4XWMcrKuHMttwekYCmZoF4P005/+jKvgs846W40WDANjwEBpcFMhJOSJwYRGh4+n01kHtv33P0AG0R525x13uYi1gf4BaanJ1tkZfHgKDY92cZ+mExKY78jfzjPDaGdMQAekMmgj0updvSGbv0vaDjtymnVPNEu3VS0cL0qjr5chN2B5aUuEkVHTpgQPQPMcBoYArjAifg+oAz7qDEdpbGLPa7qnWitI8Q9bNLvBOiYO2b4HJ+zk02aLfuxghx2Ttenz6lbivmjJ0ZCA46OnJFTagp4t8DgFblGGwpPW37/Bvva1r7k6O+ywV0tBxK29o0sGZrvNEqVj8gi9JN4RBuKoUzQ19QqtxJCEajKIwwwdbCYSdcV7vBQa+tnSSwJugMloJBXPQAGNTmWSGL7lM24AlyW70CDEBxNK+d73vsf5WS+44Hw30fjBBx90k4zxkTM8j/amEdBQaBEEAYBxjqlk5EUPwTPRRCxBQIPQQH4gCg3E9TQ+PQO/s3F/Vd03YbDoykRGjd3VsJ5JZrvu1WZ7v6pLmrTLFixMyCYIWVun7knkpIWZTUGC4uSsXB0RDcBGyInW5ER/VOYQxyNuofnW9ohNnZa22fPSttdBTTv6jXE78dRp9qZTumzvAyPWOVG8Vs+u1JmAoS7ELb4/6q5x3UDA0ePqiYLlyoJPumBEUie/+92FboSYkUTqASrhQYxdBDgZVmfuJL5s6pXrGTAjrJkBOjYGdBhi5z4PatqTOttW0ktCS0hUPBVChVI5aF5ASQWiKahwDE6oCt0o4ZV4VT772c86Po5bisqkIfDHsmA94EZQEBxei41reAY9Axqdyuc8eeHKokfAUIJPEuyFZwYgYMB6ASmVVdYoa4uwuKfwJIOLYCUGQtwyygmWEJYhhRaWAhYLsoENZn3rKjawvmz9T3KO0dayDQ1SDj4Qi55l3cJWSyTDAlrYuroTNnFS2ronhK2l1axnimwUFnMSXhhVzOeLVq4N6XpsA6eX9aMHNB6VuE7ClQXodNwGBvo2hzBQJ/BnDHWonjfmqWfsIPzT1B91RZ0xXYzPtzA6yZgEdcwsK+oO5YRBuccee7iek/u2JVD79JKAm8rw0g7gABEVihbxhggJTwmgpWLh3xwjBESkYaEzKZWhfT6ID7VB66JRACtdJ+DlPJNTx2oXegUSDRcEY13rBiJodCgRgkM5eJajUFayeCovo1H0ZDQ6EDA1anB+QnfxezMtjNn0DDKpS3QL30vIqiGrlfiEtxnftKwIj9ARap1XxYbEm0kwE86JcAxqwmcDy24IiMZpyHBtSvMzwgiG6I0Q1jjxuHhiHLA9wLWN4fQk6gUQssoqQs3ajNQ11AIXHoD2Hg/gQPQmXJt5sAg/xiMCTyePYkGBkFBQCD9/8wzqFwW1raSXhJb45IHMnkoBgGyAn3MAxRs2dI3MtcTgxHuCZmVEDPAygEBjA3aG+/HGQG/QPLgRcQ+SH9qLhmAjT7pUKAmjqWg4fO+4KREqPDcIVVA+fOtCpjSiC+yvicNWBaxmWtBiFjg+4WBYv9GUQEi7lmuDjoLwvUe3Fkk8bImUWTIjgzctIKdkE8hQbO1kjRPVQ6RqVRmwgJqPnzKhoiaJoD7g/RiEbqi/gSAxd5NALsqAxgTgcF0QjdRQhzXn9QFw1A1CTH34qWO8Oxware0pHfXN9dQtCgOAU9coEOoMoxzKCB1BWKhD7kFhcD/XcP+2kl4yWkJlkHi8ryT2VA4NChh90WgcjEq0B9Y5FcvAApUPmOHLaNl3v/vdznIn/JIBIRrh05/+tNNSAJvkn8PfPIs9vQf3w90JEUAw0GZ8pAo3VyIRs6HhAZUpoCMOUO77jKNLFKCWxXv5rg1Lo6HpWRrNfa6bL+3WWgQ7PCe6ZdRbAj9GtrmXdyXGBVBCNsgLgLNMBCOhGH0AiHP49kmVSik4dvdAT7gPYGvT/ywEOjJS2GzL8C7Qk2OPPdbtURoIL78DdOrCCz1tQ13gEQHkRPihVNDOlJXoTu73beTbibQtgfslK4mvTDa0NhXlK4a9a/DRDaAxM4SpT57jQSUAL5XM/YCcEUoGguDoDC6wJAGgICaCBvDPAdAcA2r2NDYNjbam26Uzg5p8//vfd73DnXc8aNlEr7ZOS0bbrFbmo0usoCXW2xiySmOTKEROWrogQaxbVb9bvduizanCXqdA3gyWYWCNEUYWxd85buq4ERH/llHYkCA00PzaKwcBGQoUdxqa79CjrZlR7zh1Pe5WnMWVWS0jcMxzRJMywspEDQalgrqlLrFb8EcT1OQ9TBiTUBHqw9si1FPQU8QcF0dZsLIr4EZ7o7UxRD2wSex5hm+zbSm9ZLRkbOU8W+I3/zuVz0aiIok9wduBVoaO4N7j+4ZUPNwSuoF/nNFPlhzA+EFD0QtwD3nQiL4HQYB4FsJAYzJYQfcNF//1r8+zkaGodXZM0Za2eIJPeDB9DXshLEWJ6075JtPWkmkV905ZflgUq8anw6WxmS3htKrexb8uf+tO93rumMQ1HPPegIX3Bbw64+4bo4t0gsjEgCqJhgjQvBN1BEUaHhpxPRrxNqxKAFWDhsCxsXH4DSrGOYSbesBGQTkg6PzObxxDW5iUQq/JwNqztdnfa8uXIr2knHtLEtoZjQTXZvoZBiRam+6VASHiVuhOMRYxdtC8aH00FUFV3EODocm9wNAo/E0jIwCeQ8LVacye7h674spL7Yab/myJdNwW7DjHhZrm80PSsCxtxtosCSvkC+oxciplyNra+eCRWbFEwBKgxAgb3RxPDoDrNueT5tifG927BXaUHwtnum9nSuO7HgCBZE2XqgQVzhusdRjng60CO3Hm/N3S0uqMbxQBgWm8K0BFcwNy6gRNzXligXh/RogJlMIgR0EgMCgHEtGcJK5/OaSXHbjRsICbRoH7YTDShcIpGWAA6HhWoB405GmnneY0FBycgSHWr0PjQzsAOV0xbkaEBK8KQPdUiUYE7LNmTbU99p4voA7YmT/7od16283u2pkzZgvG4uODeWfosSgmWpEFfoqlnBstfAoHo1otUMxBcnyZP8ZsTvuxsYO+AGw0P5u49ejGoA+gZvY6iVFGPdCNsCIYXV3tbj1tYkHQuLwTYKZnQyPzXtQh5xHsj3zkI46y0PvhJkQRYIAyloBbkDEHvCcvF2CTXjLOvTWJRkADe37ISBkeD7wd0AkGauhWAap3+6G94Oy4tbgHQENRMFKhHzQ62hqjid8RIrQW5xgOnzW7y04+9bX2X9/5irW0pu0DH/iQfflLX7dVK9ZZT2ePpZPtbmYLw/XgrBEakcYetmQKIKJxPUD/l80Zh2jmgLZs3hytwejkOobopbVFwct8uk9/8z1LPC0YvZSPj2L99KdnuJ4Hlx/ABshQLoQdkNKz8a7wcegLvm4EHqVB+AMKAyXByDHgp75fTullp7kBJA0CeNE4GEM0EhXP3D0ahoZjFA2gMu8Syx/tzqgb2hytjTGFPxz3FvcgFJ6zki/PAQwAISkUQQGSyTZryXbq/r2st3uym/19xR+vUhlq1tXdobw7ZFRWnCcDSsCXCvI58hEKnauODa3sdUqgdYNzHHt6MnrsfNe4+9gImx2lK9rg5MRpF4oFcfwg1BRBbG0RRYqF7Te/Ptduv/1W927UD+BGiBFa6g67gwR4GfXF6KSuuAbaQn3iNsQop76oc+qFbVvj1s+WXnbgphEBHUDkmD0bQPZGIQD1WgoOideDJQiIEWcmEPEqjEZihLLeChMoaGSG9AEIQPBGJ41cEnhTyR6LhlitNaXjFps3f47tsecuAtdGu/ray6X97nXcevr0mdbe1iUtblYYUQWHU9KyBBQRKSlQjBqJwQaYR/9mUoN3M7rfoBlJKWsEg5n3ysMtzqnzGJu6Rjhzs4yy2RZpcOiI6ThjixYtdqHDxO3MmzfXUSVoCDYEdcPgC94k3pN6o64YascNSg+HAsBzNFbIqR9vm1AvL4f0sgM3jeMrmWM2EsaQT94YZAACAUDDYmBCV/Ce+Jn3RMadfvrprjGZLcSwP8YTv6HZfSMmkgkrF/lWfFTHDG8LZw39nUk6Ljpt6jR7Ytlyu/KPf7RFjyx2cz1nTN9B+RA6y6f0WJYtpDJK6JRnXWVCaIj7IAXBVBJWAShYkoIAK72nfgsmZ4xSE09P2Ot/vu6bjKeML/yyeCf+cPLF7lix4gk3BQ+aAbD9wkgM2jDfkXgd3pURSDT029/+dleHeJ6Y/oeXyC9xB7BJ3E8aB/cLmAD32K7RHwN4Eo1AA7DBpZnTyQgnPJIGg3sz/w/PC1OjPvOZzzitzwwT4i/wkyMYaP5AmCQ8icCI5ctiqVSw3AThrEwAmDljB9tp54WiIm1uePsG3b9ixVJxX7wSU5QH5W0K1ARx4bKjsHUJoUDOCKZ+I64cYPNNd7cwZaPsNiZXPGVIAnTPe8kTIQiWqyDqDzrBe5533rkO2ERY0gMBbOoCGoYWR2MzN5LoQEDMdYQeQEswJqlP6oA88JhQr2xje82XQ3pZgvvvJRqBxgGI7GkMAI6GxeiEQ6LFcRvi/2WRTjQZLjN84XBvjE4aG55OIBf3kw8aOAB1sAhoUhodcKPZCCddsGC+AwgCgAbEwOXbNXPnznFaHO3Mb+w97UF4ADmx5Ew6ZhUtjFKuIwXaPRDap/aCtt4NgRwaFvcR0NHICCueIn4DmIAdm4Ey4yrlb2galIMNoPOOCDoBaEwg8UPzjMxiYHIvZeR9eW/P1V8OabsCN41K8poFTQPYvfeDPYmBChr/TW96k3OV0YgckxisIKYZ3zjHDDtjkMJToTqAnNgLgMIxDU++UBmez7MRIowweO1VV13ltGlbW7ubrsV9CANggT5xP/eQB3vO8zv5ASzewb/X0xPn/QboCBtgZhOCDJg5j51BD8Tf2B5EBSLQjO6ecsopjqrxXggj9gdu0quvvtoFkGF48nwSZfHJ1++2nrYrcHtaMrbR2fw53H9wa7QXMRM0EkPKgBd/OW5BJsDSbfPlLqa+QWng6BhoaHyOASj5YWyxRwMG9IXBk7oDGpwdLYjgMFJKHAzPcoNC6gk8gBEArxG98PE3gkN+/p2enjiPmxOhJR/oBT0OgKT34PnwZfJFOyPEzHDC70+5/HvgUoWCMawOkBFoViWAnlBGysSzKI8HNeV6OaSXLHDqhU681tMbAV8uWouGpfFpeM7hIsSwogEZ4PjUpz7ltDccHbrCgA2DGggHGwAFCACaBKBJ3A8wSQAPYQAgbHBYBpEQCDw3eGy8NuQeridP8mDjHg+qZ0tekHhPVhJg4u7RRx/teDLAhV5QVnoaDEaCptDcPJewVjg3xjbUBUMbUHMtAkO+9Fb8Rjl8L/NyStsluHklNhp9LMABj+/6aTwARIOxR2Oh/VhbGu6KhmMYmpgM7kPjA1C6bnzjhMayVh5uRDSjpxeAlPwBEM8GIIAcwDAKSmgAPng0Op4aohgBEABnCJzEtR5Qf48CeGFCYAk7gF4guDwbOkK+UCGCnxBgjEjyw2gmNp73Zd0Y/3VghA/e7QFO/ryDh4gX3L8ncNtSenmQp/9j8oCgEZ4ObBKNQuNCI9CgAJxzdL0YkBibaD0MLKav0b2TAA+AZkEaNB6zvokeZIIs8w2hMx7Y5DXWTw5IcDUCeOgDnhoWHgKIzCqC7gA6ygovBpiU378DyQuqT/6Y/DlG0BAi7AiEjN6H8zybazCECemll8Kbw8gjggZH55j4G6710ZNofPLhmHzJi/KQF9vLJW1X4KYRAKvXOE9P/pxveJ+4HlChoREOQj2JsUDzAVw8K4z00W3T4AAXIBKvgpZHEwIWwOGFi+s8GHgePBtww4lxvfEMKAKGHF4baAVxLwgG15MH17OnXJSPvEm+rPxG7AcGIGWjTJwjDwDuKQUGJjYFtARDmd8YlUS7Uz40OO8ERx9bb/xGXiRfp2N/39bTdsu5n2sCOJ5OeG6JJmYNFegJ3JuZQBhfDH589atfdVQA9yEg5Ns/dOdwaXoBAAwAAQNVTJ48A01IAjgYkwgEGhSQ44dmChjGHAB0gz+joPL34fJjFJGoPp6HgNET8Q19NC69BIKEqw86xPtwHq3Nc7A1yB9BIG+MaXz9XM/EDigW57eHNA7uMcmDkQ3wkaAveFcADYM9/OYnMQAY6Ap+8ve9731OM6J9uRdjDSACIoQGAAJuaAvPIYIREJLoHcgDPo5HBXqBkCBI2ANoY3oawIwgkQDteeed50Ya6QWgOeQNxyZfysnzASrPo0z+nViYFAOZ56L1mVaHfxy3IOd4Bve/3NN2N4izpQkZ9w069pjkXXd083hQ0KJwWK7BX4yxhkcFDc+MFbg0wAcoaEbciQDbgwzAeT7MBrVBozIDH580HgxAh1ZHQ/MbiXLxXLQ6kXwYuVAOyoAAYC9AL/CUUFZ6C857oWJPHvRIeFYAOM8jH3og3ofrtgdgk8Y192gCBDQq1eE1OOAACICR85yDprCGB5qTBfXxoOAzZ04ngzcM2ABwBorQ+sREEzLKgAkJgJEPGxqdvwEke3i7BzvxHRiKCAFUhV4BIHINwMW4xdDFrQgguc57SAA/5SMvhJLyc8x78Rx+g7KwcS28mt+oA65l2x7SOLhHE41OAgQ0Mo0NCAAHxwDdAx4uzDXQBAxPjE3cetzL4kG446AlDJAAcrp71vyAesCr4eMkD3IPKoSBDYGiWVhxC5AzNA69YZY/zwLUPA83JICmTMSPAH7oE8Li34Ey8QzyJ1//Hv6Z9ASc4x56GagMf28PaRzco4nG9nsa3XNP/mZDO3oDjyqDQ+OXxjVIaCnAgp4QkXf55Ze7vzESATlxGgAbTU0+aGJcieQBAEmAkISQIVAAkY1nAmaMQYQF9yR+acCMDx5QQpswBDEc8cb4Mnpwe2D7Z3hh5W+OATvlQrA4Js/tIY2D+2mJ6qCBaXRAwbFPAI9z7DnvwUICkCyoDwdmNBBezuwVjDVAjHGIH52YcWjM5z73OTcPlPsAFs8FyACLZwA0/uY38vIfyiIsF2pCBCPXQSvwdKCxPc8mUb5nKjvPQVh92cdeQxr728s9jYP7eUqAlFFOtDgAI1acUT9ipdHuX/7yl11MB+CBf3OeZYHRqBifjAxyDIARCLwlNA0gR9C4j2dAVeDkUCaeg7bGPw2dQDA4B4jH03Y2iPNSJjQsAPW6Ag8HwVdobYDogQ3FgKvjncAwhZ4Acvzoy5cvd8tSMDDjQYqhCIDRvDwDVx9D93hRADUbv3uNPZ6eSuOa+3lI3v8M+DgG0CS0Lh6Ps88+22lyXHTQEegDIbH4lhmEYfQQUKOxAS1BTGhi0lhNDGfnb2gJzQZtAdgIAM/2FMNz7e2FXmxpGtfcz0MCXB5YgA0woq05ZjkEDEpATVgpcxXxerB2HzHkrCeC9wQOzQgoo4c+FgVNj8bGuAXMPrAKbc15egcEBWCPTeP6Kkjjmvt5SgDQa0/ADX/2rkT+ho/jdmPABfpBVB7x1Qz+oOEBP+Al7pqBIjwt5AXo8Z+TN5qYgR1AjwCw5xxN6J/Dxt9PNxRfiWl8hPJ5SN6dBmUAcCTADj0BbPyOaxC+TOIaRiHZA1oCrwhLZXgfjc4IJx8sRfPjWUFD4xHhemJYyJO8oCfeu0IC1IB9HNhBGqclz0PyvBjt6Y9x0QE2D3ZADJXgd7QuVIX5mWhpFhWCnjCxAPDCzdHWuBTxZxO1B6dn5ScWAMU4xW/OEP3YQCyvxdnG0zi4n7cEoNGiY7Umx2z8xh7QAXCOoRsYk2hlwlWJzPOTCRhaJ3aEUFh4OPfh/mOQiHsAPFGJTF9j6Nznyx4BG09BGgf3i5AALMkDnIQm97PxoSR4RwiBBeycB+AM/EBHGOxh5BOaghHKfEwi+4hEJB96B5+3z388jRuUL2ryVe21LBQFTYvhSYJ781k8jEaoB9f40U5GP3EX4ioE4EQg4n0hLzby4Ho2gM72Sk/jmvtFSB6AHnRjjT72ABKfNYAmEIul3kgEWbHhJ2eACPqCD5z4EgaIyBNjFSHxwCZvNDnHr/Q0rrlfhEQVe8PSezbGJn5Dg8PZOcbTAmgxShnFZH1DNDoCwHITuBCZnABNIQFo/OI8Bw+NpylegF6paRzcL2LymhbQeZD7Pc3gp4UBUP5mw2iElhDyyowbRjYZ7eS+sfcCbkDue4VnEqJXWhoH9wucPKDRyiRf3V6romXHam4Gf7gGqoGx6GkHAz+/+c1vnBEJgAlz5T6u99qa82h3gO15/Cs5jYP7ZZJoJgAMcDl+pVOO/0saB/d42m7TuLdkPG23aRzc42m7TePgHk/bbRoH93jabtM4uMfTdpvGwT2etts0Du7xtN2mcXCPp+02jYN7PG23aRzc42k7TWb/H+e4LFtrCmP5AAAAAElFTkSuQmCC"/>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pic>
        <p:nvPicPr>
          <p:cNvPr id="7" name="Bilde 6"/>
          <p:cNvPicPr>
            <a:picLocks noChangeAspect="1"/>
          </p:cNvPicPr>
          <p:nvPr/>
        </p:nvPicPr>
        <p:blipFill>
          <a:blip r:embed="rId3"/>
          <a:stretch>
            <a:fillRect/>
          </a:stretch>
        </p:blipFill>
        <p:spPr>
          <a:xfrm>
            <a:off x="7042484" y="160338"/>
            <a:ext cx="1935873" cy="2030562"/>
          </a:xfrm>
          <a:prstGeom prst="rect">
            <a:avLst/>
          </a:prstGeom>
        </p:spPr>
      </p:pic>
    </p:spTree>
    <p:extLst>
      <p:ext uri="{BB962C8B-B14F-4D97-AF65-F5344CB8AC3E}">
        <p14:creationId xmlns:p14="http://schemas.microsoft.com/office/powerpoint/2010/main" val="14948855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p:cNvSpPr>
            <a:spLocks noGrp="1"/>
          </p:cNvSpPr>
          <p:nvPr>
            <p:ph type="title"/>
          </p:nvPr>
        </p:nvSpPr>
        <p:spPr>
          <a:xfrm>
            <a:off x="288035" y="268201"/>
            <a:ext cx="7126917" cy="346249"/>
          </a:xfrm>
        </p:spPr>
        <p:txBody>
          <a:bodyPr>
            <a:normAutofit/>
          </a:bodyPr>
          <a:lstStyle/>
          <a:p>
            <a:r>
              <a:rPr lang="nb-NO" dirty="0"/>
              <a:t>Selvangivelsen til 1995 – Mye papir…</a:t>
            </a:r>
          </a:p>
        </p:txBody>
      </p:sp>
      <p:sp>
        <p:nvSpPr>
          <p:cNvPr id="6" name="Plassholder for innhold 5"/>
          <p:cNvSpPr>
            <a:spLocks noGrp="1"/>
          </p:cNvSpPr>
          <p:nvPr>
            <p:ph idx="1"/>
          </p:nvPr>
        </p:nvSpPr>
        <p:spPr/>
        <p:txBody>
          <a:bodyPr/>
          <a:lstStyle/>
          <a:p>
            <a:endParaRPr lang="nb-NO"/>
          </a:p>
        </p:txBody>
      </p:sp>
      <p:pic>
        <p:nvPicPr>
          <p:cNvPr id="9219" name="Bilde 1" descr="image001"/>
          <p:cNvPicPr>
            <a:picLocks noChangeAspect="1" noChangeArrowheads="1"/>
          </p:cNvPicPr>
          <p:nvPr/>
        </p:nvPicPr>
        <p:blipFill rotWithShape="1">
          <a:blip r:embed="rId3">
            <a:extLst>
              <a:ext uri="{28A0092B-C50C-407E-A947-70E740481C1C}">
                <a14:useLocalDpi xmlns:a14="http://schemas.microsoft.com/office/drawing/2010/main" val="0"/>
              </a:ext>
            </a:extLst>
          </a:blip>
          <a:srcRect l="7448" t="7445" r="1790" b="9346"/>
          <a:stretch/>
        </p:blipFill>
        <p:spPr bwMode="auto">
          <a:xfrm>
            <a:off x="4401217" y="1489075"/>
            <a:ext cx="4744371" cy="3647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http://e24.vgc.no/drpublish/images/article/2013/04/05/20354446/1/990/Negativ.jpg"/>
          <p:cNvPicPr>
            <a:picLocks noChangeAspect="1" noChangeArrowheads="1"/>
          </p:cNvPicPr>
          <p:nvPr/>
        </p:nvPicPr>
        <p:blipFill rotWithShape="1">
          <a:blip r:embed="rId4">
            <a:extLst>
              <a:ext uri="{28A0092B-C50C-407E-A947-70E740481C1C}">
                <a14:useLocalDpi xmlns:a14="http://schemas.microsoft.com/office/drawing/2010/main" val="0"/>
              </a:ext>
            </a:extLst>
          </a:blip>
          <a:srcRect r="13777"/>
          <a:stretch/>
        </p:blipFill>
        <p:spPr bwMode="auto">
          <a:xfrm>
            <a:off x="0" y="1489075"/>
            <a:ext cx="4401217" cy="3619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025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Image result for I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7748" y="1911927"/>
            <a:ext cx="3537839" cy="3196648"/>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p:txBody>
          <a:bodyPr>
            <a:normAutofit/>
          </a:bodyPr>
          <a:lstStyle/>
          <a:p>
            <a:r>
              <a:rPr lang="nb-NO" dirty="0"/>
              <a:t>Fra Papir til digital skattemelding</a:t>
            </a:r>
          </a:p>
        </p:txBody>
      </p:sp>
      <p:sp>
        <p:nvSpPr>
          <p:cNvPr id="3" name="Plassholder for innhold 2"/>
          <p:cNvSpPr>
            <a:spLocks noGrp="1"/>
          </p:cNvSpPr>
          <p:nvPr>
            <p:ph idx="1"/>
          </p:nvPr>
        </p:nvSpPr>
        <p:spPr>
          <a:xfrm>
            <a:off x="288036" y="1981200"/>
            <a:ext cx="3386189" cy="2771394"/>
          </a:xfrm>
        </p:spPr>
        <p:txBody>
          <a:bodyPr>
            <a:normAutofit/>
          </a:bodyPr>
          <a:lstStyle/>
          <a:p>
            <a:r>
              <a:rPr lang="nb-NO" dirty="0"/>
              <a:t>1995: Forenklet papirversjon</a:t>
            </a:r>
          </a:p>
          <a:p>
            <a:r>
              <a:rPr lang="nb-NO" dirty="0"/>
              <a:t>1999: </a:t>
            </a:r>
            <a:r>
              <a:rPr lang="nb-NO" dirty="0" err="1"/>
              <a:t>Preutfylt</a:t>
            </a:r>
            <a:r>
              <a:rPr lang="nb-NO" dirty="0"/>
              <a:t> papirversjon</a:t>
            </a:r>
          </a:p>
          <a:p>
            <a:r>
              <a:rPr lang="nb-NO" dirty="0"/>
              <a:t>2003: Forenklet digital versjon (av papiret)</a:t>
            </a:r>
          </a:p>
          <a:p>
            <a:r>
              <a:rPr lang="nb-NO" dirty="0"/>
              <a:t>2006: Komplett digital versjon (av papiret)</a:t>
            </a:r>
          </a:p>
          <a:p>
            <a:r>
              <a:rPr lang="nb-NO" dirty="0"/>
              <a:t>2018-2025: Helt ny digital versjon</a:t>
            </a:r>
          </a:p>
        </p:txBody>
      </p:sp>
      <p:pic>
        <p:nvPicPr>
          <p:cNvPr id="8194" name="Picture 2" descr="Related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49041" y="1911927"/>
            <a:ext cx="2271302" cy="31966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944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global networ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036" y="1981200"/>
            <a:ext cx="3693936" cy="1574783"/>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p:txBody>
          <a:bodyPr>
            <a:normAutofit/>
          </a:bodyPr>
          <a:lstStyle/>
          <a:p>
            <a:r>
              <a:rPr lang="en-GB" dirty="0" err="1"/>
              <a:t>En</a:t>
            </a:r>
            <a:r>
              <a:rPr lang="en-GB" dirty="0"/>
              <a:t> </a:t>
            </a:r>
            <a:r>
              <a:rPr lang="en-GB" dirty="0" err="1"/>
              <a:t>stor</a:t>
            </a:r>
            <a:r>
              <a:rPr lang="en-GB" dirty="0"/>
              <a:t> </a:t>
            </a:r>
            <a:r>
              <a:rPr lang="en-GB" dirty="0" err="1"/>
              <a:t>omstilling</a:t>
            </a:r>
            <a:r>
              <a:rPr lang="en-GB" dirty="0"/>
              <a:t> for Skatt </a:t>
            </a:r>
            <a:r>
              <a:rPr lang="en-GB" dirty="0" err="1"/>
              <a:t>fremover</a:t>
            </a:r>
            <a:endParaRPr lang="en-GB" dirty="0"/>
          </a:p>
        </p:txBody>
      </p:sp>
      <p:sp>
        <p:nvSpPr>
          <p:cNvPr id="3" name="Plassholder for innhold 2"/>
          <p:cNvSpPr>
            <a:spLocks noGrp="1"/>
          </p:cNvSpPr>
          <p:nvPr>
            <p:ph idx="1"/>
          </p:nvPr>
        </p:nvSpPr>
        <p:spPr>
          <a:xfrm>
            <a:off x="288035" y="3760626"/>
            <a:ext cx="4062583" cy="1163799"/>
          </a:xfrm>
        </p:spPr>
        <p:txBody>
          <a:bodyPr>
            <a:normAutofit/>
          </a:bodyPr>
          <a:lstStyle/>
          <a:p>
            <a:r>
              <a:rPr lang="en-GB" dirty="0" err="1"/>
              <a:t>Globale</a:t>
            </a:r>
            <a:r>
              <a:rPr lang="en-GB" dirty="0"/>
              <a:t> </a:t>
            </a:r>
            <a:r>
              <a:rPr lang="en-GB" dirty="0" err="1"/>
              <a:t>utfordringer</a:t>
            </a:r>
            <a:endParaRPr lang="en-GB" dirty="0"/>
          </a:p>
          <a:p>
            <a:pPr lvl="1"/>
            <a:r>
              <a:rPr lang="en-GB" dirty="0" err="1"/>
              <a:t>Lovlig</a:t>
            </a:r>
            <a:r>
              <a:rPr lang="en-GB" dirty="0"/>
              <a:t> </a:t>
            </a:r>
            <a:r>
              <a:rPr lang="en-GB" dirty="0" err="1"/>
              <a:t>og</a:t>
            </a:r>
            <a:r>
              <a:rPr lang="en-GB" dirty="0"/>
              <a:t> </a:t>
            </a:r>
            <a:r>
              <a:rPr lang="en-GB" dirty="0" err="1"/>
              <a:t>ulovlig</a:t>
            </a:r>
            <a:r>
              <a:rPr lang="en-GB" dirty="0"/>
              <a:t> </a:t>
            </a:r>
            <a:r>
              <a:rPr lang="en-GB" dirty="0" err="1"/>
              <a:t>skatteunnvikelse</a:t>
            </a:r>
            <a:endParaRPr lang="en-GB" dirty="0"/>
          </a:p>
          <a:p>
            <a:pPr lvl="1"/>
            <a:r>
              <a:rPr lang="en-GB" dirty="0" err="1"/>
              <a:t>Svindel</a:t>
            </a:r>
            <a:r>
              <a:rPr lang="en-GB" dirty="0"/>
              <a:t> </a:t>
            </a:r>
            <a:r>
              <a:rPr lang="en-GB" dirty="0" err="1"/>
              <a:t>og</a:t>
            </a:r>
            <a:r>
              <a:rPr lang="en-GB" dirty="0"/>
              <a:t> </a:t>
            </a:r>
            <a:r>
              <a:rPr lang="en-GB" dirty="0" err="1"/>
              <a:t>ulovlige</a:t>
            </a:r>
            <a:r>
              <a:rPr lang="en-GB" dirty="0"/>
              <a:t> </a:t>
            </a:r>
            <a:r>
              <a:rPr lang="en-GB" dirty="0" err="1"/>
              <a:t>skatteavtaler</a:t>
            </a:r>
            <a:endParaRPr lang="en-GB" dirty="0"/>
          </a:p>
          <a:p>
            <a:pPr lvl="1"/>
            <a:r>
              <a:rPr lang="en-GB" dirty="0" err="1"/>
              <a:t>Delingsøkonomi</a:t>
            </a:r>
            <a:r>
              <a:rPr lang="en-GB" dirty="0"/>
              <a:t> </a:t>
            </a:r>
            <a:r>
              <a:rPr lang="en-GB" dirty="0" err="1"/>
              <a:t>og</a:t>
            </a:r>
            <a:r>
              <a:rPr lang="en-GB" dirty="0"/>
              <a:t> </a:t>
            </a:r>
            <a:r>
              <a:rPr lang="en-GB" dirty="0" err="1"/>
              <a:t>informasjonstilgang</a:t>
            </a:r>
            <a:endParaRPr lang="en-GB" dirty="0"/>
          </a:p>
        </p:txBody>
      </p:sp>
      <p:pic>
        <p:nvPicPr>
          <p:cNvPr id="2052" name="Picture 4" descr="Image result for opportunities"/>
          <p:cNvPicPr>
            <a:picLocks noChangeAspect="1" noChangeArrowheads="1"/>
          </p:cNvPicPr>
          <p:nvPr/>
        </p:nvPicPr>
        <p:blipFill rotWithShape="1">
          <a:blip r:embed="rId4">
            <a:extLst>
              <a:ext uri="{28A0092B-C50C-407E-A947-70E740481C1C}">
                <a14:useLocalDpi xmlns:a14="http://schemas.microsoft.com/office/drawing/2010/main" val="0"/>
              </a:ext>
            </a:extLst>
          </a:blip>
          <a:srcRect t="-12989" b="12989"/>
          <a:stretch/>
        </p:blipFill>
        <p:spPr bwMode="auto">
          <a:xfrm>
            <a:off x="4820172" y="1746066"/>
            <a:ext cx="3600000" cy="1811403"/>
          </a:xfrm>
          <a:prstGeom prst="rect">
            <a:avLst/>
          </a:prstGeom>
          <a:noFill/>
          <a:extLst>
            <a:ext uri="{909E8E84-426E-40DD-AFC4-6F175D3DCCD1}">
              <a14:hiddenFill xmlns:a14="http://schemas.microsoft.com/office/drawing/2010/main">
                <a:solidFill>
                  <a:srgbClr val="FFFFFF"/>
                </a:solidFill>
              </a14:hiddenFill>
            </a:ext>
          </a:extLst>
        </p:spPr>
      </p:pic>
      <p:sp>
        <p:nvSpPr>
          <p:cNvPr id="8" name="Plassholder for innhold 2"/>
          <p:cNvSpPr txBox="1">
            <a:spLocks/>
          </p:cNvSpPr>
          <p:nvPr/>
        </p:nvSpPr>
        <p:spPr>
          <a:xfrm>
            <a:off x="4860036" y="3760625"/>
            <a:ext cx="3922014" cy="1163799"/>
          </a:xfrm>
          <a:prstGeom prst="rect">
            <a:avLst/>
          </a:prstGeom>
        </p:spPr>
        <p:txBody>
          <a:bodyPr vert="horz" lIns="0" tIns="0" rIns="0" bIns="0" rtlCol="0">
            <a:normAutofit/>
          </a:bodyPr>
          <a:lstStyle>
            <a:lvl1pPr marL="170272" indent="-170272" algn="l" defTabSz="681091" rtl="0" eaLnBrk="1" latinLnBrk="0" hangingPunct="1">
              <a:lnSpc>
                <a:spcPct val="90000"/>
              </a:lnSpc>
              <a:spcBef>
                <a:spcPts val="745"/>
              </a:spcBef>
              <a:buFont typeface="Arial" panose="020B0604020202020204" pitchFamily="34" charset="0"/>
              <a:buChar char="•"/>
              <a:defRPr sz="1800" kern="1200">
                <a:solidFill>
                  <a:schemeClr val="tx1"/>
                </a:solidFill>
                <a:latin typeface="+mn-lt"/>
                <a:ea typeface="+mn-ea"/>
                <a:cs typeface="+mn-cs"/>
              </a:defRPr>
            </a:lvl1pPr>
            <a:lvl2pPr marL="510819" indent="-170272" algn="l" defTabSz="681091" rtl="0" eaLnBrk="1" latinLnBrk="0" hangingPunct="1">
              <a:lnSpc>
                <a:spcPct val="90000"/>
              </a:lnSpc>
              <a:spcBef>
                <a:spcPts val="373"/>
              </a:spcBef>
              <a:buFont typeface="Arial" panose="020B0604020202020204" pitchFamily="34" charset="0"/>
              <a:buChar char="•"/>
              <a:defRPr sz="1600" kern="1200">
                <a:solidFill>
                  <a:schemeClr val="tx1"/>
                </a:solidFill>
                <a:latin typeface="+mn-lt"/>
                <a:ea typeface="+mn-ea"/>
                <a:cs typeface="+mn-cs"/>
              </a:defRPr>
            </a:lvl2pPr>
            <a:lvl3pPr marL="851364" indent="-170272" algn="l" defTabSz="681091" rtl="0" eaLnBrk="1" latinLnBrk="0" hangingPunct="1">
              <a:lnSpc>
                <a:spcPct val="90000"/>
              </a:lnSpc>
              <a:spcBef>
                <a:spcPts val="373"/>
              </a:spcBef>
              <a:buFont typeface="Arial" panose="020B0604020202020204" pitchFamily="34" charset="0"/>
              <a:buChar char="•"/>
              <a:defRPr sz="1500" kern="1200">
                <a:solidFill>
                  <a:schemeClr val="tx1"/>
                </a:solidFill>
                <a:latin typeface="+mn-lt"/>
                <a:ea typeface="+mn-ea"/>
                <a:cs typeface="+mn-cs"/>
              </a:defRPr>
            </a:lvl3pPr>
            <a:lvl4pPr marL="1191908"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4pPr>
            <a:lvl5pPr marL="1532454" indent="-170272" algn="l" defTabSz="681091" rtl="0" eaLnBrk="1" latinLnBrk="0" hangingPunct="1">
              <a:lnSpc>
                <a:spcPct val="90000"/>
              </a:lnSpc>
              <a:spcBef>
                <a:spcPts val="373"/>
              </a:spcBef>
              <a:buFont typeface="Arial" panose="020B0604020202020204" pitchFamily="34" charset="0"/>
              <a:buChar char="•"/>
              <a:defRPr sz="1200" kern="1200">
                <a:solidFill>
                  <a:schemeClr val="tx1"/>
                </a:solidFill>
                <a:latin typeface="+mn-lt"/>
                <a:ea typeface="+mn-ea"/>
                <a:cs typeface="+mn-cs"/>
              </a:defRPr>
            </a:lvl5pPr>
            <a:lvl6pPr marL="1873000"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6pPr>
            <a:lvl7pPr marL="221354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7pPr>
            <a:lvl8pPr marL="2554091"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8pPr>
            <a:lvl9pPr marL="2894636" indent="-170272" algn="l" defTabSz="681091" rtl="0" eaLnBrk="1" latinLnBrk="0" hangingPunct="1">
              <a:lnSpc>
                <a:spcPct val="90000"/>
              </a:lnSpc>
              <a:spcBef>
                <a:spcPts val="373"/>
              </a:spcBef>
              <a:buFont typeface="Arial" panose="020B0604020202020204" pitchFamily="34" charset="0"/>
              <a:buChar char="•"/>
              <a:defRPr sz="1300" kern="1200">
                <a:solidFill>
                  <a:schemeClr val="tx1"/>
                </a:solidFill>
                <a:latin typeface="+mn-lt"/>
                <a:ea typeface="+mn-ea"/>
                <a:cs typeface="+mn-cs"/>
              </a:defRPr>
            </a:lvl9pPr>
          </a:lstStyle>
          <a:p>
            <a:pPr marL="170272" marR="0" lvl="0" indent="-170272" algn="l" defTabSz="681091" rtl="0" eaLnBrk="1" fontAlgn="auto" latinLnBrk="0" hangingPunct="1">
              <a:lnSpc>
                <a:spcPct val="90000"/>
              </a:lnSpc>
              <a:spcBef>
                <a:spcPts val="745"/>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Muligheter</a:t>
            </a: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 med </a:t>
            </a: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ny</a:t>
            </a:r>
            <a:r>
              <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800" b="0" i="0" u="none" strike="noStrike" kern="1200" cap="none" spc="0" normalizeH="0" baseline="0" noProof="0" dirty="0" err="1">
                <a:ln>
                  <a:noFill/>
                </a:ln>
                <a:solidFill>
                  <a:prstClr val="black"/>
                </a:solidFill>
                <a:effectLst/>
                <a:uLnTx/>
                <a:uFillTx/>
                <a:latin typeface="Arial" panose="020B0604020202020204"/>
                <a:ea typeface="+mn-ea"/>
                <a:cs typeface="+mn-cs"/>
              </a:rPr>
              <a:t>teknologi</a:t>
            </a: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Utveksling</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av</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informasjon</a:t>
            </a:r>
            <a:endPar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Kommunikasjon</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i</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sanntid</a:t>
            </a:r>
            <a:endPar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510819" marR="0" lvl="1" indent="-170272" algn="l" defTabSz="681091" rtl="0" eaLnBrk="1" fontAlgn="auto" latinLnBrk="0" hangingPunct="1">
              <a:lnSpc>
                <a:spcPct val="90000"/>
              </a:lnSpc>
              <a:spcBef>
                <a:spcPts val="373"/>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Big Data </a:t>
            </a:r>
            <a:r>
              <a:rPr kumimoji="0" lang="en-GB" sz="1600" b="0" i="0" u="none" strike="noStrike" kern="1200" cap="none" spc="0" normalizeH="0" baseline="0" noProof="0" dirty="0" err="1">
                <a:ln>
                  <a:noFill/>
                </a:ln>
                <a:solidFill>
                  <a:prstClr val="black"/>
                </a:solidFill>
                <a:effectLst/>
                <a:uLnTx/>
                <a:uFillTx/>
                <a:latin typeface="Arial" panose="020B0604020202020204"/>
                <a:ea typeface="+mn-ea"/>
                <a:cs typeface="+mn-cs"/>
              </a:rPr>
              <a:t>og</a:t>
            </a:r>
            <a:r>
              <a:rPr kumimoji="0" lang="en-GB" sz="1600" b="0" i="0" u="none" strike="noStrike" kern="1200" cap="none" spc="0" normalizeH="0" baseline="0" noProof="0" dirty="0">
                <a:ln>
                  <a:noFill/>
                </a:ln>
                <a:solidFill>
                  <a:prstClr val="black"/>
                </a:solidFill>
                <a:effectLst/>
                <a:uLnTx/>
                <a:uFillTx/>
                <a:latin typeface="Arial" panose="020B0604020202020204"/>
                <a:ea typeface="+mn-ea"/>
                <a:cs typeface="+mn-cs"/>
              </a:rPr>
              <a:t> analyse</a:t>
            </a:r>
          </a:p>
        </p:txBody>
      </p:sp>
    </p:spTree>
    <p:extLst>
      <p:ext uri="{BB962C8B-B14F-4D97-AF65-F5344CB8AC3E}">
        <p14:creationId xmlns:p14="http://schemas.microsoft.com/office/powerpoint/2010/main" val="10842705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10.xml><?xml version="1.0" encoding="utf-8"?>
<a:theme xmlns:a="http://schemas.openxmlformats.org/drawingml/2006/main" name="1_Office-tema">
  <a:themeElements>
    <a:clrScheme name="Office Theme">
      <a:dk1>
        <a:sysClr val="windowText" lastClr="000000"/>
      </a:dk1>
      <a:lt1>
        <a:sysClr val="window" lastClr="FFFFFF"/>
      </a:lt1>
      <a:dk2>
        <a:srgbClr val="44546A"/>
      </a:dk2>
      <a:lt2>
        <a:srgbClr val="E7E6E6"/>
      </a:lt2>
      <a:accent1>
        <a:srgbClr val="6F2C3F"/>
      </a:accent1>
      <a:accent2>
        <a:srgbClr val="808080"/>
      </a:accent2>
      <a:accent3>
        <a:srgbClr val="F06B78"/>
      </a:accent3>
      <a:accent4>
        <a:srgbClr val="89ABE5"/>
      </a:accent4>
      <a:accent5>
        <a:srgbClr val="91D6AC"/>
      </a:accent5>
      <a:accent6>
        <a:srgbClr val="E7B78A"/>
      </a:accent6>
      <a:hlink>
        <a:srgbClr val="0563C1"/>
      </a:hlink>
      <a:folHlink>
        <a:srgbClr val="954F72"/>
      </a:folHlink>
    </a:clrScheme>
    <a:fontScheme name="Custom 143">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CD06ED2A-87A1-483F-AEDE-24416B7BDA92}" vid="{6782AA35-9721-40F8-A661-00FF9E85C8D8}"/>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illeggsvalg innhold">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C4EC79A5-540A-4BD7-B5B9-7B21482C2F3F}"/>
    </a:ext>
  </a:extLst>
</a:theme>
</file>

<file path=ppt/theme/theme3.xml><?xml version="1.0" encoding="utf-8"?>
<a:theme xmlns:a="http://schemas.openxmlformats.org/drawingml/2006/main" name="Tilleggsvalg bilder">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C75AAF0B-2134-4DD1-AD0F-A83DB6FB0C8A}"/>
    </a:ext>
  </a:extLst>
</a:theme>
</file>

<file path=ppt/theme/theme4.xml><?xml version="1.0" encoding="utf-8"?>
<a:theme xmlns:a="http://schemas.openxmlformats.org/drawingml/2006/main" name="5_Tilleggsvalg innhold">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7D460B63-783A-4444-B21C-E22CF2DD4BD7}" vid="{1E8CE8BC-3D6F-4097-B156-E28ACA00881E}"/>
    </a:ext>
  </a:extLst>
</a:theme>
</file>

<file path=ppt/theme/theme5.xml><?xml version="1.0" encoding="utf-8"?>
<a:theme xmlns:a="http://schemas.openxmlformats.org/drawingml/2006/main" name="1_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6.xml><?xml version="1.0" encoding="utf-8"?>
<a:theme xmlns:a="http://schemas.openxmlformats.org/drawingml/2006/main" name="3_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7.xml><?xml version="1.0" encoding="utf-8"?>
<a:theme xmlns:a="http://schemas.openxmlformats.org/drawingml/2006/main" name="2_Standardserie">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potx" id="{416CDEB3-805A-4F94-A817-BA2B8CA6D103}" vid="{479C7AA7-6071-420E-81D2-9189153D3BF5}"/>
    </a:ext>
  </a:extLst>
</a:theme>
</file>

<file path=ppt/theme/theme8.xml><?xml version="1.0" encoding="utf-8"?>
<a:theme xmlns:a="http://schemas.openxmlformats.org/drawingml/2006/main" name="4_Tilleggsvalg innhold">
  <a:themeElements>
    <a:clrScheme name="Skatteetaten">
      <a:dk1>
        <a:sysClr val="windowText" lastClr="000000"/>
      </a:dk1>
      <a:lt1>
        <a:sysClr val="window" lastClr="FFFFFF"/>
      </a:lt1>
      <a:dk2>
        <a:srgbClr val="44546A"/>
      </a:dk2>
      <a:lt2>
        <a:srgbClr val="E7E6E6"/>
      </a:lt2>
      <a:accent1>
        <a:srgbClr val="733D4A"/>
      </a:accent1>
      <a:accent2>
        <a:srgbClr val="BE7878"/>
      </a:accent2>
      <a:accent3>
        <a:srgbClr val="F06B78"/>
      </a:accent3>
      <a:accent4>
        <a:srgbClr val="8FD9B5"/>
      </a:accent4>
      <a:accent5>
        <a:srgbClr val="F2AD87"/>
      </a:accent5>
      <a:accent6>
        <a:srgbClr val="8CE4E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mal_SkatteetatenV3.potx" id="{EF585E6B-8A71-4A48-97DE-75D96C9E8245}" vid="{766702C6-8B95-4085-9F9E-E4018C8D64CA}"/>
    </a:ext>
  </a:extLst>
</a:theme>
</file>

<file path=ppt/theme/theme9.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79592648785EA48BB7CD7E4F9F82DDA" ma:contentTypeVersion="15" ma:contentTypeDescription="Opprett et nytt dokument." ma:contentTypeScope="" ma:versionID="1e87a419eca1bca9b78b21cf14132764">
  <xsd:schema xmlns:xsd="http://www.w3.org/2001/XMLSchema" xmlns:xs="http://www.w3.org/2001/XMLSchema" xmlns:p="http://schemas.microsoft.com/office/2006/metadata/properties" xmlns:ns2="5597254a-7eaa-44b6-b809-f43cebd0927d" xmlns:ns3="3950899c-493c-400d-beec-455bfec34772" targetNamespace="http://schemas.microsoft.com/office/2006/metadata/properties" ma:root="true" ma:fieldsID="703f506935c47c9d56863406dbaf2df7" ns2:_="" ns3:_="">
    <xsd:import namespace="5597254a-7eaa-44b6-b809-f43cebd0927d"/>
    <xsd:import namespace="3950899c-493c-400d-beec-455bfec3477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LengthInSeconds"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97254a-7eaa-44b6-b809-f43cebd092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Bildemerkelapper" ma:readOnly="false" ma:fieldId="{5cf76f15-5ced-4ddc-b409-7134ff3c332f}" ma:taxonomyMulti="true" ma:sspId="c99d81f8-1b29-4a5e-99d1-17e8702c066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950899c-493c-400d-beec-455bfec34772" elementFormDefault="qualified">
    <xsd:import namespace="http://schemas.microsoft.com/office/2006/documentManagement/types"/>
    <xsd:import namespace="http://schemas.microsoft.com/office/infopath/2007/PartnerControls"/>
    <xsd:element name="SharedWithUsers" ma:index="15"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lingsdetaljer" ma:internalName="SharedWithDetails" ma:readOnly="true">
      <xsd:simpleType>
        <xsd:restriction base="dms:Note">
          <xsd:maxLength value="255"/>
        </xsd:restriction>
      </xsd:simpleType>
    </xsd:element>
    <xsd:element name="TaxCatchAll" ma:index="22" nillable="true" ma:displayName="Taxonomy Catch All Column" ma:hidden="true" ma:list="{4854dd27-2b93-4aa6-ab28-c70ecb9ea01d}" ma:internalName="TaxCatchAll" ma:showField="CatchAllData" ma:web="3950899c-493c-400d-beec-455bfec3477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3950899c-493c-400d-beec-455bfec34772">
      <UserInfo>
        <DisplayName/>
        <AccountId xsi:nil="true"/>
        <AccountType/>
      </UserInfo>
    </SharedWithUsers>
    <lcf76f155ced4ddcb4097134ff3c332f xmlns="5597254a-7eaa-44b6-b809-f43cebd0927d">
      <Terms xmlns="http://schemas.microsoft.com/office/infopath/2007/PartnerControls"/>
    </lcf76f155ced4ddcb4097134ff3c332f>
    <TaxCatchAll xmlns="3950899c-493c-400d-beec-455bfec34772" xsi:nil="true"/>
  </documentManagement>
</p:properties>
</file>

<file path=customXml/itemProps1.xml><?xml version="1.0" encoding="utf-8"?>
<ds:datastoreItem xmlns:ds="http://schemas.openxmlformats.org/officeDocument/2006/customXml" ds:itemID="{B9D28778-BE7B-4DCE-8BF8-35BC1F7771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597254a-7eaa-44b6-b809-f43cebd0927d"/>
    <ds:schemaRef ds:uri="3950899c-493c-400d-beec-455bfec347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20A09B0-B2E3-462E-8F3A-3C48BA22A40F}">
  <ds:schemaRefs>
    <ds:schemaRef ds:uri="http://schemas.microsoft.com/sharepoint/v3/contenttype/forms"/>
  </ds:schemaRefs>
</ds:datastoreItem>
</file>

<file path=customXml/itemProps3.xml><?xml version="1.0" encoding="utf-8"?>
<ds:datastoreItem xmlns:ds="http://schemas.openxmlformats.org/officeDocument/2006/customXml" ds:itemID="{927E1C5B-4FE1-4928-9676-4895F8DDE872}">
  <ds:schemaRefs>
    <ds:schemaRef ds:uri="http://purl.org/dc/terms/"/>
    <ds:schemaRef ds:uri="http://schemas.openxmlformats.org/package/2006/metadata/core-properties"/>
    <ds:schemaRef ds:uri="http://purl.org/dc/dcmitype/"/>
    <ds:schemaRef ds:uri="http://schemas.microsoft.com/office/infopath/2007/PartnerControls"/>
    <ds:schemaRef ds:uri="f845c8bd-79ae-4750-b423-ca8e199b9977"/>
    <ds:schemaRef ds:uri="http://purl.org/dc/elements/1.1/"/>
    <ds:schemaRef ds:uri="http://schemas.microsoft.com/office/2006/metadata/properties"/>
    <ds:schemaRef ds:uri="http://schemas.microsoft.com/office/2006/documentManagement/types"/>
    <ds:schemaRef ds:uri="cac88abd-c5c8-440d-b517-c07797042b36"/>
    <ds:schemaRef ds:uri="http://www.w3.org/XML/1998/namespace"/>
    <ds:schemaRef ds:uri="3950899c-493c-400d-beec-455bfec34772"/>
    <ds:schemaRef ds:uri="5597254a-7eaa-44b6-b809-f43cebd0927d"/>
  </ds:schemaRefs>
</ds:datastoreItem>
</file>

<file path=docProps/app.xml><?xml version="1.0" encoding="utf-8"?>
<Properties xmlns="http://schemas.openxmlformats.org/officeDocument/2006/extended-properties" xmlns:vt="http://schemas.openxmlformats.org/officeDocument/2006/docPropsVTypes">
  <Template>PPTmal_Skatteetaten</Template>
  <TotalTime>0</TotalTime>
  <Words>3921</Words>
  <Application>Microsoft Office PowerPoint</Application>
  <PresentationFormat>Egendefinert</PresentationFormat>
  <Paragraphs>668</Paragraphs>
  <Slides>64</Slides>
  <Notes>24</Notes>
  <HiddenSlides>0</HiddenSlides>
  <MMClips>1</MMClips>
  <ScaleCrop>false</ScaleCrop>
  <HeadingPairs>
    <vt:vector size="8" baseType="variant">
      <vt:variant>
        <vt:lpstr>Brukte skrifter</vt:lpstr>
      </vt:variant>
      <vt:variant>
        <vt:i4>9</vt:i4>
      </vt:variant>
      <vt:variant>
        <vt:lpstr>Tema</vt:lpstr>
      </vt:variant>
      <vt:variant>
        <vt:i4>10</vt:i4>
      </vt:variant>
      <vt:variant>
        <vt:lpstr>Innebygde OLE-servere</vt:lpstr>
      </vt:variant>
      <vt:variant>
        <vt:i4>1</vt:i4>
      </vt:variant>
      <vt:variant>
        <vt:lpstr>Lysbildetitler</vt:lpstr>
      </vt:variant>
      <vt:variant>
        <vt:i4>64</vt:i4>
      </vt:variant>
    </vt:vector>
  </HeadingPairs>
  <TitlesOfParts>
    <vt:vector size="84" baseType="lpstr">
      <vt:lpstr>Arial</vt:lpstr>
      <vt:lpstr>Arial Black</vt:lpstr>
      <vt:lpstr>Calibri</vt:lpstr>
      <vt:lpstr>Calibri Light</vt:lpstr>
      <vt:lpstr>Courier New</vt:lpstr>
      <vt:lpstr>Symbol</vt:lpstr>
      <vt:lpstr>Times New Roman</vt:lpstr>
      <vt:lpstr>Verdana</vt:lpstr>
      <vt:lpstr>Wingdings</vt:lpstr>
      <vt:lpstr>Standardserie</vt:lpstr>
      <vt:lpstr>Tilleggsvalg innhold</vt:lpstr>
      <vt:lpstr>Tilleggsvalg bilder</vt:lpstr>
      <vt:lpstr>5_Tilleggsvalg innhold</vt:lpstr>
      <vt:lpstr>1_Standardserie</vt:lpstr>
      <vt:lpstr>3_Standardserie</vt:lpstr>
      <vt:lpstr>2_Standardserie</vt:lpstr>
      <vt:lpstr>4_Tilleggsvalg innhold</vt:lpstr>
      <vt:lpstr>Office-tema</vt:lpstr>
      <vt:lpstr>1_Office-tema</vt:lpstr>
      <vt:lpstr>think-cell Slide</vt:lpstr>
      <vt:lpstr>Statlig IT - Status, styring og viktige utfordringer sett fra Skatteetaten  Geir Myrind, Sjefsinformasjonsarkitekt</vt:lpstr>
      <vt:lpstr>Mål: Sikre finansieringen av velferdsstaten</vt:lpstr>
      <vt:lpstr>Samfunnsoppdrag og hovedmålene</vt:lpstr>
      <vt:lpstr>PowerPoint-presentasjon</vt:lpstr>
      <vt:lpstr>Organisering av Skatteetaten</vt:lpstr>
      <vt:lpstr>PowerPoint-presentasjon</vt:lpstr>
      <vt:lpstr>Selvangivelsen til 1995 – Mye papir…</vt:lpstr>
      <vt:lpstr>Fra Papir til digital skattemelding</vt:lpstr>
      <vt:lpstr>En stor omstilling for Skatt fremover</vt:lpstr>
      <vt:lpstr>Internasjonalisering er disruptivt!</vt:lpstr>
      <vt:lpstr>Transaksjoner flyttes til lukkede nettverk utenfor Norge</vt:lpstr>
      <vt:lpstr>PowerPoint-presentasjon</vt:lpstr>
      <vt:lpstr>Svindel og sikkerhetsbrudd med konsekvenser</vt:lpstr>
      <vt:lpstr>Nesten ingen betalt skatt til Norge</vt:lpstr>
      <vt:lpstr>PowerPoint-presentasjon</vt:lpstr>
      <vt:lpstr>Etterkontroll mister betydning</vt:lpstr>
      <vt:lpstr>Analyse på strukturerte data</vt:lpstr>
      <vt:lpstr>Maskinlæring avslører alzheimers 10 år før symptomer </vt:lpstr>
      <vt:lpstr>Tilgang på informasjon og forståelse av den avgjørende!</vt:lpstr>
      <vt:lpstr>En stor omstilling for Skatt fremover</vt:lpstr>
      <vt:lpstr>PowerPoint-presentasjon</vt:lpstr>
      <vt:lpstr>PowerPoint-presentasjon</vt:lpstr>
      <vt:lpstr>IT utvikling –  en risikosport</vt:lpstr>
      <vt:lpstr>Felles system- utviklingsmetode?</vt:lpstr>
      <vt:lpstr>Forvaltning av informasjon i etaten – forenklet</vt:lpstr>
      <vt:lpstr>PowerPoint-presentasjon</vt:lpstr>
      <vt:lpstr>PowerPoint-presentasjon</vt:lpstr>
      <vt:lpstr>PowerPoint-presentasjon</vt:lpstr>
      <vt:lpstr>PowerPoint-presentasjon</vt:lpstr>
      <vt:lpstr>PowerPoint-presentasjon</vt:lpstr>
      <vt:lpstr>Helhetlig informasjonsforvaltning</vt:lpstr>
      <vt:lpstr>  Samhandlingsevne</vt:lpstr>
      <vt:lpstr>PowerPoint-presentasjon</vt:lpstr>
      <vt:lpstr>PowerPoint-presentasjon</vt:lpstr>
      <vt:lpstr>PowerPoint-presentasjon</vt:lpstr>
      <vt:lpstr>Eksempel - Godtgjørelse til opphaver for åndsverk  (slik informasjonsmodellen ble) </vt:lpstr>
      <vt:lpstr>PowerPoint-presentasjon</vt:lpstr>
      <vt:lpstr>Skatteetatens forretningsmål krever god forvaltning av informasjon</vt:lpstr>
      <vt:lpstr>Vi beveger oss i riktig retning, men det er ikke nok…</vt:lpstr>
      <vt:lpstr>PowerPoint-presentasjon</vt:lpstr>
      <vt:lpstr>PowerPoint-presentasjon</vt:lpstr>
      <vt:lpstr>Styring vs forvaltning</vt:lpstr>
      <vt:lpstr>  Helhetlig Informasjonsforvaltning</vt:lpstr>
      <vt:lpstr>PowerPoint-presentasjon</vt:lpstr>
      <vt:lpstr>Produkt- og prosessledelse (PPL) skal bidra til at vi…</vt:lpstr>
      <vt:lpstr>PowerPoint-presentasjon</vt:lpstr>
      <vt:lpstr>PowerPoint-presentasjon</vt:lpstr>
      <vt:lpstr>Distribuerte dataprodukter eid av tverrfaglige produktteam (Data mesh) </vt:lpstr>
      <vt:lpstr>Hva er Data Mesh?</vt:lpstr>
      <vt:lpstr>Fra</vt:lpstr>
      <vt:lpstr>PowerPoint-presentasjon</vt:lpstr>
      <vt:lpstr>PowerPoint-presentasjon</vt:lpstr>
      <vt:lpstr>Eksempel på et produkts tverrfaglige team</vt:lpstr>
      <vt:lpstr>Data mesh - Essensen! </vt:lpstr>
      <vt:lpstr>Skyklar? </vt:lpstr>
      <vt:lpstr>PowerPoint-presentasjon</vt:lpstr>
      <vt:lpstr>Informasjonsforvaltning - Mye er på plass</vt:lpstr>
      <vt:lpstr>Kartet må følge terrenget - Informasjonsarkitektur</vt:lpstr>
      <vt:lpstr> Informasjonsrepository - Kunnskapsgraf</vt:lpstr>
      <vt:lpstr>Orden og samlet kunnskap er forutsetninger for god informasjonsforvaltning</vt:lpstr>
      <vt:lpstr>Digitaliseringsarbeidet endrer retning</vt:lpstr>
      <vt:lpstr>PowerPoint-presentasjon</vt:lpstr>
      <vt:lpstr>PowerPoint-presentasjon</vt:lpstr>
      <vt:lpstr>PowerPoint-presentasjon</vt:lpstr>
    </vt:vector>
  </TitlesOfParts>
  <Company>Skatteetat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ickoff planprosess 2022</dc:title>
  <dc:creator>Fuglset, Ada Elisabeth Bolsønes</dc:creator>
  <dc:description>template by addpoint.no</dc:description>
  <cp:lastModifiedBy>dag wiese schartum</cp:lastModifiedBy>
  <cp:revision>79</cp:revision>
  <dcterms:created xsi:type="dcterms:W3CDTF">2021-08-13T12:40:51Z</dcterms:created>
  <dcterms:modified xsi:type="dcterms:W3CDTF">2022-10-19T19:38: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addpoint.no</vt:lpwstr>
  </property>
  <property fmtid="{D5CDD505-2E9C-101B-9397-08002B2CF9AE}" pid="3" name="SE_Mal">
    <vt:lpwstr>Ja</vt:lpwstr>
  </property>
  <property fmtid="{D5CDD505-2E9C-101B-9397-08002B2CF9AE}" pid="4" name="ContentTypeId">
    <vt:lpwstr>0x010100979592648785EA48BB7CD7E4F9F82DDA</vt:lpwstr>
  </property>
  <property fmtid="{D5CDD505-2E9C-101B-9397-08002B2CF9AE}" pid="5" name="Order">
    <vt:lpwstr>1700200.00000000</vt:lpwstr>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xd_Signature">
    <vt:lpwstr/>
  </property>
  <property fmtid="{D5CDD505-2E9C-101B-9397-08002B2CF9AE}" pid="12" name="MediaServiceImageTags">
    <vt:lpwstr/>
  </property>
</Properties>
</file>